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27.xml" ContentType="application/vnd.openxmlformats-officedocument.drawingml.chart+xml"/>
  <Override PartName="/ppt/charts/chart2228.xml" ContentType="application/vnd.openxmlformats-officedocument.drawingml.chart+xml"/>
  <Override PartName="/ppt/charts/chart2229.xml" ContentType="application/vnd.openxmlformats-officedocument.drawingml.chart+xml"/>
  <Override PartName="/ppt/charts/chart223.xml" ContentType="application/vnd.openxmlformats-officedocument.drawingml.chart+xml"/>
  <Override PartName="/ppt/charts/chart2230.xml" ContentType="application/vnd.openxmlformats-officedocument.drawingml.chart+xml"/>
  <Override PartName="/ppt/charts/chart2231.xml" ContentType="application/vnd.openxmlformats-officedocument.drawingml.chart+xml"/>
  <Override PartName="/ppt/charts/chart2232.xml" ContentType="application/vnd.openxmlformats-officedocument.drawingml.chart+xml"/>
  <Override PartName="/ppt/charts/chart2233.xml" ContentType="application/vnd.openxmlformats-officedocument.drawingml.chart+xml"/>
  <Override PartName="/ppt/charts/chart2234.xml" ContentType="application/vnd.openxmlformats-officedocument.drawingml.chart+xml"/>
  <Override PartName="/ppt/charts/chart2235.xml" ContentType="application/vnd.openxmlformats-officedocument.drawingml.chart+xml"/>
  <Override PartName="/ppt/charts/chart2236.xml" ContentType="application/vnd.openxmlformats-officedocument.drawingml.chart+xml"/>
  <Override PartName="/ppt/charts/chart2237.xml" ContentType="application/vnd.openxmlformats-officedocument.drawingml.chart+xml"/>
  <Override PartName="/ppt/charts/chart2238.xml" ContentType="application/vnd.openxmlformats-officedocument.drawingml.chart+xml"/>
  <Override PartName="/ppt/charts/chart2239.xml" ContentType="application/vnd.openxmlformats-officedocument.drawingml.chart+xml"/>
  <Override PartName="/ppt/charts/chart224.xml" ContentType="application/vnd.openxmlformats-officedocument.drawingml.chart+xml"/>
  <Override PartName="/ppt/charts/chart2240.xml" ContentType="application/vnd.openxmlformats-officedocument.drawingml.chart+xml"/>
  <Override PartName="/ppt/charts/chart2241.xml" ContentType="application/vnd.openxmlformats-officedocument.drawingml.chart+xml"/>
  <Override PartName="/ppt/charts/chart2242.xml" ContentType="application/vnd.openxmlformats-officedocument.drawingml.chart+xml"/>
  <Override PartName="/ppt/charts/chart2243.xml" ContentType="application/vnd.openxmlformats-officedocument.drawingml.chart+xml"/>
  <Override PartName="/ppt/charts/chart2244.xml" ContentType="application/vnd.openxmlformats-officedocument.drawingml.chart+xml"/>
  <Override PartName="/ppt/charts/chart2245.xml" ContentType="application/vnd.openxmlformats-officedocument.drawingml.chart+xml"/>
  <Override PartName="/ppt/charts/chart2246.xml" ContentType="application/vnd.openxmlformats-officedocument.drawingml.chart+xml"/>
  <Override PartName="/ppt/charts/chart2247.xml" ContentType="application/vnd.openxmlformats-officedocument.drawingml.chart+xml"/>
  <Override PartName="/ppt/charts/chart2248.xml" ContentType="application/vnd.openxmlformats-officedocument.drawingml.chart+xml"/>
  <Override PartName="/ppt/charts/chart2249.xml" ContentType="application/vnd.openxmlformats-officedocument.drawingml.chart+xml"/>
  <Override PartName="/ppt/charts/chart225.xml" ContentType="application/vnd.openxmlformats-officedocument.drawingml.chart+xml"/>
  <Override PartName="/ppt/charts/chart2250.xml" ContentType="application/vnd.openxmlformats-officedocument.drawingml.chart+xml"/>
  <Override PartName="/ppt/charts/chart2251.xml" ContentType="application/vnd.openxmlformats-officedocument.drawingml.chart+xml"/>
  <Override PartName="/ppt/charts/chart2252.xml" ContentType="application/vnd.openxmlformats-officedocument.drawingml.chart+xml"/>
  <Override PartName="/ppt/charts/chart2253.xml" ContentType="application/vnd.openxmlformats-officedocument.drawingml.chart+xml"/>
  <Override PartName="/ppt/charts/chart2254.xml" ContentType="application/vnd.openxmlformats-officedocument.drawingml.chart+xml"/>
  <Override PartName="/ppt/charts/chart2255.xml" ContentType="application/vnd.openxmlformats-officedocument.drawingml.chart+xml"/>
  <Override PartName="/ppt/charts/chart2256.xml" ContentType="application/vnd.openxmlformats-officedocument.drawingml.chart+xml"/>
  <Override PartName="/ppt/charts/chart2257.xml" ContentType="application/vnd.openxmlformats-officedocument.drawingml.chart+xml"/>
  <Override PartName="/ppt/charts/chart2258.xml" ContentType="application/vnd.openxmlformats-officedocument.drawingml.chart+xml"/>
  <Override PartName="/ppt/charts/chart2259.xml" ContentType="application/vnd.openxmlformats-officedocument.drawingml.chart+xml"/>
  <Override PartName="/ppt/charts/chart226.xml" ContentType="application/vnd.openxmlformats-officedocument.drawingml.chart+xml"/>
  <Override PartName="/ppt/charts/chart2260.xml" ContentType="application/vnd.openxmlformats-officedocument.drawingml.chart+xml"/>
  <Override PartName="/ppt/charts/chart2261.xml" ContentType="application/vnd.openxmlformats-officedocument.drawingml.chart+xml"/>
  <Override PartName="/ppt/charts/chart2262.xml" ContentType="application/vnd.openxmlformats-officedocument.drawingml.chart+xml"/>
  <Override PartName="/ppt/charts/chart2263.xml" ContentType="application/vnd.openxmlformats-officedocument.drawingml.chart+xml"/>
  <Override PartName="/ppt/charts/chart2264.xml" ContentType="application/vnd.openxmlformats-officedocument.drawingml.chart+xml"/>
  <Override PartName="/ppt/charts/chart2265.xml" ContentType="application/vnd.openxmlformats-officedocument.drawingml.chart+xml"/>
  <Override PartName="/ppt/charts/chart2266.xml" ContentType="application/vnd.openxmlformats-officedocument.drawingml.chart+xml"/>
  <Override PartName="/ppt/charts/chart2267.xml" ContentType="application/vnd.openxmlformats-officedocument.drawingml.chart+xml"/>
  <Override PartName="/ppt/charts/chart2268.xml" ContentType="application/vnd.openxmlformats-officedocument.drawingml.chart+xml"/>
  <Override PartName="/ppt/charts/chart2269.xml" ContentType="application/vnd.openxmlformats-officedocument.drawingml.chart+xml"/>
  <Override PartName="/ppt/charts/chart227.xml" ContentType="application/vnd.openxmlformats-officedocument.drawingml.chart+xml"/>
  <Override PartName="/ppt/charts/chart2270.xml" ContentType="application/vnd.openxmlformats-officedocument.drawingml.chart+xml"/>
  <Override PartName="/ppt/charts/chart2271.xml" ContentType="application/vnd.openxmlformats-officedocument.drawingml.chart+xml"/>
  <Override PartName="/ppt/charts/chart2272.xml" ContentType="application/vnd.openxmlformats-officedocument.drawingml.chart+xml"/>
  <Override PartName="/ppt/charts/chart2273.xml" ContentType="application/vnd.openxmlformats-officedocument.drawingml.chart+xml"/>
  <Override PartName="/ppt/charts/chart2274.xml" ContentType="application/vnd.openxmlformats-officedocument.drawingml.chart+xml"/>
  <Override PartName="/ppt/charts/chart2275.xml" ContentType="application/vnd.openxmlformats-officedocument.drawingml.chart+xml"/>
  <Override PartName="/ppt/charts/chart2276.xml" ContentType="application/vnd.openxmlformats-officedocument.drawingml.chart+xml"/>
  <Override PartName="/ppt/charts/chart2277.xml" ContentType="application/vnd.openxmlformats-officedocument.drawingml.chart+xml"/>
  <Override PartName="/ppt/charts/chart2278.xml" ContentType="application/vnd.openxmlformats-officedocument.drawingml.chart+xml"/>
  <Override PartName="/ppt/charts/chart2279.xml" ContentType="application/vnd.openxmlformats-officedocument.drawingml.chart+xml"/>
  <Override PartName="/ppt/charts/chart228.xml" ContentType="application/vnd.openxmlformats-officedocument.drawingml.chart+xml"/>
  <Override PartName="/ppt/charts/chart2280.xml" ContentType="application/vnd.openxmlformats-officedocument.drawingml.chart+xml"/>
  <Override PartName="/ppt/charts/chart2281.xml" ContentType="application/vnd.openxmlformats-officedocument.drawingml.chart+xml"/>
  <Override PartName="/ppt/charts/chart2282.xml" ContentType="application/vnd.openxmlformats-officedocument.drawingml.chart+xml"/>
  <Override PartName="/ppt/charts/chart2283.xml" ContentType="application/vnd.openxmlformats-officedocument.drawingml.chart+xml"/>
  <Override PartName="/ppt/charts/chart2284.xml" ContentType="application/vnd.openxmlformats-officedocument.drawingml.chart+xml"/>
  <Override PartName="/ppt/charts/chart2285.xml" ContentType="application/vnd.openxmlformats-officedocument.drawingml.chart+xml"/>
  <Override PartName="/ppt/charts/chart2286.xml" ContentType="application/vnd.openxmlformats-officedocument.drawingml.chart+xml"/>
  <Override PartName="/ppt/charts/chart2287.xml" ContentType="application/vnd.openxmlformats-officedocument.drawingml.chart+xml"/>
  <Override PartName="/ppt/charts/chart2288.xml" ContentType="application/vnd.openxmlformats-officedocument.drawingml.chart+xml"/>
  <Override PartName="/ppt/charts/chart2289.xml" ContentType="application/vnd.openxmlformats-officedocument.drawingml.chart+xml"/>
  <Override PartName="/ppt/charts/chart229.xml" ContentType="application/vnd.openxmlformats-officedocument.drawingml.chart+xml"/>
  <Override PartName="/ppt/charts/chart2290.xml" ContentType="application/vnd.openxmlformats-officedocument.drawingml.chart+xml"/>
  <Override PartName="/ppt/charts/chart2291.xml" ContentType="application/vnd.openxmlformats-officedocument.drawingml.chart+xml"/>
  <Override PartName="/ppt/charts/chart2292.xml" ContentType="application/vnd.openxmlformats-officedocument.drawingml.chart+xml"/>
  <Override PartName="/ppt/charts/chart2293.xml" ContentType="application/vnd.openxmlformats-officedocument.drawingml.chart+xml"/>
  <Override PartName="/ppt/charts/chart2294.xml" ContentType="application/vnd.openxmlformats-officedocument.drawingml.chart+xml"/>
  <Override PartName="/ppt/charts/chart2295.xml" ContentType="application/vnd.openxmlformats-officedocument.drawingml.chart+xml"/>
  <Override PartName="/ppt/charts/chart2296.xml" ContentType="application/vnd.openxmlformats-officedocument.drawingml.chart+xml"/>
  <Override PartName="/ppt/charts/chart2297.xml" ContentType="application/vnd.openxmlformats-officedocument.drawingml.chart+xml"/>
  <Override PartName="/ppt/charts/chart2298.xml" ContentType="application/vnd.openxmlformats-officedocument.drawingml.chart+xml"/>
  <Override PartName="/ppt/charts/chart229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00.xml" ContentType="application/vnd.openxmlformats-officedocument.drawingml.chart+xml"/>
  <Override PartName="/ppt/charts/chart2301.xml" ContentType="application/vnd.openxmlformats-officedocument.drawingml.chart+xml"/>
  <Override PartName="/ppt/charts/chart2302.xml" ContentType="application/vnd.openxmlformats-officedocument.drawingml.chart+xml"/>
  <Override PartName="/ppt/charts/chart2303.xml" ContentType="application/vnd.openxmlformats-officedocument.drawingml.chart+xml"/>
  <Override PartName="/ppt/charts/chart2304.xml" ContentType="application/vnd.openxmlformats-officedocument.drawingml.chart+xml"/>
  <Override PartName="/ppt/charts/chart2305.xml" ContentType="application/vnd.openxmlformats-officedocument.drawingml.chart+xml"/>
  <Override PartName="/ppt/charts/chart2306.xml" ContentType="application/vnd.openxmlformats-officedocument.drawingml.chart+xml"/>
  <Override PartName="/ppt/charts/chart2307.xml" ContentType="application/vnd.openxmlformats-officedocument.drawingml.chart+xml"/>
  <Override PartName="/ppt/charts/chart2308.xml" ContentType="application/vnd.openxmlformats-officedocument.drawingml.chart+xml"/>
  <Override PartName="/ppt/charts/chart2309.xml" ContentType="application/vnd.openxmlformats-officedocument.drawingml.chart+xml"/>
  <Override PartName="/ppt/charts/chart231.xml" ContentType="application/vnd.openxmlformats-officedocument.drawingml.chart+xml"/>
  <Override PartName="/ppt/charts/chart2310.xml" ContentType="application/vnd.openxmlformats-officedocument.drawingml.chart+xml"/>
  <Override PartName="/ppt/charts/chart2311.xml" ContentType="application/vnd.openxmlformats-officedocument.drawingml.chart+xml"/>
  <Override PartName="/ppt/charts/chart2312.xml" ContentType="application/vnd.openxmlformats-officedocument.drawingml.chart+xml"/>
  <Override PartName="/ppt/charts/chart2313.xml" ContentType="application/vnd.openxmlformats-officedocument.drawingml.chart+xml"/>
  <Override PartName="/ppt/charts/chart2314.xml" ContentType="application/vnd.openxmlformats-officedocument.drawingml.chart+xml"/>
  <Override PartName="/ppt/charts/chart2315.xml" ContentType="application/vnd.openxmlformats-officedocument.drawingml.chart+xml"/>
  <Override PartName="/ppt/charts/chart2316.xml" ContentType="application/vnd.openxmlformats-officedocument.drawingml.chart+xml"/>
  <Override PartName="/ppt/charts/chart2317.xml" ContentType="application/vnd.openxmlformats-officedocument.drawingml.chart+xml"/>
  <Override PartName="/ppt/charts/chart2318.xml" ContentType="application/vnd.openxmlformats-officedocument.drawingml.chart+xml"/>
  <Override PartName="/ppt/charts/chart2319.xml" ContentType="application/vnd.openxmlformats-officedocument.drawingml.chart+xml"/>
  <Override PartName="/ppt/charts/chart232.xml" ContentType="application/vnd.openxmlformats-officedocument.drawingml.chart+xml"/>
  <Override PartName="/ppt/charts/chart2320.xml" ContentType="application/vnd.openxmlformats-officedocument.drawingml.chart+xml"/>
  <Override PartName="/ppt/charts/chart2321.xml" ContentType="application/vnd.openxmlformats-officedocument.drawingml.chart+xml"/>
  <Override PartName="/ppt/charts/chart2322.xml" ContentType="application/vnd.openxmlformats-officedocument.drawingml.chart+xml"/>
  <Override PartName="/ppt/charts/chart2323.xml" ContentType="application/vnd.openxmlformats-officedocument.drawingml.chart+xml"/>
  <Override PartName="/ppt/charts/chart2324.xml" ContentType="application/vnd.openxmlformats-officedocument.drawingml.chart+xml"/>
  <Override PartName="/ppt/charts/chart2325.xml" ContentType="application/vnd.openxmlformats-officedocument.drawingml.chart+xml"/>
  <Override PartName="/ppt/charts/chart2326.xml" ContentType="application/vnd.openxmlformats-officedocument.drawingml.chart+xml"/>
  <Override PartName="/ppt/charts/chart2327.xml" ContentType="application/vnd.openxmlformats-officedocument.drawingml.chart+xml"/>
  <Override PartName="/ppt/charts/chart2328.xml" ContentType="application/vnd.openxmlformats-officedocument.drawingml.chart+xml"/>
  <Override PartName="/ppt/charts/chart2329.xml" ContentType="application/vnd.openxmlformats-officedocument.drawingml.chart+xml"/>
  <Override PartName="/ppt/charts/chart233.xml" ContentType="application/vnd.openxmlformats-officedocument.drawingml.chart+xml"/>
  <Override PartName="/ppt/charts/chart2330.xml" ContentType="application/vnd.openxmlformats-officedocument.drawingml.chart+xml"/>
  <Override PartName="/ppt/charts/chart2331.xml" ContentType="application/vnd.openxmlformats-officedocument.drawingml.chart+xml"/>
  <Override PartName="/ppt/charts/chart2332.xml" ContentType="application/vnd.openxmlformats-officedocument.drawingml.chart+xml"/>
  <Override PartName="/ppt/charts/chart2333.xml" ContentType="application/vnd.openxmlformats-officedocument.drawingml.chart+xml"/>
  <Override PartName="/ppt/charts/chart2334.xml" ContentType="application/vnd.openxmlformats-officedocument.drawingml.chart+xml"/>
  <Override PartName="/ppt/charts/chart2335.xml" ContentType="application/vnd.openxmlformats-officedocument.drawingml.chart+xml"/>
  <Override PartName="/ppt/charts/chart2336.xml" ContentType="application/vnd.openxmlformats-officedocument.drawingml.chart+xml"/>
  <Override PartName="/ppt/charts/chart2337.xml" ContentType="application/vnd.openxmlformats-officedocument.drawingml.chart+xml"/>
  <Override PartName="/ppt/charts/chart2338.xml" ContentType="application/vnd.openxmlformats-officedocument.drawingml.chart+xml"/>
  <Override PartName="/ppt/charts/chart2339.xml" ContentType="application/vnd.openxmlformats-officedocument.drawingml.chart+xml"/>
  <Override PartName="/ppt/charts/chart234.xml" ContentType="application/vnd.openxmlformats-officedocument.drawingml.chart+xml"/>
  <Override PartName="/ppt/charts/chart2340.xml" ContentType="application/vnd.openxmlformats-officedocument.drawingml.chart+xml"/>
  <Override PartName="/ppt/charts/chart2341.xml" ContentType="application/vnd.openxmlformats-officedocument.drawingml.chart+xml"/>
  <Override PartName="/ppt/charts/chart2342.xml" ContentType="application/vnd.openxmlformats-officedocument.drawingml.chart+xml"/>
  <Override PartName="/ppt/charts/chart2343.xml" ContentType="application/vnd.openxmlformats-officedocument.drawingml.chart+xml"/>
  <Override PartName="/ppt/charts/chart2344.xml" ContentType="application/vnd.openxmlformats-officedocument.drawingml.chart+xml"/>
  <Override PartName="/ppt/charts/chart2345.xml" ContentType="application/vnd.openxmlformats-officedocument.drawingml.chart+xml"/>
  <Override PartName="/ppt/charts/chart2346.xml" ContentType="application/vnd.openxmlformats-officedocument.drawingml.chart+xml"/>
  <Override PartName="/ppt/charts/chart2347.xml" ContentType="application/vnd.openxmlformats-officedocument.drawingml.chart+xml"/>
  <Override PartName="/ppt/charts/chart2348.xml" ContentType="application/vnd.openxmlformats-officedocument.drawingml.chart+xml"/>
  <Override PartName="/ppt/charts/chart2349.xml" ContentType="application/vnd.openxmlformats-officedocument.drawingml.chart+xml"/>
  <Override PartName="/ppt/charts/chart235.xml" ContentType="application/vnd.openxmlformats-officedocument.drawingml.chart+xml"/>
  <Override PartName="/ppt/charts/chart2350.xml" ContentType="application/vnd.openxmlformats-officedocument.drawingml.chart+xml"/>
  <Override PartName="/ppt/charts/chart2351.xml" ContentType="application/vnd.openxmlformats-officedocument.drawingml.chart+xml"/>
  <Override PartName="/ppt/charts/chart2352.xml" ContentType="application/vnd.openxmlformats-officedocument.drawingml.chart+xml"/>
  <Override PartName="/ppt/charts/chart2353.xml" ContentType="application/vnd.openxmlformats-officedocument.drawingml.chart+xml"/>
  <Override PartName="/ppt/charts/chart2354.xml" ContentType="application/vnd.openxmlformats-officedocument.drawingml.chart+xml"/>
  <Override PartName="/ppt/charts/chart2355.xml" ContentType="application/vnd.openxmlformats-officedocument.drawingml.chart+xml"/>
  <Override PartName="/ppt/charts/chart2356.xml" ContentType="application/vnd.openxmlformats-officedocument.drawingml.chart+xml"/>
  <Override PartName="/ppt/charts/chart2357.xml" ContentType="application/vnd.openxmlformats-officedocument.drawingml.chart+xml"/>
  <Override PartName="/ppt/charts/chart2358.xml" ContentType="application/vnd.openxmlformats-officedocument.drawingml.chart+xml"/>
  <Override PartName="/ppt/charts/chart2359.xml" ContentType="application/vnd.openxmlformats-officedocument.drawingml.chart+xml"/>
  <Override PartName="/ppt/charts/chart236.xml" ContentType="application/vnd.openxmlformats-officedocument.drawingml.chart+xml"/>
  <Override PartName="/ppt/charts/chart2360.xml" ContentType="application/vnd.openxmlformats-officedocument.drawingml.chart+xml"/>
  <Override PartName="/ppt/charts/chart2361.xml" ContentType="application/vnd.openxmlformats-officedocument.drawingml.chart+xml"/>
  <Override PartName="/ppt/charts/chart2362.xml" ContentType="application/vnd.openxmlformats-officedocument.drawingml.chart+xml"/>
  <Override PartName="/ppt/charts/chart2363.xml" ContentType="application/vnd.openxmlformats-officedocument.drawingml.chart+xml"/>
  <Override PartName="/ppt/charts/chart2364.xml" ContentType="application/vnd.openxmlformats-officedocument.drawingml.chart+xml"/>
  <Override PartName="/ppt/charts/chart2365.xml" ContentType="application/vnd.openxmlformats-officedocument.drawingml.chart+xml"/>
  <Override PartName="/ppt/charts/chart2366.xml" ContentType="application/vnd.openxmlformats-officedocument.drawingml.chart+xml"/>
  <Override PartName="/ppt/charts/chart2367.xml" ContentType="application/vnd.openxmlformats-officedocument.drawingml.chart+xml"/>
  <Override PartName="/ppt/charts/chart2368.xml" ContentType="application/vnd.openxmlformats-officedocument.drawingml.chart+xml"/>
  <Override PartName="/ppt/charts/chart2369.xml" ContentType="application/vnd.openxmlformats-officedocument.drawingml.chart+xml"/>
  <Override PartName="/ppt/charts/chart237.xml" ContentType="application/vnd.openxmlformats-officedocument.drawingml.chart+xml"/>
  <Override PartName="/ppt/charts/chart2370.xml" ContentType="application/vnd.openxmlformats-officedocument.drawingml.chart+xml"/>
  <Override PartName="/ppt/charts/chart2371.xml" ContentType="application/vnd.openxmlformats-officedocument.drawingml.chart+xml"/>
  <Override PartName="/ppt/charts/chart2372.xml" ContentType="application/vnd.openxmlformats-officedocument.drawingml.chart+xml"/>
  <Override PartName="/ppt/charts/chart2373.xml" ContentType="application/vnd.openxmlformats-officedocument.drawingml.chart+xml"/>
  <Override PartName="/ppt/charts/chart2374.xml" ContentType="application/vnd.openxmlformats-officedocument.drawingml.chart+xml"/>
  <Override PartName="/ppt/charts/chart2375.xml" ContentType="application/vnd.openxmlformats-officedocument.drawingml.chart+xml"/>
  <Override PartName="/ppt/charts/chart2376.xml" ContentType="application/vnd.openxmlformats-officedocument.drawingml.chart+xml"/>
  <Override PartName="/ppt/charts/chart2377.xml" ContentType="application/vnd.openxmlformats-officedocument.drawingml.chart+xml"/>
  <Override PartName="/ppt/charts/chart2378.xml" ContentType="application/vnd.openxmlformats-officedocument.drawingml.chart+xml"/>
  <Override PartName="/ppt/charts/chart2379.xml" ContentType="application/vnd.openxmlformats-officedocument.drawingml.chart+xml"/>
  <Override PartName="/ppt/charts/chart238.xml" ContentType="application/vnd.openxmlformats-officedocument.drawingml.chart+xml"/>
  <Override PartName="/ppt/charts/chart2380.xml" ContentType="application/vnd.openxmlformats-officedocument.drawingml.chart+xml"/>
  <Override PartName="/ppt/charts/chart2381.xml" ContentType="application/vnd.openxmlformats-officedocument.drawingml.chart+xml"/>
  <Override PartName="/ppt/charts/chart2382.xml" ContentType="application/vnd.openxmlformats-officedocument.drawingml.chart+xml"/>
  <Override PartName="/ppt/charts/chart2383.xml" ContentType="application/vnd.openxmlformats-officedocument.drawingml.chart+xml"/>
  <Override PartName="/ppt/charts/chart2384.xml" ContentType="application/vnd.openxmlformats-officedocument.drawingml.chart+xml"/>
  <Override PartName="/ppt/charts/chart2385.xml" ContentType="application/vnd.openxmlformats-officedocument.drawingml.chart+xml"/>
  <Override PartName="/ppt/charts/chart2386.xml" ContentType="application/vnd.openxmlformats-officedocument.drawingml.chart+xml"/>
  <Override PartName="/ppt/charts/chart2387.xml" ContentType="application/vnd.openxmlformats-officedocument.drawingml.chart+xml"/>
  <Override PartName="/ppt/charts/chart2388.xml" ContentType="application/vnd.openxmlformats-officedocument.drawingml.chart+xml"/>
  <Override PartName="/ppt/charts/chart2389.xml" ContentType="application/vnd.openxmlformats-officedocument.drawingml.chart+xml"/>
  <Override PartName="/ppt/charts/chart239.xml" ContentType="application/vnd.openxmlformats-officedocument.drawingml.chart+xml"/>
  <Override PartName="/ppt/charts/chart2390.xml" ContentType="application/vnd.openxmlformats-officedocument.drawingml.chart+xml"/>
  <Override PartName="/ppt/charts/chart2391.xml" ContentType="application/vnd.openxmlformats-officedocument.drawingml.chart+xml"/>
  <Override PartName="/ppt/charts/chart2392.xml" ContentType="application/vnd.openxmlformats-officedocument.drawingml.chart+xml"/>
  <Override PartName="/ppt/charts/chart2393.xml" ContentType="application/vnd.openxmlformats-officedocument.drawingml.chart+xml"/>
  <Override PartName="/ppt/charts/chart2394.xml" ContentType="application/vnd.openxmlformats-officedocument.drawingml.chart+xml"/>
  <Override PartName="/ppt/charts/chart2395.xml" ContentType="application/vnd.openxmlformats-officedocument.drawingml.chart+xml"/>
  <Override PartName="/ppt/charts/chart2396.xml" ContentType="application/vnd.openxmlformats-officedocument.drawingml.chart+xml"/>
  <Override PartName="/ppt/charts/chart2397.xml" ContentType="application/vnd.openxmlformats-officedocument.drawingml.chart+xml"/>
  <Override PartName="/ppt/charts/chart2398.xml" ContentType="application/vnd.openxmlformats-officedocument.drawingml.chart+xml"/>
  <Override PartName="/ppt/charts/chart239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00.xml" ContentType="application/vnd.openxmlformats-officedocument.drawingml.chart+xml"/>
  <Override PartName="/ppt/charts/chart2401.xml" ContentType="application/vnd.openxmlformats-officedocument.drawingml.chart+xml"/>
  <Override PartName="/ppt/charts/chart2402.xml" ContentType="application/vnd.openxmlformats-officedocument.drawingml.chart+xml"/>
  <Override PartName="/ppt/charts/chart2403.xml" ContentType="application/vnd.openxmlformats-officedocument.drawingml.chart+xml"/>
  <Override PartName="/ppt/charts/chart2404.xml" ContentType="application/vnd.openxmlformats-officedocument.drawingml.chart+xml"/>
  <Override PartName="/ppt/charts/chart2405.xml" ContentType="application/vnd.openxmlformats-officedocument.drawingml.chart+xml"/>
  <Override PartName="/ppt/charts/chart2406.xml" ContentType="application/vnd.openxmlformats-officedocument.drawingml.chart+xml"/>
  <Override PartName="/ppt/charts/chart2407.xml" ContentType="application/vnd.openxmlformats-officedocument.drawingml.chart+xml"/>
  <Override PartName="/ppt/charts/chart2408.xml" ContentType="application/vnd.openxmlformats-officedocument.drawingml.chart+xml"/>
  <Override PartName="/ppt/charts/chart2409.xml" ContentType="application/vnd.openxmlformats-officedocument.drawingml.chart+xml"/>
  <Override PartName="/ppt/charts/chart241.xml" ContentType="application/vnd.openxmlformats-officedocument.drawingml.chart+xml"/>
  <Override PartName="/ppt/charts/chart2410.xml" ContentType="application/vnd.openxmlformats-officedocument.drawingml.chart+xml"/>
  <Override PartName="/ppt/charts/chart2411.xml" ContentType="application/vnd.openxmlformats-officedocument.drawingml.chart+xml"/>
  <Override PartName="/ppt/charts/chart2412.xml" ContentType="application/vnd.openxmlformats-officedocument.drawingml.chart+xml"/>
  <Override PartName="/ppt/charts/chart2413.xml" ContentType="application/vnd.openxmlformats-officedocument.drawingml.chart+xml"/>
  <Override PartName="/ppt/charts/chart2414.xml" ContentType="application/vnd.openxmlformats-officedocument.drawingml.chart+xml"/>
  <Override PartName="/ppt/charts/chart2415.xml" ContentType="application/vnd.openxmlformats-officedocument.drawingml.chart+xml"/>
  <Override PartName="/ppt/charts/chart2416.xml" ContentType="application/vnd.openxmlformats-officedocument.drawingml.chart+xml"/>
  <Override PartName="/ppt/charts/chart2417.xml" ContentType="application/vnd.openxmlformats-officedocument.drawingml.chart+xml"/>
  <Override PartName="/ppt/charts/chart2418.xml" ContentType="application/vnd.openxmlformats-officedocument.drawingml.chart+xml"/>
  <Override PartName="/ppt/charts/chart2419.xml" ContentType="application/vnd.openxmlformats-officedocument.drawingml.chart+xml"/>
  <Override PartName="/ppt/charts/chart242.xml" ContentType="application/vnd.openxmlformats-officedocument.drawingml.chart+xml"/>
  <Override PartName="/ppt/charts/chart2420.xml" ContentType="application/vnd.openxmlformats-officedocument.drawingml.chart+xml"/>
  <Override PartName="/ppt/charts/chart2421.xml" ContentType="application/vnd.openxmlformats-officedocument.drawingml.chart+xml"/>
  <Override PartName="/ppt/charts/chart2422.xml" ContentType="application/vnd.openxmlformats-officedocument.drawingml.chart+xml"/>
  <Override PartName="/ppt/charts/chart2423.xml" ContentType="application/vnd.openxmlformats-officedocument.drawingml.chart+xml"/>
  <Override PartName="/ppt/charts/chart2424.xml" ContentType="application/vnd.openxmlformats-officedocument.drawingml.chart+xml"/>
  <Override PartName="/ppt/charts/chart2425.xml" ContentType="application/vnd.openxmlformats-officedocument.drawingml.chart+xml"/>
  <Override PartName="/ppt/charts/chart2426.xml" ContentType="application/vnd.openxmlformats-officedocument.drawingml.chart+xml"/>
  <Override PartName="/ppt/charts/chart2427.xml" ContentType="application/vnd.openxmlformats-officedocument.drawingml.chart+xml"/>
  <Override PartName="/ppt/charts/chart2428.xml" ContentType="application/vnd.openxmlformats-officedocument.drawingml.chart+xml"/>
  <Override PartName="/ppt/charts/chart2429.xml" ContentType="application/vnd.openxmlformats-officedocument.drawingml.chart+xml"/>
  <Override PartName="/ppt/charts/chart243.xml" ContentType="application/vnd.openxmlformats-officedocument.drawingml.chart+xml"/>
  <Override PartName="/ppt/charts/chart2430.xml" ContentType="application/vnd.openxmlformats-officedocument.drawingml.chart+xml"/>
  <Override PartName="/ppt/charts/chart2431.xml" ContentType="application/vnd.openxmlformats-officedocument.drawingml.chart+xml"/>
  <Override PartName="/ppt/charts/chart2432.xml" ContentType="application/vnd.openxmlformats-officedocument.drawingml.chart+xml"/>
  <Override PartName="/ppt/charts/chart2433.xml" ContentType="application/vnd.openxmlformats-officedocument.drawingml.chart+xml"/>
  <Override PartName="/ppt/charts/chart2434.xml" ContentType="application/vnd.openxmlformats-officedocument.drawingml.chart+xml"/>
  <Override PartName="/ppt/charts/chart2435.xml" ContentType="application/vnd.openxmlformats-officedocument.drawingml.chart+xml"/>
  <Override PartName="/ppt/charts/chart2436.xml" ContentType="application/vnd.openxmlformats-officedocument.drawingml.chart+xml"/>
  <Override PartName="/ppt/charts/chart2437.xml" ContentType="application/vnd.openxmlformats-officedocument.drawingml.chart+xml"/>
  <Override PartName="/ppt/charts/chart2438.xml" ContentType="application/vnd.openxmlformats-officedocument.drawingml.chart+xml"/>
  <Override PartName="/ppt/charts/chart2439.xml" ContentType="application/vnd.openxmlformats-officedocument.drawingml.chart+xml"/>
  <Override PartName="/ppt/charts/chart244.xml" ContentType="application/vnd.openxmlformats-officedocument.drawingml.chart+xml"/>
  <Override PartName="/ppt/charts/chart2440.xml" ContentType="application/vnd.openxmlformats-officedocument.drawingml.chart+xml"/>
  <Override PartName="/ppt/charts/chart2441.xml" ContentType="application/vnd.openxmlformats-officedocument.drawingml.chart+xml"/>
  <Override PartName="/ppt/charts/chart2442.xml" ContentType="application/vnd.openxmlformats-officedocument.drawingml.chart+xml"/>
  <Override PartName="/ppt/charts/chart2443.xml" ContentType="application/vnd.openxmlformats-officedocument.drawingml.chart+xml"/>
  <Override PartName="/ppt/charts/chart2444.xml" ContentType="application/vnd.openxmlformats-officedocument.drawingml.chart+xml"/>
  <Override PartName="/ppt/charts/chart2445.xml" ContentType="application/vnd.openxmlformats-officedocument.drawingml.chart+xml"/>
  <Override PartName="/ppt/charts/chart2446.xml" ContentType="application/vnd.openxmlformats-officedocument.drawingml.chart+xml"/>
  <Override PartName="/ppt/charts/chart2447.xml" ContentType="application/vnd.openxmlformats-officedocument.drawingml.chart+xml"/>
  <Override PartName="/ppt/charts/chart2448.xml" ContentType="application/vnd.openxmlformats-officedocument.drawingml.chart+xml"/>
  <Override PartName="/ppt/charts/chart2449.xml" ContentType="application/vnd.openxmlformats-officedocument.drawingml.chart+xml"/>
  <Override PartName="/ppt/charts/chart245.xml" ContentType="application/vnd.openxmlformats-officedocument.drawingml.chart+xml"/>
  <Override PartName="/ppt/charts/chart2450.xml" ContentType="application/vnd.openxmlformats-officedocument.drawingml.chart+xml"/>
  <Override PartName="/ppt/charts/chart2451.xml" ContentType="application/vnd.openxmlformats-officedocument.drawingml.chart+xml"/>
  <Override PartName="/ppt/charts/chart2452.xml" ContentType="application/vnd.openxmlformats-officedocument.drawingml.chart+xml"/>
  <Override PartName="/ppt/charts/chart2453.xml" ContentType="application/vnd.openxmlformats-officedocument.drawingml.chart+xml"/>
  <Override PartName="/ppt/charts/chart2454.xml" ContentType="application/vnd.openxmlformats-officedocument.drawingml.chart+xml"/>
  <Override PartName="/ppt/charts/chart2455.xml" ContentType="application/vnd.openxmlformats-officedocument.drawingml.chart+xml"/>
  <Override PartName="/ppt/charts/chart2456.xml" ContentType="application/vnd.openxmlformats-officedocument.drawingml.chart+xml"/>
  <Override PartName="/ppt/charts/chart2457.xml" ContentType="application/vnd.openxmlformats-officedocument.drawingml.chart+xml"/>
  <Override PartName="/ppt/charts/chart2458.xml" ContentType="application/vnd.openxmlformats-officedocument.drawingml.chart+xml"/>
  <Override PartName="/ppt/charts/chart2459.xml" ContentType="application/vnd.openxmlformats-officedocument.drawingml.chart+xml"/>
  <Override PartName="/ppt/charts/chart246.xml" ContentType="application/vnd.openxmlformats-officedocument.drawingml.chart+xml"/>
  <Override PartName="/ppt/charts/chart2460.xml" ContentType="application/vnd.openxmlformats-officedocument.drawingml.chart+xml"/>
  <Override PartName="/ppt/charts/chart2461.xml" ContentType="application/vnd.openxmlformats-officedocument.drawingml.chart+xml"/>
  <Override PartName="/ppt/charts/chart2462.xml" ContentType="application/vnd.openxmlformats-officedocument.drawingml.chart+xml"/>
  <Override PartName="/ppt/charts/chart2463.xml" ContentType="application/vnd.openxmlformats-officedocument.drawingml.chart+xml"/>
  <Override PartName="/ppt/charts/chart2464.xml" ContentType="application/vnd.openxmlformats-officedocument.drawingml.chart+xml"/>
  <Override PartName="/ppt/charts/chart2465.xml" ContentType="application/vnd.openxmlformats-officedocument.drawingml.chart+xml"/>
  <Override PartName="/ppt/charts/chart2466.xml" ContentType="application/vnd.openxmlformats-officedocument.drawingml.chart+xml"/>
  <Override PartName="/ppt/charts/chart2467.xml" ContentType="application/vnd.openxmlformats-officedocument.drawingml.chart+xml"/>
  <Override PartName="/ppt/charts/chart2468.xml" ContentType="application/vnd.openxmlformats-officedocument.drawingml.chart+xml"/>
  <Override PartName="/ppt/charts/chart2469.xml" ContentType="application/vnd.openxmlformats-officedocument.drawingml.chart+xml"/>
  <Override PartName="/ppt/charts/chart247.xml" ContentType="application/vnd.openxmlformats-officedocument.drawingml.chart+xml"/>
  <Override PartName="/ppt/charts/chart2470.xml" ContentType="application/vnd.openxmlformats-officedocument.drawingml.chart+xml"/>
  <Override PartName="/ppt/charts/chart2471.xml" ContentType="application/vnd.openxmlformats-officedocument.drawingml.chart+xml"/>
  <Override PartName="/ppt/charts/chart2472.xml" ContentType="application/vnd.openxmlformats-officedocument.drawingml.chart+xml"/>
  <Override PartName="/ppt/charts/chart2473.xml" ContentType="application/vnd.openxmlformats-officedocument.drawingml.chart+xml"/>
  <Override PartName="/ppt/charts/chart2474.xml" ContentType="application/vnd.openxmlformats-officedocument.drawingml.chart+xml"/>
  <Override PartName="/ppt/charts/chart2475.xml" ContentType="application/vnd.openxmlformats-officedocument.drawingml.chart+xml"/>
  <Override PartName="/ppt/charts/chart2476.xml" ContentType="application/vnd.openxmlformats-officedocument.drawingml.chart+xml"/>
  <Override PartName="/ppt/charts/chart2477.xml" ContentType="application/vnd.openxmlformats-officedocument.drawingml.chart+xml"/>
  <Override PartName="/ppt/charts/chart2478.xml" ContentType="application/vnd.openxmlformats-officedocument.drawingml.chart+xml"/>
  <Override PartName="/ppt/charts/chart2479.xml" ContentType="application/vnd.openxmlformats-officedocument.drawingml.chart+xml"/>
  <Override PartName="/ppt/charts/chart248.xml" ContentType="application/vnd.openxmlformats-officedocument.drawingml.chart+xml"/>
  <Override PartName="/ppt/charts/chart2480.xml" ContentType="application/vnd.openxmlformats-officedocument.drawingml.chart+xml"/>
  <Override PartName="/ppt/charts/chart2481.xml" ContentType="application/vnd.openxmlformats-officedocument.drawingml.chart+xml"/>
  <Override PartName="/ppt/charts/chart2482.xml" ContentType="application/vnd.openxmlformats-officedocument.drawingml.chart+xml"/>
  <Override PartName="/ppt/charts/chart2483.xml" ContentType="application/vnd.openxmlformats-officedocument.drawingml.chart+xml"/>
  <Override PartName="/ppt/charts/chart2484.xml" ContentType="application/vnd.openxmlformats-officedocument.drawingml.chart+xml"/>
  <Override PartName="/ppt/charts/chart2485.xml" ContentType="application/vnd.openxmlformats-officedocument.drawingml.chart+xml"/>
  <Override PartName="/ppt/charts/chart2486.xml" ContentType="application/vnd.openxmlformats-officedocument.drawingml.chart+xml"/>
  <Override PartName="/ppt/charts/chart2487.xml" ContentType="application/vnd.openxmlformats-officedocument.drawingml.chart+xml"/>
  <Override PartName="/ppt/charts/chart2488.xml" ContentType="application/vnd.openxmlformats-officedocument.drawingml.chart+xml"/>
  <Override PartName="/ppt/charts/chart2489.xml" ContentType="application/vnd.openxmlformats-officedocument.drawingml.chart+xml"/>
  <Override PartName="/ppt/charts/chart249.xml" ContentType="application/vnd.openxmlformats-officedocument.drawingml.chart+xml"/>
  <Override PartName="/ppt/charts/chart2490.xml" ContentType="application/vnd.openxmlformats-officedocument.drawingml.chart+xml"/>
  <Override PartName="/ppt/charts/chart2491.xml" ContentType="application/vnd.openxmlformats-officedocument.drawingml.chart+xml"/>
  <Override PartName="/ppt/charts/chart2492.xml" ContentType="application/vnd.openxmlformats-officedocument.drawingml.chart+xml"/>
  <Override PartName="/ppt/charts/chart2493.xml" ContentType="application/vnd.openxmlformats-officedocument.drawingml.chart+xml"/>
  <Override PartName="/ppt/charts/chart2494.xml" ContentType="application/vnd.openxmlformats-officedocument.drawingml.chart+xml"/>
  <Override PartName="/ppt/charts/chart2495.xml" ContentType="application/vnd.openxmlformats-officedocument.drawingml.chart+xml"/>
  <Override PartName="/ppt/charts/chart2496.xml" ContentType="application/vnd.openxmlformats-officedocument.drawingml.chart+xml"/>
  <Override PartName="/ppt/charts/chart2497.xml" ContentType="application/vnd.openxmlformats-officedocument.drawingml.chart+xml"/>
  <Override PartName="/ppt/charts/chart2498.xml" ContentType="application/vnd.openxmlformats-officedocument.drawingml.chart+xml"/>
  <Override PartName="/ppt/charts/chart249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00.xml" ContentType="application/vnd.openxmlformats-officedocument.drawingml.chart+xml"/>
  <Override PartName="/ppt/charts/chart2501.xml" ContentType="application/vnd.openxmlformats-officedocument.drawingml.chart+xml"/>
  <Override PartName="/ppt/charts/chart2502.xml" ContentType="application/vnd.openxmlformats-officedocument.drawingml.chart+xml"/>
  <Override PartName="/ppt/charts/chart2503.xml" ContentType="application/vnd.openxmlformats-officedocument.drawingml.chart+xml"/>
  <Override PartName="/ppt/charts/chart2504.xml" ContentType="application/vnd.openxmlformats-officedocument.drawingml.chart+xml"/>
  <Override PartName="/ppt/charts/chart2505.xml" ContentType="application/vnd.openxmlformats-officedocument.drawingml.chart+xml"/>
  <Override PartName="/ppt/charts/chart2506.xml" ContentType="application/vnd.openxmlformats-officedocument.drawingml.chart+xml"/>
  <Override PartName="/ppt/charts/chart2507.xml" ContentType="application/vnd.openxmlformats-officedocument.drawingml.chart+xml"/>
  <Override PartName="/ppt/charts/chart2508.xml" ContentType="application/vnd.openxmlformats-officedocument.drawingml.chart+xml"/>
  <Override PartName="/ppt/charts/chart2509.xml" ContentType="application/vnd.openxmlformats-officedocument.drawingml.chart+xml"/>
  <Override PartName="/ppt/charts/chart251.xml" ContentType="application/vnd.openxmlformats-officedocument.drawingml.chart+xml"/>
  <Override PartName="/ppt/charts/chart2510.xml" ContentType="application/vnd.openxmlformats-officedocument.drawingml.chart+xml"/>
  <Override PartName="/ppt/charts/chart2511.xml" ContentType="application/vnd.openxmlformats-officedocument.drawingml.chart+xml"/>
  <Override PartName="/ppt/charts/chart2512.xml" ContentType="application/vnd.openxmlformats-officedocument.drawingml.chart+xml"/>
  <Override PartName="/ppt/charts/chart2513.xml" ContentType="application/vnd.openxmlformats-officedocument.drawingml.chart+xml"/>
  <Override PartName="/ppt/charts/chart2514.xml" ContentType="application/vnd.openxmlformats-officedocument.drawingml.chart+xml"/>
  <Override PartName="/ppt/charts/chart2515.xml" ContentType="application/vnd.openxmlformats-officedocument.drawingml.chart+xml"/>
  <Override PartName="/ppt/charts/chart2516.xml" ContentType="application/vnd.openxmlformats-officedocument.drawingml.chart+xml"/>
  <Override PartName="/ppt/charts/chart2517.xml" ContentType="application/vnd.openxmlformats-officedocument.drawingml.chart+xml"/>
  <Override PartName="/ppt/charts/chart2518.xml" ContentType="application/vnd.openxmlformats-officedocument.drawingml.chart+xml"/>
  <Override PartName="/ppt/charts/chart2519.xml" ContentType="application/vnd.openxmlformats-officedocument.drawingml.chart+xml"/>
  <Override PartName="/ppt/charts/chart252.xml" ContentType="application/vnd.openxmlformats-officedocument.drawingml.chart+xml"/>
  <Override PartName="/ppt/charts/chart2520.xml" ContentType="application/vnd.openxmlformats-officedocument.drawingml.chart+xml"/>
  <Override PartName="/ppt/charts/chart2521.xml" ContentType="application/vnd.openxmlformats-officedocument.drawingml.chart+xml"/>
  <Override PartName="/ppt/charts/chart2522.xml" ContentType="application/vnd.openxmlformats-officedocument.drawingml.chart+xml"/>
  <Override PartName="/ppt/charts/chart2523.xml" ContentType="application/vnd.openxmlformats-officedocument.drawingml.chart+xml"/>
  <Override PartName="/ppt/charts/chart2524.xml" ContentType="application/vnd.openxmlformats-officedocument.drawingml.chart+xml"/>
  <Override PartName="/ppt/charts/chart2525.xml" ContentType="application/vnd.openxmlformats-officedocument.drawingml.chart+xml"/>
  <Override PartName="/ppt/charts/chart2526.xml" ContentType="application/vnd.openxmlformats-officedocument.drawingml.chart+xml"/>
  <Override PartName="/ppt/charts/chart2527.xml" ContentType="application/vnd.openxmlformats-officedocument.drawingml.chart+xml"/>
  <Override PartName="/ppt/charts/chart2528.xml" ContentType="application/vnd.openxmlformats-officedocument.drawingml.chart+xml"/>
  <Override PartName="/ppt/charts/chart2529.xml" ContentType="application/vnd.openxmlformats-officedocument.drawingml.chart+xml"/>
  <Override PartName="/ppt/charts/chart253.xml" ContentType="application/vnd.openxmlformats-officedocument.drawingml.chart+xml"/>
  <Override PartName="/ppt/charts/chart2530.xml" ContentType="application/vnd.openxmlformats-officedocument.drawingml.chart+xml"/>
  <Override PartName="/ppt/charts/chart2531.xml" ContentType="application/vnd.openxmlformats-officedocument.drawingml.chart+xml"/>
  <Override PartName="/ppt/charts/chart2532.xml" ContentType="application/vnd.openxmlformats-officedocument.drawingml.chart+xml"/>
  <Override PartName="/ppt/charts/chart2533.xml" ContentType="application/vnd.openxmlformats-officedocument.drawingml.chart+xml"/>
  <Override PartName="/ppt/charts/chart2534.xml" ContentType="application/vnd.openxmlformats-officedocument.drawingml.chart+xml"/>
  <Override PartName="/ppt/charts/chart2535.xml" ContentType="application/vnd.openxmlformats-officedocument.drawingml.chart+xml"/>
  <Override PartName="/ppt/charts/chart2536.xml" ContentType="application/vnd.openxmlformats-officedocument.drawingml.chart+xml"/>
  <Override PartName="/ppt/charts/chart2537.xml" ContentType="application/vnd.openxmlformats-officedocument.drawingml.chart+xml"/>
  <Override PartName="/ppt/charts/chart2538.xml" ContentType="application/vnd.openxmlformats-officedocument.drawingml.chart+xml"/>
  <Override PartName="/ppt/charts/chart2539.xml" ContentType="application/vnd.openxmlformats-officedocument.drawingml.chart+xml"/>
  <Override PartName="/ppt/charts/chart254.xml" ContentType="application/vnd.openxmlformats-officedocument.drawingml.chart+xml"/>
  <Override PartName="/ppt/charts/chart2540.xml" ContentType="application/vnd.openxmlformats-officedocument.drawingml.chart+xml"/>
  <Override PartName="/ppt/charts/chart2541.xml" ContentType="application/vnd.openxmlformats-officedocument.drawingml.chart+xml"/>
  <Override PartName="/ppt/charts/chart2542.xml" ContentType="application/vnd.openxmlformats-officedocument.drawingml.chart+xml"/>
  <Override PartName="/ppt/charts/chart2543.xml" ContentType="application/vnd.openxmlformats-officedocument.drawingml.chart+xml"/>
  <Override PartName="/ppt/charts/chart2544.xml" ContentType="application/vnd.openxmlformats-officedocument.drawingml.chart+xml"/>
  <Override PartName="/ppt/charts/chart2545.xml" ContentType="application/vnd.openxmlformats-officedocument.drawingml.chart+xml"/>
  <Override PartName="/ppt/charts/chart2546.xml" ContentType="application/vnd.openxmlformats-officedocument.drawingml.chart+xml"/>
  <Override PartName="/ppt/charts/chart2547.xml" ContentType="application/vnd.openxmlformats-officedocument.drawingml.chart+xml"/>
  <Override PartName="/ppt/charts/chart2548.xml" ContentType="application/vnd.openxmlformats-officedocument.drawingml.chart+xml"/>
  <Override PartName="/ppt/charts/chart2549.xml" ContentType="application/vnd.openxmlformats-officedocument.drawingml.chart+xml"/>
  <Override PartName="/ppt/charts/chart255.xml" ContentType="application/vnd.openxmlformats-officedocument.drawingml.chart+xml"/>
  <Override PartName="/ppt/charts/chart2550.xml" ContentType="application/vnd.openxmlformats-officedocument.drawingml.chart+xml"/>
  <Override PartName="/ppt/charts/chart2551.xml" ContentType="application/vnd.openxmlformats-officedocument.drawingml.chart+xml"/>
  <Override PartName="/ppt/charts/chart2552.xml" ContentType="application/vnd.openxmlformats-officedocument.drawingml.chart+xml"/>
  <Override PartName="/ppt/charts/chart2553.xml" ContentType="application/vnd.openxmlformats-officedocument.drawingml.chart+xml"/>
  <Override PartName="/ppt/charts/chart2554.xml" ContentType="application/vnd.openxmlformats-officedocument.drawingml.chart+xml"/>
  <Override PartName="/ppt/charts/chart2555.xml" ContentType="application/vnd.openxmlformats-officedocument.drawingml.chart+xml"/>
  <Override PartName="/ppt/charts/chart2556.xml" ContentType="application/vnd.openxmlformats-officedocument.drawingml.chart+xml"/>
  <Override PartName="/ppt/charts/chart2557.xml" ContentType="application/vnd.openxmlformats-officedocument.drawingml.chart+xml"/>
  <Override PartName="/ppt/charts/chart2558.xml" ContentType="application/vnd.openxmlformats-officedocument.drawingml.chart+xml"/>
  <Override PartName="/ppt/charts/chart2559.xml" ContentType="application/vnd.openxmlformats-officedocument.drawingml.chart+xml"/>
  <Override PartName="/ppt/charts/chart256.xml" ContentType="application/vnd.openxmlformats-officedocument.drawingml.chart+xml"/>
  <Override PartName="/ppt/charts/chart2560.xml" ContentType="application/vnd.openxmlformats-officedocument.drawingml.chart+xml"/>
  <Override PartName="/ppt/charts/chart2561.xml" ContentType="application/vnd.openxmlformats-officedocument.drawingml.chart+xml"/>
  <Override PartName="/ppt/charts/chart2562.xml" ContentType="application/vnd.openxmlformats-officedocument.drawingml.chart+xml"/>
  <Override PartName="/ppt/charts/chart2563.xml" ContentType="application/vnd.openxmlformats-officedocument.drawingml.chart+xml"/>
  <Override PartName="/ppt/charts/chart2564.xml" ContentType="application/vnd.openxmlformats-officedocument.drawingml.chart+xml"/>
  <Override PartName="/ppt/charts/chart2565.xml" ContentType="application/vnd.openxmlformats-officedocument.drawingml.chart+xml"/>
  <Override PartName="/ppt/charts/chart2566.xml" ContentType="application/vnd.openxmlformats-officedocument.drawingml.chart+xml"/>
  <Override PartName="/ppt/charts/chart2567.xml" ContentType="application/vnd.openxmlformats-officedocument.drawingml.chart+xml"/>
  <Override PartName="/ppt/charts/chart2568.xml" ContentType="application/vnd.openxmlformats-officedocument.drawingml.chart+xml"/>
  <Override PartName="/ppt/charts/chart2569.xml" ContentType="application/vnd.openxmlformats-officedocument.drawingml.chart+xml"/>
  <Override PartName="/ppt/charts/chart257.xml" ContentType="application/vnd.openxmlformats-officedocument.drawingml.chart+xml"/>
  <Override PartName="/ppt/charts/chart2570.xml" ContentType="application/vnd.openxmlformats-officedocument.drawingml.chart+xml"/>
  <Override PartName="/ppt/charts/chart2571.xml" ContentType="application/vnd.openxmlformats-officedocument.drawingml.chart+xml"/>
  <Override PartName="/ppt/charts/chart2572.xml" ContentType="application/vnd.openxmlformats-officedocument.drawingml.chart+xml"/>
  <Override PartName="/ppt/charts/chart2573.xml" ContentType="application/vnd.openxmlformats-officedocument.drawingml.chart+xml"/>
  <Override PartName="/ppt/charts/chart2574.xml" ContentType="application/vnd.openxmlformats-officedocument.drawingml.chart+xml"/>
  <Override PartName="/ppt/charts/chart2575.xml" ContentType="application/vnd.openxmlformats-officedocument.drawingml.chart+xml"/>
  <Override PartName="/ppt/charts/chart2576.xml" ContentType="application/vnd.openxmlformats-officedocument.drawingml.chart+xml"/>
  <Override PartName="/ppt/charts/chart2577.xml" ContentType="application/vnd.openxmlformats-officedocument.drawingml.chart+xml"/>
  <Override PartName="/ppt/charts/chart2578.xml" ContentType="application/vnd.openxmlformats-officedocument.drawingml.chart+xml"/>
  <Override PartName="/ppt/charts/chart2579.xml" ContentType="application/vnd.openxmlformats-officedocument.drawingml.chart+xml"/>
  <Override PartName="/ppt/charts/chart258.xml" ContentType="application/vnd.openxmlformats-officedocument.drawingml.chart+xml"/>
  <Override PartName="/ppt/charts/chart2580.xml" ContentType="application/vnd.openxmlformats-officedocument.drawingml.chart+xml"/>
  <Override PartName="/ppt/charts/chart2581.xml" ContentType="application/vnd.openxmlformats-officedocument.drawingml.chart+xml"/>
  <Override PartName="/ppt/charts/chart2582.xml" ContentType="application/vnd.openxmlformats-officedocument.drawingml.chart+xml"/>
  <Override PartName="/ppt/charts/chart2583.xml" ContentType="application/vnd.openxmlformats-officedocument.drawingml.chart+xml"/>
  <Override PartName="/ppt/charts/chart2584.xml" ContentType="application/vnd.openxmlformats-officedocument.drawingml.chart+xml"/>
  <Override PartName="/ppt/charts/chart2585.xml" ContentType="application/vnd.openxmlformats-officedocument.drawingml.chart+xml"/>
  <Override PartName="/ppt/charts/chart2586.xml" ContentType="application/vnd.openxmlformats-officedocument.drawingml.chart+xml"/>
  <Override PartName="/ppt/charts/chart2587.xml" ContentType="application/vnd.openxmlformats-officedocument.drawingml.chart+xml"/>
  <Override PartName="/ppt/charts/chart2588.xml" ContentType="application/vnd.openxmlformats-officedocument.drawingml.chart+xml"/>
  <Override PartName="/ppt/charts/chart2589.xml" ContentType="application/vnd.openxmlformats-officedocument.drawingml.chart+xml"/>
  <Override PartName="/ppt/charts/chart259.xml" ContentType="application/vnd.openxmlformats-officedocument.drawingml.chart+xml"/>
  <Override PartName="/ppt/charts/chart2590.xml" ContentType="application/vnd.openxmlformats-officedocument.drawingml.chart+xml"/>
  <Override PartName="/ppt/charts/chart2591.xml" ContentType="application/vnd.openxmlformats-officedocument.drawingml.chart+xml"/>
  <Override PartName="/ppt/charts/chart2592.xml" ContentType="application/vnd.openxmlformats-officedocument.drawingml.chart+xml"/>
  <Override PartName="/ppt/charts/chart2593.xml" ContentType="application/vnd.openxmlformats-officedocument.drawingml.chart+xml"/>
  <Override PartName="/ppt/charts/chart2594.xml" ContentType="application/vnd.openxmlformats-officedocument.drawingml.chart+xml"/>
  <Override PartName="/ppt/charts/chart2595.xml" ContentType="application/vnd.openxmlformats-officedocument.drawingml.chart+xml"/>
  <Override PartName="/ppt/charts/chart2596.xml" ContentType="application/vnd.openxmlformats-officedocument.drawingml.chart+xml"/>
  <Override PartName="/ppt/charts/chart2597.xml" ContentType="application/vnd.openxmlformats-officedocument.drawingml.chart+xml"/>
  <Override PartName="/ppt/charts/chart2598.xml" ContentType="application/vnd.openxmlformats-officedocument.drawingml.chart+xml"/>
  <Override PartName="/ppt/charts/chart259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00.xml" ContentType="application/vnd.openxmlformats-officedocument.drawingml.chart+xml"/>
  <Override PartName="/ppt/charts/chart2601.xml" ContentType="application/vnd.openxmlformats-officedocument.drawingml.chart+xml"/>
  <Override PartName="/ppt/charts/chart2602.xml" ContentType="application/vnd.openxmlformats-officedocument.drawingml.chart+xml"/>
  <Override PartName="/ppt/charts/chart2603.xml" ContentType="application/vnd.openxmlformats-officedocument.drawingml.chart+xml"/>
  <Override PartName="/ppt/charts/chart2604.xml" ContentType="application/vnd.openxmlformats-officedocument.drawingml.chart+xml"/>
  <Override PartName="/ppt/charts/chart2605.xml" ContentType="application/vnd.openxmlformats-officedocument.drawingml.chart+xml"/>
  <Override PartName="/ppt/charts/chart2606.xml" ContentType="application/vnd.openxmlformats-officedocument.drawingml.chart+xml"/>
  <Override PartName="/ppt/charts/chart2607.xml" ContentType="application/vnd.openxmlformats-officedocument.drawingml.chart+xml"/>
  <Override PartName="/ppt/charts/chart2608.xml" ContentType="application/vnd.openxmlformats-officedocument.drawingml.chart+xml"/>
  <Override PartName="/ppt/charts/chart2609.xml" ContentType="application/vnd.openxmlformats-officedocument.drawingml.chart+xml"/>
  <Override PartName="/ppt/charts/chart261.xml" ContentType="application/vnd.openxmlformats-officedocument.drawingml.chart+xml"/>
  <Override PartName="/ppt/charts/chart2610.xml" ContentType="application/vnd.openxmlformats-officedocument.drawingml.chart+xml"/>
  <Override PartName="/ppt/charts/chart2611.xml" ContentType="application/vnd.openxmlformats-officedocument.drawingml.chart+xml"/>
  <Override PartName="/ppt/charts/chart2612.xml" ContentType="application/vnd.openxmlformats-officedocument.drawingml.chart+xml"/>
  <Override PartName="/ppt/charts/chart2613.xml" ContentType="application/vnd.openxmlformats-officedocument.drawingml.chart+xml"/>
  <Override PartName="/ppt/charts/chart2614.xml" ContentType="application/vnd.openxmlformats-officedocument.drawingml.chart+xml"/>
  <Override PartName="/ppt/charts/chart2615.xml" ContentType="application/vnd.openxmlformats-officedocument.drawingml.chart+xml"/>
  <Override PartName="/ppt/charts/chart2616.xml" ContentType="application/vnd.openxmlformats-officedocument.drawingml.chart+xml"/>
  <Override PartName="/ppt/charts/chart2617.xml" ContentType="application/vnd.openxmlformats-officedocument.drawingml.chart+xml"/>
  <Override PartName="/ppt/charts/chart2618.xml" ContentType="application/vnd.openxmlformats-officedocument.drawingml.chart+xml"/>
  <Override PartName="/ppt/charts/chart2619.xml" ContentType="application/vnd.openxmlformats-officedocument.drawingml.chart+xml"/>
  <Override PartName="/ppt/charts/chart262.xml" ContentType="application/vnd.openxmlformats-officedocument.drawingml.chart+xml"/>
  <Override PartName="/ppt/charts/chart2620.xml" ContentType="application/vnd.openxmlformats-officedocument.drawingml.chart+xml"/>
  <Override PartName="/ppt/charts/chart2621.xml" ContentType="application/vnd.openxmlformats-officedocument.drawingml.chart+xml"/>
  <Override PartName="/ppt/charts/chart2622.xml" ContentType="application/vnd.openxmlformats-officedocument.drawingml.chart+xml"/>
  <Override PartName="/ppt/charts/chart2623.xml" ContentType="application/vnd.openxmlformats-officedocument.drawingml.chart+xml"/>
  <Override PartName="/ppt/charts/chart2624.xml" ContentType="application/vnd.openxmlformats-officedocument.drawingml.chart+xml"/>
  <Override PartName="/ppt/charts/chart2625.xml" ContentType="application/vnd.openxmlformats-officedocument.drawingml.chart+xml"/>
  <Override PartName="/ppt/charts/chart2626.xml" ContentType="application/vnd.openxmlformats-officedocument.drawingml.chart+xml"/>
  <Override PartName="/ppt/charts/chart2627.xml" ContentType="application/vnd.openxmlformats-officedocument.drawingml.chart+xml"/>
  <Override PartName="/ppt/charts/chart2628.xml" ContentType="application/vnd.openxmlformats-officedocument.drawingml.chart+xml"/>
  <Override PartName="/ppt/charts/chart2629.xml" ContentType="application/vnd.openxmlformats-officedocument.drawingml.chart+xml"/>
  <Override PartName="/ppt/charts/chart263.xml" ContentType="application/vnd.openxmlformats-officedocument.drawingml.chart+xml"/>
  <Override PartName="/ppt/charts/chart2630.xml" ContentType="application/vnd.openxmlformats-officedocument.drawingml.chart+xml"/>
  <Override PartName="/ppt/charts/chart2631.xml" ContentType="application/vnd.openxmlformats-officedocument.drawingml.chart+xml"/>
  <Override PartName="/ppt/charts/chart2632.xml" ContentType="application/vnd.openxmlformats-officedocument.drawingml.chart+xml"/>
  <Override PartName="/ppt/charts/chart2633.xml" ContentType="application/vnd.openxmlformats-officedocument.drawingml.chart+xml"/>
  <Override PartName="/ppt/charts/chart2634.xml" ContentType="application/vnd.openxmlformats-officedocument.drawingml.chart+xml"/>
  <Override PartName="/ppt/charts/chart2635.xml" ContentType="application/vnd.openxmlformats-officedocument.drawingml.chart+xml"/>
  <Override PartName="/ppt/charts/chart2636.xml" ContentType="application/vnd.openxmlformats-officedocument.drawingml.chart+xml"/>
  <Override PartName="/ppt/charts/chart2637.xml" ContentType="application/vnd.openxmlformats-officedocument.drawingml.chart+xml"/>
  <Override PartName="/ppt/charts/chart2638.xml" ContentType="application/vnd.openxmlformats-officedocument.drawingml.chart+xml"/>
  <Override PartName="/ppt/charts/chart2639.xml" ContentType="application/vnd.openxmlformats-officedocument.drawingml.chart+xml"/>
  <Override PartName="/ppt/charts/chart264.xml" ContentType="application/vnd.openxmlformats-officedocument.drawingml.chart+xml"/>
  <Override PartName="/ppt/charts/chart2640.xml" ContentType="application/vnd.openxmlformats-officedocument.drawingml.chart+xml"/>
  <Override PartName="/ppt/charts/chart2641.xml" ContentType="application/vnd.openxmlformats-officedocument.drawingml.chart+xml"/>
  <Override PartName="/ppt/charts/chart2642.xml" ContentType="application/vnd.openxmlformats-officedocument.drawingml.chart+xml"/>
  <Override PartName="/ppt/charts/chart2643.xml" ContentType="application/vnd.openxmlformats-officedocument.drawingml.chart+xml"/>
  <Override PartName="/ppt/charts/chart2644.xml" ContentType="application/vnd.openxmlformats-officedocument.drawingml.chart+xml"/>
  <Override PartName="/ppt/charts/chart2645.xml" ContentType="application/vnd.openxmlformats-officedocument.drawingml.chart+xml"/>
  <Override PartName="/ppt/charts/chart2646.xml" ContentType="application/vnd.openxmlformats-officedocument.drawingml.chart+xml"/>
  <Override PartName="/ppt/charts/chart2647.xml" ContentType="application/vnd.openxmlformats-officedocument.drawingml.chart+xml"/>
  <Override PartName="/ppt/charts/chart2648.xml" ContentType="application/vnd.openxmlformats-officedocument.drawingml.chart+xml"/>
  <Override PartName="/ppt/charts/chart2649.xml" ContentType="application/vnd.openxmlformats-officedocument.drawingml.chart+xml"/>
  <Override PartName="/ppt/charts/chart265.xml" ContentType="application/vnd.openxmlformats-officedocument.drawingml.chart+xml"/>
  <Override PartName="/ppt/charts/chart2650.xml" ContentType="application/vnd.openxmlformats-officedocument.drawingml.chart+xml"/>
  <Override PartName="/ppt/charts/chart2651.xml" ContentType="application/vnd.openxmlformats-officedocument.drawingml.chart+xml"/>
  <Override PartName="/ppt/charts/chart2652.xml" ContentType="application/vnd.openxmlformats-officedocument.drawingml.chart+xml"/>
  <Override PartName="/ppt/charts/chart2653.xml" ContentType="application/vnd.openxmlformats-officedocument.drawingml.chart+xml"/>
  <Override PartName="/ppt/charts/chart2654.xml" ContentType="application/vnd.openxmlformats-officedocument.drawingml.chart+xml"/>
  <Override PartName="/ppt/charts/chart2655.xml" ContentType="application/vnd.openxmlformats-officedocument.drawingml.chart+xml"/>
  <Override PartName="/ppt/charts/chart2656.xml" ContentType="application/vnd.openxmlformats-officedocument.drawingml.chart+xml"/>
  <Override PartName="/ppt/charts/chart2657.xml" ContentType="application/vnd.openxmlformats-officedocument.drawingml.chart+xml"/>
  <Override PartName="/ppt/charts/chart2658.xml" ContentType="application/vnd.openxmlformats-officedocument.drawingml.chart+xml"/>
  <Override PartName="/ppt/charts/chart2659.xml" ContentType="application/vnd.openxmlformats-officedocument.drawingml.chart+xml"/>
  <Override PartName="/ppt/charts/chart266.xml" ContentType="application/vnd.openxmlformats-officedocument.drawingml.chart+xml"/>
  <Override PartName="/ppt/charts/chart2660.xml" ContentType="application/vnd.openxmlformats-officedocument.drawingml.chart+xml"/>
  <Override PartName="/ppt/charts/chart2661.xml" ContentType="application/vnd.openxmlformats-officedocument.drawingml.chart+xml"/>
  <Override PartName="/ppt/charts/chart2662.xml" ContentType="application/vnd.openxmlformats-officedocument.drawingml.chart+xml"/>
  <Override PartName="/ppt/charts/chart2663.xml" ContentType="application/vnd.openxmlformats-officedocument.drawingml.chart+xml"/>
  <Override PartName="/ppt/charts/chart2664.xml" ContentType="application/vnd.openxmlformats-officedocument.drawingml.chart+xml"/>
  <Override PartName="/ppt/charts/chart2665.xml" ContentType="application/vnd.openxmlformats-officedocument.drawingml.chart+xml"/>
  <Override PartName="/ppt/charts/chart2666.xml" ContentType="application/vnd.openxmlformats-officedocument.drawingml.chart+xml"/>
  <Override PartName="/ppt/charts/chart2667.xml" ContentType="application/vnd.openxmlformats-officedocument.drawingml.chart+xml"/>
  <Override PartName="/ppt/charts/chart2668.xml" ContentType="application/vnd.openxmlformats-officedocument.drawingml.chart+xml"/>
  <Override PartName="/ppt/charts/chart2669.xml" ContentType="application/vnd.openxmlformats-officedocument.drawingml.chart+xml"/>
  <Override PartName="/ppt/charts/chart267.xml" ContentType="application/vnd.openxmlformats-officedocument.drawingml.chart+xml"/>
  <Override PartName="/ppt/charts/chart2670.xml" ContentType="application/vnd.openxmlformats-officedocument.drawingml.chart+xml"/>
  <Override PartName="/ppt/charts/chart2671.xml" ContentType="application/vnd.openxmlformats-officedocument.drawingml.chart+xml"/>
  <Override PartName="/ppt/charts/chart2672.xml" ContentType="application/vnd.openxmlformats-officedocument.drawingml.chart+xml"/>
  <Override PartName="/ppt/charts/chart2673.xml" ContentType="application/vnd.openxmlformats-officedocument.drawingml.chart+xml"/>
  <Override PartName="/ppt/charts/chart2674.xml" ContentType="application/vnd.openxmlformats-officedocument.drawingml.chart+xml"/>
  <Override PartName="/ppt/charts/chart2675.xml" ContentType="application/vnd.openxmlformats-officedocument.drawingml.chart+xml"/>
  <Override PartName="/ppt/charts/chart2676.xml" ContentType="application/vnd.openxmlformats-officedocument.drawingml.chart+xml"/>
  <Override PartName="/ppt/charts/chart2677.xml" ContentType="application/vnd.openxmlformats-officedocument.drawingml.chart+xml"/>
  <Override PartName="/ppt/charts/chart2678.xml" ContentType="application/vnd.openxmlformats-officedocument.drawingml.chart+xml"/>
  <Override PartName="/ppt/charts/chart2679.xml" ContentType="application/vnd.openxmlformats-officedocument.drawingml.chart+xml"/>
  <Override PartName="/ppt/charts/chart268.xml" ContentType="application/vnd.openxmlformats-officedocument.drawingml.chart+xml"/>
  <Override PartName="/ppt/charts/chart2680.xml" ContentType="application/vnd.openxmlformats-officedocument.drawingml.chart+xml"/>
  <Override PartName="/ppt/charts/chart2681.xml" ContentType="application/vnd.openxmlformats-officedocument.drawingml.chart+xml"/>
  <Override PartName="/ppt/charts/chart2682.xml" ContentType="application/vnd.openxmlformats-officedocument.drawingml.chart+xml"/>
  <Override PartName="/ppt/charts/chart2683.xml" ContentType="application/vnd.openxmlformats-officedocument.drawingml.chart+xml"/>
  <Override PartName="/ppt/charts/chart2684.xml" ContentType="application/vnd.openxmlformats-officedocument.drawingml.chart+xml"/>
  <Override PartName="/ppt/charts/chart2685.xml" ContentType="application/vnd.openxmlformats-officedocument.drawingml.chart+xml"/>
  <Override PartName="/ppt/charts/chart2686.xml" ContentType="application/vnd.openxmlformats-officedocument.drawingml.chart+xml"/>
  <Override PartName="/ppt/charts/chart2687.xml" ContentType="application/vnd.openxmlformats-officedocument.drawingml.chart+xml"/>
  <Override PartName="/ppt/charts/chart2688.xml" ContentType="application/vnd.openxmlformats-officedocument.drawingml.chart+xml"/>
  <Override PartName="/ppt/charts/chart2689.xml" ContentType="application/vnd.openxmlformats-officedocument.drawingml.chart+xml"/>
  <Override PartName="/ppt/charts/chart269.xml" ContentType="application/vnd.openxmlformats-officedocument.drawingml.chart+xml"/>
  <Override PartName="/ppt/charts/chart2690.xml" ContentType="application/vnd.openxmlformats-officedocument.drawingml.chart+xml"/>
  <Override PartName="/ppt/charts/chart2691.xml" ContentType="application/vnd.openxmlformats-officedocument.drawingml.chart+xml"/>
  <Override PartName="/ppt/charts/chart2692.xml" ContentType="application/vnd.openxmlformats-officedocument.drawingml.chart+xml"/>
  <Override PartName="/ppt/charts/chart2693.xml" ContentType="application/vnd.openxmlformats-officedocument.drawingml.chart+xml"/>
  <Override PartName="/ppt/charts/chart2694.xml" ContentType="application/vnd.openxmlformats-officedocument.drawingml.chart+xml"/>
  <Override PartName="/ppt/charts/chart2695.xml" ContentType="application/vnd.openxmlformats-officedocument.drawingml.chart+xml"/>
  <Override PartName="/ppt/charts/chart2696.xml" ContentType="application/vnd.openxmlformats-officedocument.drawingml.chart+xml"/>
  <Override PartName="/ppt/charts/chart2697.xml" ContentType="application/vnd.openxmlformats-officedocument.drawingml.chart+xml"/>
  <Override PartName="/ppt/charts/chart2698.xml" ContentType="application/vnd.openxmlformats-officedocument.drawingml.chart+xml"/>
  <Override PartName="/ppt/charts/chart269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00.xml" ContentType="application/vnd.openxmlformats-officedocument.drawingml.chart+xml"/>
  <Override PartName="/ppt/charts/chart2701.xml" ContentType="application/vnd.openxmlformats-officedocument.drawingml.chart+xml"/>
  <Override PartName="/ppt/charts/chart2702.xml" ContentType="application/vnd.openxmlformats-officedocument.drawingml.chart+xml"/>
  <Override PartName="/ppt/charts/chart2703.xml" ContentType="application/vnd.openxmlformats-officedocument.drawingml.chart+xml"/>
  <Override PartName="/ppt/charts/chart2704.xml" ContentType="application/vnd.openxmlformats-officedocument.drawingml.chart+xml"/>
  <Override PartName="/ppt/charts/chart2705.xml" ContentType="application/vnd.openxmlformats-officedocument.drawingml.chart+xml"/>
  <Override PartName="/ppt/charts/chart2706.xml" ContentType="application/vnd.openxmlformats-officedocument.drawingml.chart+xml"/>
  <Override PartName="/ppt/charts/chart2707.xml" ContentType="application/vnd.openxmlformats-officedocument.drawingml.chart+xml"/>
  <Override PartName="/ppt/charts/chart2708.xml" ContentType="application/vnd.openxmlformats-officedocument.drawingml.chart+xml"/>
  <Override PartName="/ppt/charts/chart2709.xml" ContentType="application/vnd.openxmlformats-officedocument.drawingml.chart+xml"/>
  <Override PartName="/ppt/charts/chart271.xml" ContentType="application/vnd.openxmlformats-officedocument.drawingml.chart+xml"/>
  <Override PartName="/ppt/charts/chart2710.xml" ContentType="application/vnd.openxmlformats-officedocument.drawingml.chart+xml"/>
  <Override PartName="/ppt/charts/chart2711.xml" ContentType="application/vnd.openxmlformats-officedocument.drawingml.chart+xml"/>
  <Override PartName="/ppt/charts/chart2712.xml" ContentType="application/vnd.openxmlformats-officedocument.drawingml.chart+xml"/>
  <Override PartName="/ppt/charts/chart2713.xml" ContentType="application/vnd.openxmlformats-officedocument.drawingml.chart+xml"/>
  <Override PartName="/ppt/charts/chart2714.xml" ContentType="application/vnd.openxmlformats-officedocument.drawingml.chart+xml"/>
  <Override PartName="/ppt/charts/chart2715.xml" ContentType="application/vnd.openxmlformats-officedocument.drawingml.chart+xml"/>
  <Override PartName="/ppt/charts/chart2716.xml" ContentType="application/vnd.openxmlformats-officedocument.drawingml.chart+xml"/>
  <Override PartName="/ppt/charts/chart2717.xml" ContentType="application/vnd.openxmlformats-officedocument.drawingml.chart+xml"/>
  <Override PartName="/ppt/charts/chart2718.xml" ContentType="application/vnd.openxmlformats-officedocument.drawingml.chart+xml"/>
  <Override PartName="/ppt/charts/chart2719.xml" ContentType="application/vnd.openxmlformats-officedocument.drawingml.chart+xml"/>
  <Override PartName="/ppt/charts/chart272.xml" ContentType="application/vnd.openxmlformats-officedocument.drawingml.chart+xml"/>
  <Override PartName="/ppt/charts/chart2720.xml" ContentType="application/vnd.openxmlformats-officedocument.drawingml.chart+xml"/>
  <Override PartName="/ppt/charts/chart2721.xml" ContentType="application/vnd.openxmlformats-officedocument.drawingml.chart+xml"/>
  <Override PartName="/ppt/charts/chart2722.xml" ContentType="application/vnd.openxmlformats-officedocument.drawingml.chart+xml"/>
  <Override PartName="/ppt/charts/chart2723.xml" ContentType="application/vnd.openxmlformats-officedocument.drawingml.chart+xml"/>
  <Override PartName="/ppt/charts/chart2724.xml" ContentType="application/vnd.openxmlformats-officedocument.drawingml.chart+xml"/>
  <Override PartName="/ppt/charts/chart2725.xml" ContentType="application/vnd.openxmlformats-officedocument.drawingml.chart+xml"/>
  <Override PartName="/ppt/charts/chart2726.xml" ContentType="application/vnd.openxmlformats-officedocument.drawingml.chart+xml"/>
  <Override PartName="/ppt/charts/chart2727.xml" ContentType="application/vnd.openxmlformats-officedocument.drawingml.chart+xml"/>
  <Override PartName="/ppt/charts/chart2728.xml" ContentType="application/vnd.openxmlformats-officedocument.drawingml.chart+xml"/>
  <Override PartName="/ppt/charts/chart2729.xml" ContentType="application/vnd.openxmlformats-officedocument.drawingml.chart+xml"/>
  <Override PartName="/ppt/charts/chart273.xml" ContentType="application/vnd.openxmlformats-officedocument.drawingml.chart+xml"/>
  <Override PartName="/ppt/charts/chart2730.xml" ContentType="application/vnd.openxmlformats-officedocument.drawingml.chart+xml"/>
  <Override PartName="/ppt/charts/chart2731.xml" ContentType="application/vnd.openxmlformats-officedocument.drawingml.chart+xml"/>
  <Override PartName="/ppt/charts/chart2732.xml" ContentType="application/vnd.openxmlformats-officedocument.drawingml.chart+xml"/>
  <Override PartName="/ppt/charts/chart2733.xml" ContentType="application/vnd.openxmlformats-officedocument.drawingml.chart+xml"/>
  <Override PartName="/ppt/charts/chart2734.xml" ContentType="application/vnd.openxmlformats-officedocument.drawingml.chart+xml"/>
  <Override PartName="/ppt/charts/chart2735.xml" ContentType="application/vnd.openxmlformats-officedocument.drawingml.chart+xml"/>
  <Override PartName="/ppt/charts/chart2736.xml" ContentType="application/vnd.openxmlformats-officedocument.drawingml.chart+xml"/>
  <Override PartName="/ppt/charts/chart2737.xml" ContentType="application/vnd.openxmlformats-officedocument.drawingml.chart+xml"/>
  <Override PartName="/ppt/charts/chart2738.xml" ContentType="application/vnd.openxmlformats-officedocument.drawingml.chart+xml"/>
  <Override PartName="/ppt/charts/chart2739.xml" ContentType="application/vnd.openxmlformats-officedocument.drawingml.chart+xml"/>
  <Override PartName="/ppt/charts/chart274.xml" ContentType="application/vnd.openxmlformats-officedocument.drawingml.chart+xml"/>
  <Override PartName="/ppt/charts/chart2740.xml" ContentType="application/vnd.openxmlformats-officedocument.drawingml.chart+xml"/>
  <Override PartName="/ppt/charts/chart2741.xml" ContentType="application/vnd.openxmlformats-officedocument.drawingml.chart+xml"/>
  <Override PartName="/ppt/charts/chart2742.xml" ContentType="application/vnd.openxmlformats-officedocument.drawingml.chart+xml"/>
  <Override PartName="/ppt/charts/chart2743.xml" ContentType="application/vnd.openxmlformats-officedocument.drawingml.chart+xml"/>
  <Override PartName="/ppt/charts/chart2744.xml" ContentType="application/vnd.openxmlformats-officedocument.drawingml.chart+xml"/>
  <Override PartName="/ppt/charts/chart2745.xml" ContentType="application/vnd.openxmlformats-officedocument.drawingml.chart+xml"/>
  <Override PartName="/ppt/charts/chart2746.xml" ContentType="application/vnd.openxmlformats-officedocument.drawingml.chart+xml"/>
  <Override PartName="/ppt/charts/chart2747.xml" ContentType="application/vnd.openxmlformats-officedocument.drawingml.chart+xml"/>
  <Override PartName="/ppt/charts/chart2748.xml" ContentType="application/vnd.openxmlformats-officedocument.drawingml.chart+xml"/>
  <Override PartName="/ppt/charts/chart2749.xml" ContentType="application/vnd.openxmlformats-officedocument.drawingml.chart+xml"/>
  <Override PartName="/ppt/charts/chart275.xml" ContentType="application/vnd.openxmlformats-officedocument.drawingml.chart+xml"/>
  <Override PartName="/ppt/charts/chart2750.xml" ContentType="application/vnd.openxmlformats-officedocument.drawingml.chart+xml"/>
  <Override PartName="/ppt/charts/chart2751.xml" ContentType="application/vnd.openxmlformats-officedocument.drawingml.chart+xml"/>
  <Override PartName="/ppt/charts/chart2752.xml" ContentType="application/vnd.openxmlformats-officedocument.drawingml.chart+xml"/>
  <Override PartName="/ppt/charts/chart2753.xml" ContentType="application/vnd.openxmlformats-officedocument.drawingml.chart+xml"/>
  <Override PartName="/ppt/charts/chart2754.xml" ContentType="application/vnd.openxmlformats-officedocument.drawingml.chart+xml"/>
  <Override PartName="/ppt/charts/chart2755.xml" ContentType="application/vnd.openxmlformats-officedocument.drawingml.chart+xml"/>
  <Override PartName="/ppt/charts/chart2756.xml" ContentType="application/vnd.openxmlformats-officedocument.drawingml.chart+xml"/>
  <Override PartName="/ppt/charts/chart2757.xml" ContentType="application/vnd.openxmlformats-officedocument.drawingml.chart+xml"/>
  <Override PartName="/ppt/charts/chart2758.xml" ContentType="application/vnd.openxmlformats-officedocument.drawingml.chart+xml"/>
  <Override PartName="/ppt/charts/chart2759.xml" ContentType="application/vnd.openxmlformats-officedocument.drawingml.chart+xml"/>
  <Override PartName="/ppt/charts/chart276.xml" ContentType="application/vnd.openxmlformats-officedocument.drawingml.chart+xml"/>
  <Override PartName="/ppt/charts/chart2760.xml" ContentType="application/vnd.openxmlformats-officedocument.drawingml.chart+xml"/>
  <Override PartName="/ppt/charts/chart2761.xml" ContentType="application/vnd.openxmlformats-officedocument.drawingml.chart+xml"/>
  <Override PartName="/ppt/charts/chart2762.xml" ContentType="application/vnd.openxmlformats-officedocument.drawingml.chart+xml"/>
  <Override PartName="/ppt/charts/chart2763.xml" ContentType="application/vnd.openxmlformats-officedocument.drawingml.chart+xml"/>
  <Override PartName="/ppt/charts/chart2764.xml" ContentType="application/vnd.openxmlformats-officedocument.drawingml.chart+xml"/>
  <Override PartName="/ppt/charts/chart2765.xml" ContentType="application/vnd.openxmlformats-officedocument.drawingml.chart+xml"/>
  <Override PartName="/ppt/charts/chart2766.xml" ContentType="application/vnd.openxmlformats-officedocument.drawingml.chart+xml"/>
  <Override PartName="/ppt/charts/chart2767.xml" ContentType="application/vnd.openxmlformats-officedocument.drawingml.chart+xml"/>
  <Override PartName="/ppt/charts/chart2768.xml" ContentType="application/vnd.openxmlformats-officedocument.drawingml.chart+xml"/>
  <Override PartName="/ppt/charts/chart2769.xml" ContentType="application/vnd.openxmlformats-officedocument.drawingml.chart+xml"/>
  <Override PartName="/ppt/charts/chart277.xml" ContentType="application/vnd.openxmlformats-officedocument.drawingml.chart+xml"/>
  <Override PartName="/ppt/charts/chart2770.xml" ContentType="application/vnd.openxmlformats-officedocument.drawingml.chart+xml"/>
  <Override PartName="/ppt/charts/chart2771.xml" ContentType="application/vnd.openxmlformats-officedocument.drawingml.chart+xml"/>
  <Override PartName="/ppt/charts/chart2772.xml" ContentType="application/vnd.openxmlformats-officedocument.drawingml.chart+xml"/>
  <Override PartName="/ppt/charts/chart2773.xml" ContentType="application/vnd.openxmlformats-officedocument.drawingml.chart+xml"/>
  <Override PartName="/ppt/charts/chart2774.xml" ContentType="application/vnd.openxmlformats-officedocument.drawingml.chart+xml"/>
  <Override PartName="/ppt/charts/chart2775.xml" ContentType="application/vnd.openxmlformats-officedocument.drawingml.chart+xml"/>
  <Override PartName="/ppt/charts/chart2776.xml" ContentType="application/vnd.openxmlformats-officedocument.drawingml.chart+xml"/>
  <Override PartName="/ppt/charts/chart2777.xml" ContentType="application/vnd.openxmlformats-officedocument.drawingml.chart+xml"/>
  <Override PartName="/ppt/charts/chart2778.xml" ContentType="application/vnd.openxmlformats-officedocument.drawingml.chart+xml"/>
  <Override PartName="/ppt/charts/chart2779.xml" ContentType="application/vnd.openxmlformats-officedocument.drawingml.chart+xml"/>
  <Override PartName="/ppt/charts/chart278.xml" ContentType="application/vnd.openxmlformats-officedocument.drawingml.chart+xml"/>
  <Override PartName="/ppt/charts/chart2780.xml" ContentType="application/vnd.openxmlformats-officedocument.drawingml.chart+xml"/>
  <Override PartName="/ppt/charts/chart2781.xml" ContentType="application/vnd.openxmlformats-officedocument.drawingml.chart+xml"/>
  <Override PartName="/ppt/charts/chart2782.xml" ContentType="application/vnd.openxmlformats-officedocument.drawingml.chart+xml"/>
  <Override PartName="/ppt/charts/chart2783.xml" ContentType="application/vnd.openxmlformats-officedocument.drawingml.chart+xml"/>
  <Override PartName="/ppt/charts/chart2784.xml" ContentType="application/vnd.openxmlformats-officedocument.drawingml.chart+xml"/>
  <Override PartName="/ppt/charts/chart2785.xml" ContentType="application/vnd.openxmlformats-officedocument.drawingml.chart+xml"/>
  <Override PartName="/ppt/charts/chart2786.xml" ContentType="application/vnd.openxmlformats-officedocument.drawingml.chart+xml"/>
  <Override PartName="/ppt/charts/chart2787.xml" ContentType="application/vnd.openxmlformats-officedocument.drawingml.chart+xml"/>
  <Override PartName="/ppt/charts/chart2788.xml" ContentType="application/vnd.openxmlformats-officedocument.drawingml.chart+xml"/>
  <Override PartName="/ppt/charts/chart2789.xml" ContentType="application/vnd.openxmlformats-officedocument.drawingml.chart+xml"/>
  <Override PartName="/ppt/charts/chart279.xml" ContentType="application/vnd.openxmlformats-officedocument.drawingml.chart+xml"/>
  <Override PartName="/ppt/charts/chart2790.xml" ContentType="application/vnd.openxmlformats-officedocument.drawingml.chart+xml"/>
  <Override PartName="/ppt/charts/chart2791.xml" ContentType="application/vnd.openxmlformats-officedocument.drawingml.chart+xml"/>
  <Override PartName="/ppt/charts/chart2792.xml" ContentType="application/vnd.openxmlformats-officedocument.drawingml.chart+xml"/>
  <Override PartName="/ppt/charts/chart2793.xml" ContentType="application/vnd.openxmlformats-officedocument.drawingml.chart+xml"/>
  <Override PartName="/ppt/charts/chart2794.xml" ContentType="application/vnd.openxmlformats-officedocument.drawingml.chart+xml"/>
  <Override PartName="/ppt/charts/chart2795.xml" ContentType="application/vnd.openxmlformats-officedocument.drawingml.chart+xml"/>
  <Override PartName="/ppt/charts/chart2796.xml" ContentType="application/vnd.openxmlformats-officedocument.drawingml.chart+xml"/>
  <Override PartName="/ppt/charts/chart2797.xml" ContentType="application/vnd.openxmlformats-officedocument.drawingml.chart+xml"/>
  <Override PartName="/ppt/charts/chart2798.xml" ContentType="application/vnd.openxmlformats-officedocument.drawingml.chart+xml"/>
  <Override PartName="/ppt/charts/chart279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00.xml" ContentType="application/vnd.openxmlformats-officedocument.drawingml.chart+xml"/>
  <Override PartName="/ppt/charts/chart2801.xml" ContentType="application/vnd.openxmlformats-officedocument.drawingml.chart+xml"/>
  <Override PartName="/ppt/charts/chart2802.xml" ContentType="application/vnd.openxmlformats-officedocument.drawingml.chart+xml"/>
  <Override PartName="/ppt/charts/chart2803.xml" ContentType="application/vnd.openxmlformats-officedocument.drawingml.chart+xml"/>
  <Override PartName="/ppt/charts/chart2804.xml" ContentType="application/vnd.openxmlformats-officedocument.drawingml.chart+xml"/>
  <Override PartName="/ppt/charts/chart2805.xml" ContentType="application/vnd.openxmlformats-officedocument.drawingml.chart+xml"/>
  <Override PartName="/ppt/charts/chart2806.xml" ContentType="application/vnd.openxmlformats-officedocument.drawingml.chart+xml"/>
  <Override PartName="/ppt/charts/chart2807.xml" ContentType="application/vnd.openxmlformats-officedocument.drawingml.chart+xml"/>
  <Override PartName="/ppt/charts/chart2808.xml" ContentType="application/vnd.openxmlformats-officedocument.drawingml.chart+xml"/>
  <Override PartName="/ppt/charts/chart2809.xml" ContentType="application/vnd.openxmlformats-officedocument.drawingml.chart+xml"/>
  <Override PartName="/ppt/charts/chart281.xml" ContentType="application/vnd.openxmlformats-officedocument.drawingml.chart+xml"/>
  <Override PartName="/ppt/charts/chart2810.xml" ContentType="application/vnd.openxmlformats-officedocument.drawingml.chart+xml"/>
  <Override PartName="/ppt/charts/chart2811.xml" ContentType="application/vnd.openxmlformats-officedocument.drawingml.chart+xml"/>
  <Override PartName="/ppt/charts/chart2812.xml" ContentType="application/vnd.openxmlformats-officedocument.drawingml.chart+xml"/>
  <Override PartName="/ppt/charts/chart2813.xml" ContentType="application/vnd.openxmlformats-officedocument.drawingml.chart+xml"/>
  <Override PartName="/ppt/charts/chart2814.xml" ContentType="application/vnd.openxmlformats-officedocument.drawingml.chart+xml"/>
  <Override PartName="/ppt/charts/chart2815.xml" ContentType="application/vnd.openxmlformats-officedocument.drawingml.chart+xml"/>
  <Override PartName="/ppt/charts/chart2816.xml" ContentType="application/vnd.openxmlformats-officedocument.drawingml.chart+xml"/>
  <Override PartName="/ppt/charts/chart2817.xml" ContentType="application/vnd.openxmlformats-officedocument.drawingml.chart+xml"/>
  <Override PartName="/ppt/charts/chart2818.xml" ContentType="application/vnd.openxmlformats-officedocument.drawingml.chart+xml"/>
  <Override PartName="/ppt/charts/chart2819.xml" ContentType="application/vnd.openxmlformats-officedocument.drawingml.chart+xml"/>
  <Override PartName="/ppt/charts/chart282.xml" ContentType="application/vnd.openxmlformats-officedocument.drawingml.chart+xml"/>
  <Override PartName="/ppt/charts/chart2820.xml" ContentType="application/vnd.openxmlformats-officedocument.drawingml.chart+xml"/>
  <Override PartName="/ppt/charts/chart2821.xml" ContentType="application/vnd.openxmlformats-officedocument.drawingml.chart+xml"/>
  <Override PartName="/ppt/charts/chart2822.xml" ContentType="application/vnd.openxmlformats-officedocument.drawingml.chart+xml"/>
  <Override PartName="/ppt/charts/chart2823.xml" ContentType="application/vnd.openxmlformats-officedocument.drawingml.chart+xml"/>
  <Override PartName="/ppt/charts/chart2824.xml" ContentType="application/vnd.openxmlformats-officedocument.drawingml.chart+xml"/>
  <Override PartName="/ppt/charts/chart2825.xml" ContentType="application/vnd.openxmlformats-officedocument.drawingml.chart+xml"/>
  <Override PartName="/ppt/charts/chart2826.xml" ContentType="application/vnd.openxmlformats-officedocument.drawingml.chart+xml"/>
  <Override PartName="/ppt/charts/chart2827.xml" ContentType="application/vnd.openxmlformats-officedocument.drawingml.chart+xml"/>
  <Override PartName="/ppt/charts/chart2828.xml" ContentType="application/vnd.openxmlformats-officedocument.drawingml.chart+xml"/>
  <Override PartName="/ppt/charts/chart2829.xml" ContentType="application/vnd.openxmlformats-officedocument.drawingml.chart+xml"/>
  <Override PartName="/ppt/charts/chart283.xml" ContentType="application/vnd.openxmlformats-officedocument.drawingml.chart+xml"/>
  <Override PartName="/ppt/charts/chart2830.xml" ContentType="application/vnd.openxmlformats-officedocument.drawingml.chart+xml"/>
  <Override PartName="/ppt/charts/chart2831.xml" ContentType="application/vnd.openxmlformats-officedocument.drawingml.chart+xml"/>
  <Override PartName="/ppt/charts/chart2832.xml" ContentType="application/vnd.openxmlformats-officedocument.drawingml.chart+xml"/>
  <Override PartName="/ppt/charts/chart2833.xml" ContentType="application/vnd.openxmlformats-officedocument.drawingml.chart+xml"/>
  <Override PartName="/ppt/charts/chart2834.xml" ContentType="application/vnd.openxmlformats-officedocument.drawingml.chart+xml"/>
  <Override PartName="/ppt/charts/chart2835.xml" ContentType="application/vnd.openxmlformats-officedocument.drawingml.chart+xml"/>
  <Override PartName="/ppt/charts/chart2836.xml" ContentType="application/vnd.openxmlformats-officedocument.drawingml.chart+xml"/>
  <Override PartName="/ppt/charts/chart2837.xml" ContentType="application/vnd.openxmlformats-officedocument.drawingml.chart+xml"/>
  <Override PartName="/ppt/charts/chart2838.xml" ContentType="application/vnd.openxmlformats-officedocument.drawingml.chart+xml"/>
  <Override PartName="/ppt/charts/chart2839.xml" ContentType="application/vnd.openxmlformats-officedocument.drawingml.chart+xml"/>
  <Override PartName="/ppt/charts/chart284.xml" ContentType="application/vnd.openxmlformats-officedocument.drawingml.chart+xml"/>
  <Override PartName="/ppt/charts/chart2840.xml" ContentType="application/vnd.openxmlformats-officedocument.drawingml.chart+xml"/>
  <Override PartName="/ppt/charts/chart2841.xml" ContentType="application/vnd.openxmlformats-officedocument.drawingml.chart+xml"/>
  <Override PartName="/ppt/charts/chart2842.xml" ContentType="application/vnd.openxmlformats-officedocument.drawingml.chart+xml"/>
  <Override PartName="/ppt/charts/chart2843.xml" ContentType="application/vnd.openxmlformats-officedocument.drawingml.chart+xml"/>
  <Override PartName="/ppt/charts/chart2844.xml" ContentType="application/vnd.openxmlformats-officedocument.drawingml.chart+xml"/>
  <Override PartName="/ppt/charts/chart2845.xml" ContentType="application/vnd.openxmlformats-officedocument.drawingml.chart+xml"/>
  <Override PartName="/ppt/charts/chart2846.xml" ContentType="application/vnd.openxmlformats-officedocument.drawingml.chart+xml"/>
  <Override PartName="/ppt/charts/chart2847.xml" ContentType="application/vnd.openxmlformats-officedocument.drawingml.chart+xml"/>
  <Override PartName="/ppt/charts/chart2848.xml" ContentType="application/vnd.openxmlformats-officedocument.drawingml.chart+xml"/>
  <Override PartName="/ppt/charts/chart2849.xml" ContentType="application/vnd.openxmlformats-officedocument.drawingml.chart+xml"/>
  <Override PartName="/ppt/charts/chart285.xml" ContentType="application/vnd.openxmlformats-officedocument.drawingml.chart+xml"/>
  <Override PartName="/ppt/charts/chart2850.xml" ContentType="application/vnd.openxmlformats-officedocument.drawingml.chart+xml"/>
  <Override PartName="/ppt/charts/chart2851.xml" ContentType="application/vnd.openxmlformats-officedocument.drawingml.chart+xml"/>
  <Override PartName="/ppt/charts/chart2852.xml" ContentType="application/vnd.openxmlformats-officedocument.drawingml.chart+xml"/>
  <Override PartName="/ppt/charts/chart2853.xml" ContentType="application/vnd.openxmlformats-officedocument.drawingml.chart+xml"/>
  <Override PartName="/ppt/charts/chart2854.xml" ContentType="application/vnd.openxmlformats-officedocument.drawingml.chart+xml"/>
  <Override PartName="/ppt/charts/chart2855.xml" ContentType="application/vnd.openxmlformats-officedocument.drawingml.chart+xml"/>
  <Override PartName="/ppt/charts/chart2856.xml" ContentType="application/vnd.openxmlformats-officedocument.drawingml.chart+xml"/>
  <Override PartName="/ppt/charts/chart2857.xml" ContentType="application/vnd.openxmlformats-officedocument.drawingml.chart+xml"/>
  <Override PartName="/ppt/charts/chart2858.xml" ContentType="application/vnd.openxmlformats-officedocument.drawingml.chart+xml"/>
  <Override PartName="/ppt/charts/chart2859.xml" ContentType="application/vnd.openxmlformats-officedocument.drawingml.chart+xml"/>
  <Override PartName="/ppt/charts/chart286.xml" ContentType="application/vnd.openxmlformats-officedocument.drawingml.chart+xml"/>
  <Override PartName="/ppt/charts/chart2860.xml" ContentType="application/vnd.openxmlformats-officedocument.drawingml.chart+xml"/>
  <Override PartName="/ppt/charts/chart2861.xml" ContentType="application/vnd.openxmlformats-officedocument.drawingml.chart+xml"/>
  <Override PartName="/ppt/charts/chart2862.xml" ContentType="application/vnd.openxmlformats-officedocument.drawingml.chart+xml"/>
  <Override PartName="/ppt/charts/chart2863.xml" ContentType="application/vnd.openxmlformats-officedocument.drawingml.chart+xml"/>
  <Override PartName="/ppt/charts/chart2864.xml" ContentType="application/vnd.openxmlformats-officedocument.drawingml.chart+xml"/>
  <Override PartName="/ppt/charts/chart2865.xml" ContentType="application/vnd.openxmlformats-officedocument.drawingml.chart+xml"/>
  <Override PartName="/ppt/charts/chart2866.xml" ContentType="application/vnd.openxmlformats-officedocument.drawingml.chart+xml"/>
  <Override PartName="/ppt/charts/chart2867.xml" ContentType="application/vnd.openxmlformats-officedocument.drawingml.chart+xml"/>
  <Override PartName="/ppt/charts/chart2868.xml" ContentType="application/vnd.openxmlformats-officedocument.drawingml.chart+xml"/>
  <Override PartName="/ppt/charts/chart2869.xml" ContentType="application/vnd.openxmlformats-officedocument.drawingml.chart+xml"/>
  <Override PartName="/ppt/charts/chart287.xml" ContentType="application/vnd.openxmlformats-officedocument.drawingml.chart+xml"/>
  <Override PartName="/ppt/charts/chart2870.xml" ContentType="application/vnd.openxmlformats-officedocument.drawingml.chart+xml"/>
  <Override PartName="/ppt/charts/chart2871.xml" ContentType="application/vnd.openxmlformats-officedocument.drawingml.chart+xml"/>
  <Override PartName="/ppt/charts/chart2872.xml" ContentType="application/vnd.openxmlformats-officedocument.drawingml.chart+xml"/>
  <Override PartName="/ppt/charts/chart2873.xml" ContentType="application/vnd.openxmlformats-officedocument.drawingml.chart+xml"/>
  <Override PartName="/ppt/charts/chart2874.xml" ContentType="application/vnd.openxmlformats-officedocument.drawingml.chart+xml"/>
  <Override PartName="/ppt/charts/chart2875.xml" ContentType="application/vnd.openxmlformats-officedocument.drawingml.chart+xml"/>
  <Override PartName="/ppt/charts/chart2876.xml" ContentType="application/vnd.openxmlformats-officedocument.drawingml.chart+xml"/>
  <Override PartName="/ppt/charts/chart2877.xml" ContentType="application/vnd.openxmlformats-officedocument.drawingml.chart+xml"/>
  <Override PartName="/ppt/charts/chart2878.xml" ContentType="application/vnd.openxmlformats-officedocument.drawingml.chart+xml"/>
  <Override PartName="/ppt/charts/chart2879.xml" ContentType="application/vnd.openxmlformats-officedocument.drawingml.chart+xml"/>
  <Override PartName="/ppt/charts/chart288.xml" ContentType="application/vnd.openxmlformats-officedocument.drawingml.chart+xml"/>
  <Override PartName="/ppt/charts/chart2880.xml" ContentType="application/vnd.openxmlformats-officedocument.drawingml.chart+xml"/>
  <Override PartName="/ppt/charts/chart2881.xml" ContentType="application/vnd.openxmlformats-officedocument.drawingml.chart+xml"/>
  <Override PartName="/ppt/charts/chart2882.xml" ContentType="application/vnd.openxmlformats-officedocument.drawingml.chart+xml"/>
  <Override PartName="/ppt/charts/chart2883.xml" ContentType="application/vnd.openxmlformats-officedocument.drawingml.chart+xml"/>
  <Override PartName="/ppt/charts/chart2884.xml" ContentType="application/vnd.openxmlformats-officedocument.drawingml.chart+xml"/>
  <Override PartName="/ppt/charts/chart2885.xml" ContentType="application/vnd.openxmlformats-officedocument.drawingml.chart+xml"/>
  <Override PartName="/ppt/charts/chart2886.xml" ContentType="application/vnd.openxmlformats-officedocument.drawingml.chart+xml"/>
  <Override PartName="/ppt/charts/chart2887.xml" ContentType="application/vnd.openxmlformats-officedocument.drawingml.chart+xml"/>
  <Override PartName="/ppt/charts/chart2888.xml" ContentType="application/vnd.openxmlformats-officedocument.drawingml.chart+xml"/>
  <Override PartName="/ppt/charts/chart2889.xml" ContentType="application/vnd.openxmlformats-officedocument.drawingml.chart+xml"/>
  <Override PartName="/ppt/charts/chart289.xml" ContentType="application/vnd.openxmlformats-officedocument.drawingml.chart+xml"/>
  <Override PartName="/ppt/charts/chart2890.xml" ContentType="application/vnd.openxmlformats-officedocument.drawingml.chart+xml"/>
  <Override PartName="/ppt/charts/chart2891.xml" ContentType="application/vnd.openxmlformats-officedocument.drawingml.chart+xml"/>
  <Override PartName="/ppt/charts/chart2892.xml" ContentType="application/vnd.openxmlformats-officedocument.drawingml.chart+xml"/>
  <Override PartName="/ppt/charts/chart2893.xml" ContentType="application/vnd.openxmlformats-officedocument.drawingml.chart+xml"/>
  <Override PartName="/ppt/charts/chart2894.xml" ContentType="application/vnd.openxmlformats-officedocument.drawingml.chart+xml"/>
  <Override PartName="/ppt/charts/chart2895.xml" ContentType="application/vnd.openxmlformats-officedocument.drawingml.chart+xml"/>
  <Override PartName="/ppt/charts/chart2896.xml" ContentType="application/vnd.openxmlformats-officedocument.drawingml.chart+xml"/>
  <Override PartName="/ppt/charts/chart2897.xml" ContentType="application/vnd.openxmlformats-officedocument.drawingml.chart+xml"/>
  <Override PartName="/ppt/charts/chart2898.xml" ContentType="application/vnd.openxmlformats-officedocument.drawingml.chart+xml"/>
  <Override PartName="/ppt/charts/chart289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00.xml" ContentType="application/vnd.openxmlformats-officedocument.drawingml.chart+xml"/>
  <Override PartName="/ppt/charts/chart2901.xml" ContentType="application/vnd.openxmlformats-officedocument.drawingml.chart+xml"/>
  <Override PartName="/ppt/charts/chart2902.xml" ContentType="application/vnd.openxmlformats-officedocument.drawingml.chart+xml"/>
  <Override PartName="/ppt/charts/chart2903.xml" ContentType="application/vnd.openxmlformats-officedocument.drawingml.chart+xml"/>
  <Override PartName="/ppt/charts/chart2904.xml" ContentType="application/vnd.openxmlformats-officedocument.drawingml.chart+xml"/>
  <Override PartName="/ppt/charts/chart2905.xml" ContentType="application/vnd.openxmlformats-officedocument.drawingml.chart+xml"/>
  <Override PartName="/ppt/charts/chart2906.xml" ContentType="application/vnd.openxmlformats-officedocument.drawingml.chart+xml"/>
  <Override PartName="/ppt/charts/chart2907.xml" ContentType="application/vnd.openxmlformats-officedocument.drawingml.chart+xml"/>
  <Override PartName="/ppt/charts/chart2908.xml" ContentType="application/vnd.openxmlformats-officedocument.drawingml.chart+xml"/>
  <Override PartName="/ppt/charts/chart2909.xml" ContentType="application/vnd.openxmlformats-officedocument.drawingml.chart+xml"/>
  <Override PartName="/ppt/charts/chart291.xml" ContentType="application/vnd.openxmlformats-officedocument.drawingml.chart+xml"/>
  <Override PartName="/ppt/charts/chart2910.xml" ContentType="application/vnd.openxmlformats-officedocument.drawingml.chart+xml"/>
  <Override PartName="/ppt/charts/chart2911.xml" ContentType="application/vnd.openxmlformats-officedocument.drawingml.chart+xml"/>
  <Override PartName="/ppt/charts/chart2912.xml" ContentType="application/vnd.openxmlformats-officedocument.drawingml.chart+xml"/>
  <Override PartName="/ppt/charts/chart2913.xml" ContentType="application/vnd.openxmlformats-officedocument.drawingml.chart+xml"/>
  <Override PartName="/ppt/charts/chart2914.xml" ContentType="application/vnd.openxmlformats-officedocument.drawingml.chart+xml"/>
  <Override PartName="/ppt/charts/chart2915.xml" ContentType="application/vnd.openxmlformats-officedocument.drawingml.chart+xml"/>
  <Override PartName="/ppt/charts/chart2916.xml" ContentType="application/vnd.openxmlformats-officedocument.drawingml.chart+xml"/>
  <Override PartName="/ppt/charts/chart2917.xml" ContentType="application/vnd.openxmlformats-officedocument.drawingml.chart+xml"/>
  <Override PartName="/ppt/charts/chart2918.xml" ContentType="application/vnd.openxmlformats-officedocument.drawingml.chart+xml"/>
  <Override PartName="/ppt/charts/chart2919.xml" ContentType="application/vnd.openxmlformats-officedocument.drawingml.chart+xml"/>
  <Override PartName="/ppt/charts/chart292.xml" ContentType="application/vnd.openxmlformats-officedocument.drawingml.chart+xml"/>
  <Override PartName="/ppt/charts/chart2920.xml" ContentType="application/vnd.openxmlformats-officedocument.drawingml.chart+xml"/>
  <Override PartName="/ppt/charts/chart2921.xml" ContentType="application/vnd.openxmlformats-officedocument.drawingml.chart+xml"/>
  <Override PartName="/ppt/charts/chart2922.xml" ContentType="application/vnd.openxmlformats-officedocument.drawingml.chart+xml"/>
  <Override PartName="/ppt/charts/chart2923.xml" ContentType="application/vnd.openxmlformats-officedocument.drawingml.chart+xml"/>
  <Override PartName="/ppt/charts/chart2924.xml" ContentType="application/vnd.openxmlformats-officedocument.drawingml.chart+xml"/>
  <Override PartName="/ppt/charts/chart2925.xml" ContentType="application/vnd.openxmlformats-officedocument.drawingml.chart+xml"/>
  <Override PartName="/ppt/charts/chart2926.xml" ContentType="application/vnd.openxmlformats-officedocument.drawingml.chart+xml"/>
  <Override PartName="/ppt/charts/chart2927.xml" ContentType="application/vnd.openxmlformats-officedocument.drawingml.chart+xml"/>
  <Override PartName="/ppt/charts/chart2928.xml" ContentType="application/vnd.openxmlformats-officedocument.drawingml.chart+xml"/>
  <Override PartName="/ppt/charts/chart2929.xml" ContentType="application/vnd.openxmlformats-officedocument.drawingml.chart+xml"/>
  <Override PartName="/ppt/charts/chart293.xml" ContentType="application/vnd.openxmlformats-officedocument.drawingml.chart+xml"/>
  <Override PartName="/ppt/charts/chart2930.xml" ContentType="application/vnd.openxmlformats-officedocument.drawingml.chart+xml"/>
  <Override PartName="/ppt/charts/chart2931.xml" ContentType="application/vnd.openxmlformats-officedocument.drawingml.chart+xml"/>
  <Override PartName="/ppt/charts/chart2932.xml" ContentType="application/vnd.openxmlformats-officedocument.drawingml.chart+xml"/>
  <Override PartName="/ppt/charts/chart2933.xml" ContentType="application/vnd.openxmlformats-officedocument.drawingml.chart+xml"/>
  <Override PartName="/ppt/charts/chart2934.xml" ContentType="application/vnd.openxmlformats-officedocument.drawingml.chart+xml"/>
  <Override PartName="/ppt/charts/chart2935.xml" ContentType="application/vnd.openxmlformats-officedocument.drawingml.chart+xml"/>
  <Override PartName="/ppt/charts/chart2936.xml" ContentType="application/vnd.openxmlformats-officedocument.drawingml.chart+xml"/>
  <Override PartName="/ppt/charts/chart2937.xml" ContentType="application/vnd.openxmlformats-officedocument.drawingml.chart+xml"/>
  <Override PartName="/ppt/charts/chart2938.xml" ContentType="application/vnd.openxmlformats-officedocument.drawingml.chart+xml"/>
  <Override PartName="/ppt/charts/chart2939.xml" ContentType="application/vnd.openxmlformats-officedocument.drawingml.chart+xml"/>
  <Override PartName="/ppt/charts/chart294.xml" ContentType="application/vnd.openxmlformats-officedocument.drawingml.chart+xml"/>
  <Override PartName="/ppt/charts/chart2940.xml" ContentType="application/vnd.openxmlformats-officedocument.drawingml.chart+xml"/>
  <Override PartName="/ppt/charts/chart2941.xml" ContentType="application/vnd.openxmlformats-officedocument.drawingml.chart+xml"/>
  <Override PartName="/ppt/charts/chart2942.xml" ContentType="application/vnd.openxmlformats-officedocument.drawingml.chart+xml"/>
  <Override PartName="/ppt/charts/chart2943.xml" ContentType="application/vnd.openxmlformats-officedocument.drawingml.chart+xml"/>
  <Override PartName="/ppt/charts/chart2944.xml" ContentType="application/vnd.openxmlformats-officedocument.drawingml.chart+xml"/>
  <Override PartName="/ppt/charts/chart2945.xml" ContentType="application/vnd.openxmlformats-officedocument.drawingml.chart+xml"/>
  <Override PartName="/ppt/charts/chart2946.xml" ContentType="application/vnd.openxmlformats-officedocument.drawingml.chart+xml"/>
  <Override PartName="/ppt/charts/chart2947.xml" ContentType="application/vnd.openxmlformats-officedocument.drawingml.chart+xml"/>
  <Override PartName="/ppt/charts/chart2948.xml" ContentType="application/vnd.openxmlformats-officedocument.drawingml.chart+xml"/>
  <Override PartName="/ppt/charts/chart2949.xml" ContentType="application/vnd.openxmlformats-officedocument.drawingml.chart+xml"/>
  <Override PartName="/ppt/charts/chart295.xml" ContentType="application/vnd.openxmlformats-officedocument.drawingml.chart+xml"/>
  <Override PartName="/ppt/charts/chart2950.xml" ContentType="application/vnd.openxmlformats-officedocument.drawingml.chart+xml"/>
  <Override PartName="/ppt/charts/chart2951.xml" ContentType="application/vnd.openxmlformats-officedocument.drawingml.chart+xml"/>
  <Override PartName="/ppt/charts/chart2952.xml" ContentType="application/vnd.openxmlformats-officedocument.drawingml.chart+xml"/>
  <Override PartName="/ppt/charts/chart2953.xml" ContentType="application/vnd.openxmlformats-officedocument.drawingml.chart+xml"/>
  <Override PartName="/ppt/charts/chart2954.xml" ContentType="application/vnd.openxmlformats-officedocument.drawingml.chart+xml"/>
  <Override PartName="/ppt/charts/chart2955.xml" ContentType="application/vnd.openxmlformats-officedocument.drawingml.chart+xml"/>
  <Override PartName="/ppt/charts/chart2956.xml" ContentType="application/vnd.openxmlformats-officedocument.drawingml.chart+xml"/>
  <Override PartName="/ppt/charts/chart2957.xml" ContentType="application/vnd.openxmlformats-officedocument.drawingml.chart+xml"/>
  <Override PartName="/ppt/charts/chart2958.xml" ContentType="application/vnd.openxmlformats-officedocument.drawingml.chart+xml"/>
  <Override PartName="/ppt/charts/chart2959.xml" ContentType="application/vnd.openxmlformats-officedocument.drawingml.chart+xml"/>
  <Override PartName="/ppt/charts/chart296.xml" ContentType="application/vnd.openxmlformats-officedocument.drawingml.chart+xml"/>
  <Override PartName="/ppt/charts/chart2960.xml" ContentType="application/vnd.openxmlformats-officedocument.drawingml.chart+xml"/>
  <Override PartName="/ppt/charts/chart2961.xml" ContentType="application/vnd.openxmlformats-officedocument.drawingml.chart+xml"/>
  <Override PartName="/ppt/charts/chart2962.xml" ContentType="application/vnd.openxmlformats-officedocument.drawingml.chart+xml"/>
  <Override PartName="/ppt/charts/chart2963.xml" ContentType="application/vnd.openxmlformats-officedocument.drawingml.chart+xml"/>
  <Override PartName="/ppt/charts/chart2964.xml" ContentType="application/vnd.openxmlformats-officedocument.drawingml.chart+xml"/>
  <Override PartName="/ppt/charts/chart2965.xml" ContentType="application/vnd.openxmlformats-officedocument.drawingml.chart+xml"/>
  <Override PartName="/ppt/charts/chart2966.xml" ContentType="application/vnd.openxmlformats-officedocument.drawingml.chart+xml"/>
  <Override PartName="/ppt/charts/chart2967.xml" ContentType="application/vnd.openxmlformats-officedocument.drawingml.chart+xml"/>
  <Override PartName="/ppt/charts/chart2968.xml" ContentType="application/vnd.openxmlformats-officedocument.drawingml.chart+xml"/>
  <Override PartName="/ppt/charts/chart2969.xml" ContentType="application/vnd.openxmlformats-officedocument.drawingml.chart+xml"/>
  <Override PartName="/ppt/charts/chart297.xml" ContentType="application/vnd.openxmlformats-officedocument.drawingml.chart+xml"/>
  <Override PartName="/ppt/charts/chart2970.xml" ContentType="application/vnd.openxmlformats-officedocument.drawingml.chart+xml"/>
  <Override PartName="/ppt/charts/chart2971.xml" ContentType="application/vnd.openxmlformats-officedocument.drawingml.chart+xml"/>
  <Override PartName="/ppt/charts/chart2972.xml" ContentType="application/vnd.openxmlformats-officedocument.drawingml.chart+xml"/>
  <Override PartName="/ppt/charts/chart2973.xml" ContentType="application/vnd.openxmlformats-officedocument.drawingml.chart+xml"/>
  <Override PartName="/ppt/charts/chart2974.xml" ContentType="application/vnd.openxmlformats-officedocument.drawingml.chart+xml"/>
  <Override PartName="/ppt/charts/chart2975.xml" ContentType="application/vnd.openxmlformats-officedocument.drawingml.chart+xml"/>
  <Override PartName="/ppt/charts/chart2976.xml" ContentType="application/vnd.openxmlformats-officedocument.drawingml.chart+xml"/>
  <Override PartName="/ppt/charts/chart2977.xml" ContentType="application/vnd.openxmlformats-officedocument.drawingml.chart+xml"/>
  <Override PartName="/ppt/charts/chart2978.xml" ContentType="application/vnd.openxmlformats-officedocument.drawingml.chart+xml"/>
  <Override PartName="/ppt/charts/chart2979.xml" ContentType="application/vnd.openxmlformats-officedocument.drawingml.chart+xml"/>
  <Override PartName="/ppt/charts/chart298.xml" ContentType="application/vnd.openxmlformats-officedocument.drawingml.chart+xml"/>
  <Override PartName="/ppt/charts/chart2980.xml" ContentType="application/vnd.openxmlformats-officedocument.drawingml.chart+xml"/>
  <Override PartName="/ppt/charts/chart2981.xml" ContentType="application/vnd.openxmlformats-officedocument.drawingml.chart+xml"/>
  <Override PartName="/ppt/charts/chart2982.xml" ContentType="application/vnd.openxmlformats-officedocument.drawingml.chart+xml"/>
  <Override PartName="/ppt/charts/chart2983.xml" ContentType="application/vnd.openxmlformats-officedocument.drawingml.chart+xml"/>
  <Override PartName="/ppt/charts/chart2984.xml" ContentType="application/vnd.openxmlformats-officedocument.drawingml.chart+xml"/>
  <Override PartName="/ppt/charts/chart2985.xml" ContentType="application/vnd.openxmlformats-officedocument.drawingml.chart+xml"/>
  <Override PartName="/ppt/charts/chart2986.xml" ContentType="application/vnd.openxmlformats-officedocument.drawingml.chart+xml"/>
  <Override PartName="/ppt/charts/chart2987.xml" ContentType="application/vnd.openxmlformats-officedocument.drawingml.chart+xml"/>
  <Override PartName="/ppt/charts/chart2988.xml" ContentType="application/vnd.openxmlformats-officedocument.drawingml.chart+xml"/>
  <Override PartName="/ppt/charts/chart2989.xml" ContentType="application/vnd.openxmlformats-officedocument.drawingml.chart+xml"/>
  <Override PartName="/ppt/charts/chart299.xml" ContentType="application/vnd.openxmlformats-officedocument.drawingml.chart+xml"/>
  <Override PartName="/ppt/charts/chart2990.xml" ContentType="application/vnd.openxmlformats-officedocument.drawingml.chart+xml"/>
  <Override PartName="/ppt/charts/chart2991.xml" ContentType="application/vnd.openxmlformats-officedocument.drawingml.chart+xml"/>
  <Override PartName="/ppt/charts/chart2992.xml" ContentType="application/vnd.openxmlformats-officedocument.drawingml.chart+xml"/>
  <Override PartName="/ppt/charts/chart2993.xml" ContentType="application/vnd.openxmlformats-officedocument.drawingml.chart+xml"/>
  <Override PartName="/ppt/charts/chart2994.xml" ContentType="application/vnd.openxmlformats-officedocument.drawingml.chart+xml"/>
  <Override PartName="/ppt/charts/chart2995.xml" ContentType="application/vnd.openxmlformats-officedocument.drawingml.chart+xml"/>
  <Override PartName="/ppt/charts/chart2996.xml" ContentType="application/vnd.openxmlformats-officedocument.drawingml.chart+xml"/>
  <Override PartName="/ppt/charts/chart2997.xml" ContentType="application/vnd.openxmlformats-officedocument.drawingml.chart+xml"/>
  <Override PartName="/ppt/charts/chart2998.xml" ContentType="application/vnd.openxmlformats-officedocument.drawingml.chart+xml"/>
  <Override PartName="/ppt/charts/chart29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00.xml" ContentType="application/vnd.openxmlformats-officedocument.drawingml.chart+xml"/>
  <Override PartName="/ppt/charts/chart3001.xml" ContentType="application/vnd.openxmlformats-officedocument.drawingml.chart+xml"/>
  <Override PartName="/ppt/charts/chart3002.xml" ContentType="application/vnd.openxmlformats-officedocument.drawingml.chart+xml"/>
  <Override PartName="/ppt/charts/chart3003.xml" ContentType="application/vnd.openxmlformats-officedocument.drawingml.chart+xml"/>
  <Override PartName="/ppt/charts/chart3004.xml" ContentType="application/vnd.openxmlformats-officedocument.drawingml.chart+xml"/>
  <Override PartName="/ppt/charts/chart3005.xml" ContentType="application/vnd.openxmlformats-officedocument.drawingml.chart+xml"/>
  <Override PartName="/ppt/charts/chart3006.xml" ContentType="application/vnd.openxmlformats-officedocument.drawingml.chart+xml"/>
  <Override PartName="/ppt/charts/chart3007.xml" ContentType="application/vnd.openxmlformats-officedocument.drawingml.chart+xml"/>
  <Override PartName="/ppt/charts/chart3008.xml" ContentType="application/vnd.openxmlformats-officedocument.drawingml.chart+xml"/>
  <Override PartName="/ppt/charts/chart3009.xml" ContentType="application/vnd.openxmlformats-officedocument.drawingml.chart+xml"/>
  <Override PartName="/ppt/charts/chart301.xml" ContentType="application/vnd.openxmlformats-officedocument.drawingml.chart+xml"/>
  <Override PartName="/ppt/charts/chart3010.xml" ContentType="application/vnd.openxmlformats-officedocument.drawingml.chart+xml"/>
  <Override PartName="/ppt/charts/chart3011.xml" ContentType="application/vnd.openxmlformats-officedocument.drawingml.chart+xml"/>
  <Override PartName="/ppt/charts/chart3012.xml" ContentType="application/vnd.openxmlformats-officedocument.drawingml.chart+xml"/>
  <Override PartName="/ppt/charts/chart3013.xml" ContentType="application/vnd.openxmlformats-officedocument.drawingml.chart+xml"/>
  <Override PartName="/ppt/charts/chart3014.xml" ContentType="application/vnd.openxmlformats-officedocument.drawingml.chart+xml"/>
  <Override PartName="/ppt/charts/chart3015.xml" ContentType="application/vnd.openxmlformats-officedocument.drawingml.chart+xml"/>
  <Override PartName="/ppt/charts/chart3016.xml" ContentType="application/vnd.openxmlformats-officedocument.drawingml.chart+xml"/>
  <Override PartName="/ppt/charts/chart3017.xml" ContentType="application/vnd.openxmlformats-officedocument.drawingml.chart+xml"/>
  <Override PartName="/ppt/charts/chart3018.xml" ContentType="application/vnd.openxmlformats-officedocument.drawingml.chart+xml"/>
  <Override PartName="/ppt/charts/chart3019.xml" ContentType="application/vnd.openxmlformats-officedocument.drawingml.chart+xml"/>
  <Override PartName="/ppt/charts/chart302.xml" ContentType="application/vnd.openxmlformats-officedocument.drawingml.chart+xml"/>
  <Override PartName="/ppt/charts/chart3020.xml" ContentType="application/vnd.openxmlformats-officedocument.drawingml.chart+xml"/>
  <Override PartName="/ppt/charts/chart3021.xml" ContentType="application/vnd.openxmlformats-officedocument.drawingml.chart+xml"/>
  <Override PartName="/ppt/charts/chart3022.xml" ContentType="application/vnd.openxmlformats-officedocument.drawingml.chart+xml"/>
  <Override PartName="/ppt/charts/chart3023.xml" ContentType="application/vnd.openxmlformats-officedocument.drawingml.chart+xml"/>
  <Override PartName="/ppt/charts/chart3024.xml" ContentType="application/vnd.openxmlformats-officedocument.drawingml.chart+xml"/>
  <Override PartName="/ppt/charts/chart3025.xml" ContentType="application/vnd.openxmlformats-officedocument.drawingml.chart+xml"/>
  <Override PartName="/ppt/charts/chart3026.xml" ContentType="application/vnd.openxmlformats-officedocument.drawingml.chart+xml"/>
  <Override PartName="/ppt/charts/chart3027.xml" ContentType="application/vnd.openxmlformats-officedocument.drawingml.chart+xml"/>
  <Override PartName="/ppt/charts/chart3028.xml" ContentType="application/vnd.openxmlformats-officedocument.drawingml.chart+xml"/>
  <Override PartName="/ppt/charts/chart3029.xml" ContentType="application/vnd.openxmlformats-officedocument.drawingml.chart+xml"/>
  <Override PartName="/ppt/charts/chart303.xml" ContentType="application/vnd.openxmlformats-officedocument.drawingml.chart+xml"/>
  <Override PartName="/ppt/charts/chart3030.xml" ContentType="application/vnd.openxmlformats-officedocument.drawingml.chart+xml"/>
  <Override PartName="/ppt/charts/chart3031.xml" ContentType="application/vnd.openxmlformats-officedocument.drawingml.chart+xml"/>
  <Override PartName="/ppt/charts/chart3032.xml" ContentType="application/vnd.openxmlformats-officedocument.drawingml.chart+xml"/>
  <Override PartName="/ppt/charts/chart3033.xml" ContentType="application/vnd.openxmlformats-officedocument.drawingml.chart+xml"/>
  <Override PartName="/ppt/charts/chart3034.xml" ContentType="application/vnd.openxmlformats-officedocument.drawingml.chart+xml"/>
  <Override PartName="/ppt/charts/chart3035.xml" ContentType="application/vnd.openxmlformats-officedocument.drawingml.chart+xml"/>
  <Override PartName="/ppt/charts/chart3036.xml" ContentType="application/vnd.openxmlformats-officedocument.drawingml.chart+xml"/>
  <Override PartName="/ppt/charts/chart3037.xml" ContentType="application/vnd.openxmlformats-officedocument.drawingml.chart+xml"/>
  <Override PartName="/ppt/charts/chart3038.xml" ContentType="application/vnd.openxmlformats-officedocument.drawingml.chart+xml"/>
  <Override PartName="/ppt/charts/chart3039.xml" ContentType="application/vnd.openxmlformats-officedocument.drawingml.chart+xml"/>
  <Override PartName="/ppt/charts/chart304.xml" ContentType="application/vnd.openxmlformats-officedocument.drawingml.chart+xml"/>
  <Override PartName="/ppt/charts/chart3040.xml" ContentType="application/vnd.openxmlformats-officedocument.drawingml.chart+xml"/>
  <Override PartName="/ppt/charts/chart3041.xml" ContentType="application/vnd.openxmlformats-officedocument.drawingml.chart+xml"/>
  <Override PartName="/ppt/charts/chart3042.xml" ContentType="application/vnd.openxmlformats-officedocument.drawingml.chart+xml"/>
  <Override PartName="/ppt/charts/chart3043.xml" ContentType="application/vnd.openxmlformats-officedocument.drawingml.chart+xml"/>
  <Override PartName="/ppt/charts/chart3044.xml" ContentType="application/vnd.openxmlformats-officedocument.drawingml.chart+xml"/>
  <Override PartName="/ppt/charts/chart3045.xml" ContentType="application/vnd.openxmlformats-officedocument.drawingml.chart+xml"/>
  <Override PartName="/ppt/charts/chart3046.xml" ContentType="application/vnd.openxmlformats-officedocument.drawingml.chart+xml"/>
  <Override PartName="/ppt/charts/chart3047.xml" ContentType="application/vnd.openxmlformats-officedocument.drawingml.chart+xml"/>
  <Override PartName="/ppt/charts/chart3048.xml" ContentType="application/vnd.openxmlformats-officedocument.drawingml.chart+xml"/>
  <Override PartName="/ppt/charts/chart3049.xml" ContentType="application/vnd.openxmlformats-officedocument.drawingml.chart+xml"/>
  <Override PartName="/ppt/charts/chart305.xml" ContentType="application/vnd.openxmlformats-officedocument.drawingml.chart+xml"/>
  <Override PartName="/ppt/charts/chart3050.xml" ContentType="application/vnd.openxmlformats-officedocument.drawingml.chart+xml"/>
  <Override PartName="/ppt/charts/chart3051.xml" ContentType="application/vnd.openxmlformats-officedocument.drawingml.chart+xml"/>
  <Override PartName="/ppt/charts/chart3052.xml" ContentType="application/vnd.openxmlformats-officedocument.drawingml.chart+xml"/>
  <Override PartName="/ppt/charts/chart3053.xml" ContentType="application/vnd.openxmlformats-officedocument.drawingml.chart+xml"/>
  <Override PartName="/ppt/charts/chart3054.xml" ContentType="application/vnd.openxmlformats-officedocument.drawingml.chart+xml"/>
  <Override PartName="/ppt/charts/chart3055.xml" ContentType="application/vnd.openxmlformats-officedocument.drawingml.chart+xml"/>
  <Override PartName="/ppt/charts/chart3056.xml" ContentType="application/vnd.openxmlformats-officedocument.drawingml.chart+xml"/>
  <Override PartName="/ppt/charts/chart3057.xml" ContentType="application/vnd.openxmlformats-officedocument.drawingml.chart+xml"/>
  <Override PartName="/ppt/charts/chart3058.xml" ContentType="application/vnd.openxmlformats-officedocument.drawingml.chart+xml"/>
  <Override PartName="/ppt/charts/chart3059.xml" ContentType="application/vnd.openxmlformats-officedocument.drawingml.chart+xml"/>
  <Override PartName="/ppt/charts/chart306.xml" ContentType="application/vnd.openxmlformats-officedocument.drawingml.chart+xml"/>
  <Override PartName="/ppt/charts/chart3060.xml" ContentType="application/vnd.openxmlformats-officedocument.drawingml.chart+xml"/>
  <Override PartName="/ppt/charts/chart3061.xml" ContentType="application/vnd.openxmlformats-officedocument.drawingml.chart+xml"/>
  <Override PartName="/ppt/charts/chart3062.xml" ContentType="application/vnd.openxmlformats-officedocument.drawingml.chart+xml"/>
  <Override PartName="/ppt/charts/chart3063.xml" ContentType="application/vnd.openxmlformats-officedocument.drawingml.chart+xml"/>
  <Override PartName="/ppt/charts/chart3064.xml" ContentType="application/vnd.openxmlformats-officedocument.drawingml.chart+xml"/>
  <Override PartName="/ppt/charts/chart3065.xml" ContentType="application/vnd.openxmlformats-officedocument.drawingml.chart+xml"/>
  <Override PartName="/ppt/charts/chart3066.xml" ContentType="application/vnd.openxmlformats-officedocument.drawingml.chart+xml"/>
  <Override PartName="/ppt/charts/chart3067.xml" ContentType="application/vnd.openxmlformats-officedocument.drawingml.chart+xml"/>
  <Override PartName="/ppt/charts/chart3068.xml" ContentType="application/vnd.openxmlformats-officedocument.drawingml.chart+xml"/>
  <Override PartName="/ppt/charts/chart3069.xml" ContentType="application/vnd.openxmlformats-officedocument.drawingml.chart+xml"/>
  <Override PartName="/ppt/charts/chart307.xml" ContentType="application/vnd.openxmlformats-officedocument.drawingml.chart+xml"/>
  <Override PartName="/ppt/charts/chart3070.xml" ContentType="application/vnd.openxmlformats-officedocument.drawingml.chart+xml"/>
  <Override PartName="/ppt/charts/chart3071.xml" ContentType="application/vnd.openxmlformats-officedocument.drawingml.chart+xml"/>
  <Override PartName="/ppt/charts/chart3072.xml" ContentType="application/vnd.openxmlformats-officedocument.drawingml.chart+xml"/>
  <Override PartName="/ppt/charts/chart3073.xml" ContentType="application/vnd.openxmlformats-officedocument.drawingml.chart+xml"/>
  <Override PartName="/ppt/charts/chart3074.xml" ContentType="application/vnd.openxmlformats-officedocument.drawingml.chart+xml"/>
  <Override PartName="/ppt/charts/chart3075.xml" ContentType="application/vnd.openxmlformats-officedocument.drawingml.chart+xml"/>
  <Override PartName="/ppt/charts/chart3076.xml" ContentType="application/vnd.openxmlformats-officedocument.drawingml.chart+xml"/>
  <Override PartName="/ppt/charts/chart3077.xml" ContentType="application/vnd.openxmlformats-officedocument.drawingml.chart+xml"/>
  <Override PartName="/ppt/charts/chart3078.xml" ContentType="application/vnd.openxmlformats-officedocument.drawingml.chart+xml"/>
  <Override PartName="/ppt/charts/chart3079.xml" ContentType="application/vnd.openxmlformats-officedocument.drawingml.chart+xml"/>
  <Override PartName="/ppt/charts/chart308.xml" ContentType="application/vnd.openxmlformats-officedocument.drawingml.chart+xml"/>
  <Override PartName="/ppt/charts/chart3080.xml" ContentType="application/vnd.openxmlformats-officedocument.drawingml.chart+xml"/>
  <Override PartName="/ppt/charts/chart3081.xml" ContentType="application/vnd.openxmlformats-officedocument.drawingml.chart+xml"/>
  <Override PartName="/ppt/charts/chart3082.xml" ContentType="application/vnd.openxmlformats-officedocument.drawingml.chart+xml"/>
  <Override PartName="/ppt/charts/chart3083.xml" ContentType="application/vnd.openxmlformats-officedocument.drawingml.chart+xml"/>
  <Override PartName="/ppt/charts/chart3084.xml" ContentType="application/vnd.openxmlformats-officedocument.drawingml.chart+xml"/>
  <Override PartName="/ppt/charts/chart3085.xml" ContentType="application/vnd.openxmlformats-officedocument.drawingml.chart+xml"/>
  <Override PartName="/ppt/charts/chart3086.xml" ContentType="application/vnd.openxmlformats-officedocument.drawingml.chart+xml"/>
  <Override PartName="/ppt/charts/chart3087.xml" ContentType="application/vnd.openxmlformats-officedocument.drawingml.chart+xml"/>
  <Override PartName="/ppt/charts/chart3088.xml" ContentType="application/vnd.openxmlformats-officedocument.drawingml.chart+xml"/>
  <Override PartName="/ppt/charts/chart3089.xml" ContentType="application/vnd.openxmlformats-officedocument.drawingml.chart+xml"/>
  <Override PartName="/ppt/charts/chart309.xml" ContentType="application/vnd.openxmlformats-officedocument.drawingml.chart+xml"/>
  <Override PartName="/ppt/charts/chart3090.xml" ContentType="application/vnd.openxmlformats-officedocument.drawingml.chart+xml"/>
  <Override PartName="/ppt/charts/chart3091.xml" ContentType="application/vnd.openxmlformats-officedocument.drawingml.chart+xml"/>
  <Override PartName="/ppt/charts/chart3092.xml" ContentType="application/vnd.openxmlformats-officedocument.drawingml.chart+xml"/>
  <Override PartName="/ppt/charts/chart3093.xml" ContentType="application/vnd.openxmlformats-officedocument.drawingml.chart+xml"/>
  <Override PartName="/ppt/charts/chart3094.xml" ContentType="application/vnd.openxmlformats-officedocument.drawingml.chart+xml"/>
  <Override PartName="/ppt/charts/chart3095.xml" ContentType="application/vnd.openxmlformats-officedocument.drawingml.chart+xml"/>
  <Override PartName="/ppt/charts/chart3096.xml" ContentType="application/vnd.openxmlformats-officedocument.drawingml.chart+xml"/>
  <Override PartName="/ppt/charts/chart3097.xml" ContentType="application/vnd.openxmlformats-officedocument.drawingml.chart+xml"/>
  <Override PartName="/ppt/charts/chart3098.xml" ContentType="application/vnd.openxmlformats-officedocument.drawingml.chart+xml"/>
  <Override PartName="/ppt/charts/chart309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00.xml" ContentType="application/vnd.openxmlformats-officedocument.drawingml.chart+xml"/>
  <Override PartName="/ppt/charts/chart3101.xml" ContentType="application/vnd.openxmlformats-officedocument.drawingml.chart+xml"/>
  <Override PartName="/ppt/charts/chart3102.xml" ContentType="application/vnd.openxmlformats-officedocument.drawingml.chart+xml"/>
  <Override PartName="/ppt/charts/chart3103.xml" ContentType="application/vnd.openxmlformats-officedocument.drawingml.chart+xml"/>
  <Override PartName="/ppt/charts/chart3104.xml" ContentType="application/vnd.openxmlformats-officedocument.drawingml.chart+xml"/>
  <Override PartName="/ppt/charts/chart3105.xml" ContentType="application/vnd.openxmlformats-officedocument.drawingml.chart+xml"/>
  <Override PartName="/ppt/charts/chart3106.xml" ContentType="application/vnd.openxmlformats-officedocument.drawingml.chart+xml"/>
  <Override PartName="/ppt/charts/chart3107.xml" ContentType="application/vnd.openxmlformats-officedocument.drawingml.chart+xml"/>
  <Override PartName="/ppt/charts/chart3108.xml" ContentType="application/vnd.openxmlformats-officedocument.drawingml.chart+xml"/>
  <Override PartName="/ppt/charts/chart3109.xml" ContentType="application/vnd.openxmlformats-officedocument.drawingml.chart+xml"/>
  <Override PartName="/ppt/charts/chart311.xml" ContentType="application/vnd.openxmlformats-officedocument.drawingml.chart+xml"/>
  <Override PartName="/ppt/charts/chart3110.xml" ContentType="application/vnd.openxmlformats-officedocument.drawingml.chart+xml"/>
  <Override PartName="/ppt/charts/chart3111.xml" ContentType="application/vnd.openxmlformats-officedocument.drawingml.chart+xml"/>
  <Override PartName="/ppt/charts/chart3112.xml" ContentType="application/vnd.openxmlformats-officedocument.drawingml.chart+xml"/>
  <Override PartName="/ppt/charts/chart3113.xml" ContentType="application/vnd.openxmlformats-officedocument.drawingml.chart+xml"/>
  <Override PartName="/ppt/charts/chart3114.xml" ContentType="application/vnd.openxmlformats-officedocument.drawingml.chart+xml"/>
  <Override PartName="/ppt/charts/chart3115.xml" ContentType="application/vnd.openxmlformats-officedocument.drawingml.chart+xml"/>
  <Override PartName="/ppt/charts/chart3116.xml" ContentType="application/vnd.openxmlformats-officedocument.drawingml.chart+xml"/>
  <Override PartName="/ppt/charts/chart3117.xml" ContentType="application/vnd.openxmlformats-officedocument.drawingml.chart+xml"/>
  <Override PartName="/ppt/charts/chart3118.xml" ContentType="application/vnd.openxmlformats-officedocument.drawingml.chart+xml"/>
  <Override PartName="/ppt/charts/chart3119.xml" ContentType="application/vnd.openxmlformats-officedocument.drawingml.chart+xml"/>
  <Override PartName="/ppt/charts/chart312.xml" ContentType="application/vnd.openxmlformats-officedocument.drawingml.chart+xml"/>
  <Override PartName="/ppt/charts/chart3120.xml" ContentType="application/vnd.openxmlformats-officedocument.drawingml.chart+xml"/>
  <Override PartName="/ppt/charts/chart3121.xml" ContentType="application/vnd.openxmlformats-officedocument.drawingml.chart+xml"/>
  <Override PartName="/ppt/charts/chart3122.xml" ContentType="application/vnd.openxmlformats-officedocument.drawingml.chart+xml"/>
  <Override PartName="/ppt/charts/chart3123.xml" ContentType="application/vnd.openxmlformats-officedocument.drawingml.chart+xml"/>
  <Override PartName="/ppt/charts/chart3124.xml" ContentType="application/vnd.openxmlformats-officedocument.drawingml.chart+xml"/>
  <Override PartName="/ppt/charts/chart3125.xml" ContentType="application/vnd.openxmlformats-officedocument.drawingml.chart+xml"/>
  <Override PartName="/ppt/charts/chart3126.xml" ContentType="application/vnd.openxmlformats-officedocument.drawingml.chart+xml"/>
  <Override PartName="/ppt/charts/chart3127.xml" ContentType="application/vnd.openxmlformats-officedocument.drawingml.chart+xml"/>
  <Override PartName="/ppt/charts/chart3128.xml" ContentType="application/vnd.openxmlformats-officedocument.drawingml.chart+xml"/>
  <Override PartName="/ppt/charts/chart3129.xml" ContentType="application/vnd.openxmlformats-officedocument.drawingml.chart+xml"/>
  <Override PartName="/ppt/charts/chart313.xml" ContentType="application/vnd.openxmlformats-officedocument.drawingml.chart+xml"/>
  <Override PartName="/ppt/charts/chart3130.xml" ContentType="application/vnd.openxmlformats-officedocument.drawingml.chart+xml"/>
  <Override PartName="/ppt/charts/chart3131.xml" ContentType="application/vnd.openxmlformats-officedocument.drawingml.chart+xml"/>
  <Override PartName="/ppt/charts/chart3132.xml" ContentType="application/vnd.openxmlformats-officedocument.drawingml.chart+xml"/>
  <Override PartName="/ppt/charts/chart3133.xml" ContentType="application/vnd.openxmlformats-officedocument.drawingml.chart+xml"/>
  <Override PartName="/ppt/charts/chart3134.xml" ContentType="application/vnd.openxmlformats-officedocument.drawingml.chart+xml"/>
  <Override PartName="/ppt/charts/chart3135.xml" ContentType="application/vnd.openxmlformats-officedocument.drawingml.chart+xml"/>
  <Override PartName="/ppt/charts/chart3136.xml" ContentType="application/vnd.openxmlformats-officedocument.drawingml.chart+xml"/>
  <Override PartName="/ppt/charts/chart3137.xml" ContentType="application/vnd.openxmlformats-officedocument.drawingml.chart+xml"/>
  <Override PartName="/ppt/charts/chart3138.xml" ContentType="application/vnd.openxmlformats-officedocument.drawingml.chart+xml"/>
  <Override PartName="/ppt/charts/chart3139.xml" ContentType="application/vnd.openxmlformats-officedocument.drawingml.chart+xml"/>
  <Override PartName="/ppt/charts/chart314.xml" ContentType="application/vnd.openxmlformats-officedocument.drawingml.chart+xml"/>
  <Override PartName="/ppt/charts/chart3140.xml" ContentType="application/vnd.openxmlformats-officedocument.drawingml.chart+xml"/>
  <Override PartName="/ppt/charts/chart3141.xml" ContentType="application/vnd.openxmlformats-officedocument.drawingml.chart+xml"/>
  <Override PartName="/ppt/charts/chart3142.xml" ContentType="application/vnd.openxmlformats-officedocument.drawingml.chart+xml"/>
  <Override PartName="/ppt/charts/chart3143.xml" ContentType="application/vnd.openxmlformats-officedocument.drawingml.chart+xml"/>
  <Override PartName="/ppt/charts/chart3144.xml" ContentType="application/vnd.openxmlformats-officedocument.drawingml.chart+xml"/>
  <Override PartName="/ppt/charts/chart3145.xml" ContentType="application/vnd.openxmlformats-officedocument.drawingml.chart+xml"/>
  <Override PartName="/ppt/charts/chart3146.xml" ContentType="application/vnd.openxmlformats-officedocument.drawingml.chart+xml"/>
  <Override PartName="/ppt/charts/chart3147.xml" ContentType="application/vnd.openxmlformats-officedocument.drawingml.chart+xml"/>
  <Override PartName="/ppt/charts/chart3148.xml" ContentType="application/vnd.openxmlformats-officedocument.drawingml.chart+xml"/>
  <Override PartName="/ppt/charts/chart3149.xml" ContentType="application/vnd.openxmlformats-officedocument.drawingml.chart+xml"/>
  <Override PartName="/ppt/charts/chart315.xml" ContentType="application/vnd.openxmlformats-officedocument.drawingml.chart+xml"/>
  <Override PartName="/ppt/charts/chart3150.xml" ContentType="application/vnd.openxmlformats-officedocument.drawingml.chart+xml"/>
  <Override PartName="/ppt/charts/chart3151.xml" ContentType="application/vnd.openxmlformats-officedocument.drawingml.chart+xml"/>
  <Override PartName="/ppt/charts/chart3152.xml" ContentType="application/vnd.openxmlformats-officedocument.drawingml.chart+xml"/>
  <Override PartName="/ppt/charts/chart3153.xml" ContentType="application/vnd.openxmlformats-officedocument.drawingml.chart+xml"/>
  <Override PartName="/ppt/charts/chart3154.xml" ContentType="application/vnd.openxmlformats-officedocument.drawingml.chart+xml"/>
  <Override PartName="/ppt/charts/chart3155.xml" ContentType="application/vnd.openxmlformats-officedocument.drawingml.chart+xml"/>
  <Override PartName="/ppt/charts/chart3156.xml" ContentType="application/vnd.openxmlformats-officedocument.drawingml.chart+xml"/>
  <Override PartName="/ppt/charts/chart3157.xml" ContentType="application/vnd.openxmlformats-officedocument.drawingml.chart+xml"/>
  <Override PartName="/ppt/charts/chart3158.xml" ContentType="application/vnd.openxmlformats-officedocument.drawingml.chart+xml"/>
  <Override PartName="/ppt/charts/chart3159.xml" ContentType="application/vnd.openxmlformats-officedocument.drawingml.chart+xml"/>
  <Override PartName="/ppt/charts/chart316.xml" ContentType="application/vnd.openxmlformats-officedocument.drawingml.chart+xml"/>
  <Override PartName="/ppt/charts/chart3160.xml" ContentType="application/vnd.openxmlformats-officedocument.drawingml.chart+xml"/>
  <Override PartName="/ppt/charts/chart3161.xml" ContentType="application/vnd.openxmlformats-officedocument.drawingml.chart+xml"/>
  <Override PartName="/ppt/charts/chart3162.xml" ContentType="application/vnd.openxmlformats-officedocument.drawingml.chart+xml"/>
  <Override PartName="/ppt/charts/chart3163.xml" ContentType="application/vnd.openxmlformats-officedocument.drawingml.chart+xml"/>
  <Override PartName="/ppt/charts/chart3164.xml" ContentType="application/vnd.openxmlformats-officedocument.drawingml.chart+xml"/>
  <Override PartName="/ppt/charts/chart3165.xml" ContentType="application/vnd.openxmlformats-officedocument.drawingml.chart+xml"/>
  <Override PartName="/ppt/charts/chart3166.xml" ContentType="application/vnd.openxmlformats-officedocument.drawingml.chart+xml"/>
  <Override PartName="/ppt/charts/chart3167.xml" ContentType="application/vnd.openxmlformats-officedocument.drawingml.chart+xml"/>
  <Override PartName="/ppt/charts/chart3168.xml" ContentType="application/vnd.openxmlformats-officedocument.drawingml.chart+xml"/>
  <Override PartName="/ppt/charts/chart3169.xml" ContentType="application/vnd.openxmlformats-officedocument.drawingml.chart+xml"/>
  <Override PartName="/ppt/charts/chart317.xml" ContentType="application/vnd.openxmlformats-officedocument.drawingml.chart+xml"/>
  <Override PartName="/ppt/charts/chart3170.xml" ContentType="application/vnd.openxmlformats-officedocument.drawingml.chart+xml"/>
  <Override PartName="/ppt/charts/chart3171.xml" ContentType="application/vnd.openxmlformats-officedocument.drawingml.chart+xml"/>
  <Override PartName="/ppt/charts/chart3172.xml" ContentType="application/vnd.openxmlformats-officedocument.drawingml.chart+xml"/>
  <Override PartName="/ppt/charts/chart3173.xml" ContentType="application/vnd.openxmlformats-officedocument.drawingml.chart+xml"/>
  <Override PartName="/ppt/charts/chart3174.xml" ContentType="application/vnd.openxmlformats-officedocument.drawingml.chart+xml"/>
  <Override PartName="/ppt/charts/chart3175.xml" ContentType="application/vnd.openxmlformats-officedocument.drawingml.chart+xml"/>
  <Override PartName="/ppt/charts/chart3176.xml" ContentType="application/vnd.openxmlformats-officedocument.drawingml.chart+xml"/>
  <Override PartName="/ppt/charts/chart3177.xml" ContentType="application/vnd.openxmlformats-officedocument.drawingml.chart+xml"/>
  <Override PartName="/ppt/charts/chart3178.xml" ContentType="application/vnd.openxmlformats-officedocument.drawingml.chart+xml"/>
  <Override PartName="/ppt/charts/chart3179.xml" ContentType="application/vnd.openxmlformats-officedocument.drawingml.chart+xml"/>
  <Override PartName="/ppt/charts/chart318.xml" ContentType="application/vnd.openxmlformats-officedocument.drawingml.chart+xml"/>
  <Override PartName="/ppt/charts/chart3180.xml" ContentType="application/vnd.openxmlformats-officedocument.drawingml.chart+xml"/>
  <Override PartName="/ppt/charts/chart3181.xml" ContentType="application/vnd.openxmlformats-officedocument.drawingml.chart+xml"/>
  <Override PartName="/ppt/charts/chart3182.xml" ContentType="application/vnd.openxmlformats-officedocument.drawingml.chart+xml"/>
  <Override PartName="/ppt/charts/chart3183.xml" ContentType="application/vnd.openxmlformats-officedocument.drawingml.chart+xml"/>
  <Override PartName="/ppt/charts/chart3184.xml" ContentType="application/vnd.openxmlformats-officedocument.drawingml.chart+xml"/>
  <Override PartName="/ppt/charts/chart3185.xml" ContentType="application/vnd.openxmlformats-officedocument.drawingml.chart+xml"/>
  <Override PartName="/ppt/charts/chart3186.xml" ContentType="application/vnd.openxmlformats-officedocument.drawingml.chart+xml"/>
  <Override PartName="/ppt/charts/chart3187.xml" ContentType="application/vnd.openxmlformats-officedocument.drawingml.chart+xml"/>
  <Override PartName="/ppt/charts/chart3188.xml" ContentType="application/vnd.openxmlformats-officedocument.drawingml.chart+xml"/>
  <Override PartName="/ppt/charts/chart3189.xml" ContentType="application/vnd.openxmlformats-officedocument.drawingml.chart+xml"/>
  <Override PartName="/ppt/charts/chart319.xml" ContentType="application/vnd.openxmlformats-officedocument.drawingml.chart+xml"/>
  <Override PartName="/ppt/charts/chart3190.xml" ContentType="application/vnd.openxmlformats-officedocument.drawingml.chart+xml"/>
  <Override PartName="/ppt/charts/chart3191.xml" ContentType="application/vnd.openxmlformats-officedocument.drawingml.chart+xml"/>
  <Override PartName="/ppt/charts/chart3192.xml" ContentType="application/vnd.openxmlformats-officedocument.drawingml.chart+xml"/>
  <Override PartName="/ppt/charts/chart3193.xml" ContentType="application/vnd.openxmlformats-officedocument.drawingml.chart+xml"/>
  <Override PartName="/ppt/charts/chart3194.xml" ContentType="application/vnd.openxmlformats-officedocument.drawingml.chart+xml"/>
  <Override PartName="/ppt/charts/chart3195.xml" ContentType="application/vnd.openxmlformats-officedocument.drawingml.chart+xml"/>
  <Override PartName="/ppt/charts/chart3196.xml" ContentType="application/vnd.openxmlformats-officedocument.drawingml.chart+xml"/>
  <Override PartName="/ppt/charts/chart3197.xml" ContentType="application/vnd.openxmlformats-officedocument.drawingml.chart+xml"/>
  <Override PartName="/ppt/charts/chart3198.xml" ContentType="application/vnd.openxmlformats-officedocument.drawingml.chart+xml"/>
  <Override PartName="/ppt/charts/chart319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00.xml" ContentType="application/vnd.openxmlformats-officedocument.drawingml.chart+xml"/>
  <Override PartName="/ppt/charts/chart3201.xml" ContentType="application/vnd.openxmlformats-officedocument.drawingml.chart+xml"/>
  <Override PartName="/ppt/charts/chart3202.xml" ContentType="application/vnd.openxmlformats-officedocument.drawingml.chart+xml"/>
  <Override PartName="/ppt/charts/chart3203.xml" ContentType="application/vnd.openxmlformats-officedocument.drawingml.chart+xml"/>
  <Override PartName="/ppt/charts/chart3204.xml" ContentType="application/vnd.openxmlformats-officedocument.drawingml.chart+xml"/>
  <Override PartName="/ppt/charts/chart3205.xml" ContentType="application/vnd.openxmlformats-officedocument.drawingml.chart+xml"/>
  <Override PartName="/ppt/charts/chart3206.xml" ContentType="application/vnd.openxmlformats-officedocument.drawingml.chart+xml"/>
  <Override PartName="/ppt/charts/chart3207.xml" ContentType="application/vnd.openxmlformats-officedocument.drawingml.chart+xml"/>
  <Override PartName="/ppt/charts/chart3208.xml" ContentType="application/vnd.openxmlformats-officedocument.drawingml.chart+xml"/>
  <Override PartName="/ppt/charts/chart3209.xml" ContentType="application/vnd.openxmlformats-officedocument.drawingml.chart+xml"/>
  <Override PartName="/ppt/charts/chart321.xml" ContentType="application/vnd.openxmlformats-officedocument.drawingml.chart+xml"/>
  <Override PartName="/ppt/charts/chart3210.xml" ContentType="application/vnd.openxmlformats-officedocument.drawingml.chart+xml"/>
  <Override PartName="/ppt/charts/chart3211.xml" ContentType="application/vnd.openxmlformats-officedocument.drawingml.chart+xml"/>
  <Override PartName="/ppt/charts/chart3212.xml" ContentType="application/vnd.openxmlformats-officedocument.drawingml.chart+xml"/>
  <Override PartName="/ppt/charts/chart3213.xml" ContentType="application/vnd.openxmlformats-officedocument.drawingml.chart+xml"/>
  <Override PartName="/ppt/charts/chart3214.xml" ContentType="application/vnd.openxmlformats-officedocument.drawingml.chart+xml"/>
  <Override PartName="/ppt/charts/chart3215.xml" ContentType="application/vnd.openxmlformats-officedocument.drawingml.chart+xml"/>
  <Override PartName="/ppt/charts/chart3216.xml" ContentType="application/vnd.openxmlformats-officedocument.drawingml.chart+xml"/>
  <Override PartName="/ppt/charts/chart3217.xml" ContentType="application/vnd.openxmlformats-officedocument.drawingml.chart+xml"/>
  <Override PartName="/ppt/charts/chart3218.xml" ContentType="application/vnd.openxmlformats-officedocument.drawingml.chart+xml"/>
  <Override PartName="/ppt/charts/chart3219.xml" ContentType="application/vnd.openxmlformats-officedocument.drawingml.chart+xml"/>
  <Override PartName="/ppt/charts/chart322.xml" ContentType="application/vnd.openxmlformats-officedocument.drawingml.chart+xml"/>
  <Override PartName="/ppt/charts/chart3220.xml" ContentType="application/vnd.openxmlformats-officedocument.drawingml.chart+xml"/>
  <Override PartName="/ppt/charts/chart3221.xml" ContentType="application/vnd.openxmlformats-officedocument.drawingml.chart+xml"/>
  <Override PartName="/ppt/charts/chart3222.xml" ContentType="application/vnd.openxmlformats-officedocument.drawingml.chart+xml"/>
  <Override PartName="/ppt/charts/chart3223.xml" ContentType="application/vnd.openxmlformats-officedocument.drawingml.chart+xml"/>
  <Override PartName="/ppt/charts/chart3224.xml" ContentType="application/vnd.openxmlformats-officedocument.drawingml.chart+xml"/>
  <Override PartName="/ppt/charts/chart3225.xml" ContentType="application/vnd.openxmlformats-officedocument.drawingml.chart+xml"/>
  <Override PartName="/ppt/charts/chart3226.xml" ContentType="application/vnd.openxmlformats-officedocument.drawingml.chart+xml"/>
  <Override PartName="/ppt/charts/chart3227.xml" ContentType="application/vnd.openxmlformats-officedocument.drawingml.chart+xml"/>
  <Override PartName="/ppt/charts/chart3228.xml" ContentType="application/vnd.openxmlformats-officedocument.drawingml.chart+xml"/>
  <Override PartName="/ppt/charts/chart3229.xml" ContentType="application/vnd.openxmlformats-officedocument.drawingml.chart+xml"/>
  <Override PartName="/ppt/charts/chart323.xml" ContentType="application/vnd.openxmlformats-officedocument.drawingml.chart+xml"/>
  <Override PartName="/ppt/charts/chart3230.xml" ContentType="application/vnd.openxmlformats-officedocument.drawingml.chart+xml"/>
  <Override PartName="/ppt/charts/chart3231.xml" ContentType="application/vnd.openxmlformats-officedocument.drawingml.chart+xml"/>
  <Override PartName="/ppt/charts/chart3232.xml" ContentType="application/vnd.openxmlformats-officedocument.drawingml.chart+xml"/>
  <Override PartName="/ppt/charts/chart3233.xml" ContentType="application/vnd.openxmlformats-officedocument.drawingml.chart+xml"/>
  <Override PartName="/ppt/charts/chart3234.xml" ContentType="application/vnd.openxmlformats-officedocument.drawingml.chart+xml"/>
  <Override PartName="/ppt/charts/chart3235.xml" ContentType="application/vnd.openxmlformats-officedocument.drawingml.chart+xml"/>
  <Override PartName="/ppt/charts/chart3236.xml" ContentType="application/vnd.openxmlformats-officedocument.drawingml.chart+xml"/>
  <Override PartName="/ppt/charts/chart3237.xml" ContentType="application/vnd.openxmlformats-officedocument.drawingml.chart+xml"/>
  <Override PartName="/ppt/charts/chart3238.xml" ContentType="application/vnd.openxmlformats-officedocument.drawingml.chart+xml"/>
  <Override PartName="/ppt/charts/chart3239.xml" ContentType="application/vnd.openxmlformats-officedocument.drawingml.chart+xml"/>
  <Override PartName="/ppt/charts/chart324.xml" ContentType="application/vnd.openxmlformats-officedocument.drawingml.chart+xml"/>
  <Override PartName="/ppt/charts/chart3240.xml" ContentType="application/vnd.openxmlformats-officedocument.drawingml.chart+xml"/>
  <Override PartName="/ppt/charts/chart3241.xml" ContentType="application/vnd.openxmlformats-officedocument.drawingml.chart+xml"/>
  <Override PartName="/ppt/charts/chart3242.xml" ContentType="application/vnd.openxmlformats-officedocument.drawingml.chart+xml"/>
  <Override PartName="/ppt/charts/chart3243.xml" ContentType="application/vnd.openxmlformats-officedocument.drawingml.chart+xml"/>
  <Override PartName="/ppt/charts/chart3244.xml" ContentType="application/vnd.openxmlformats-officedocument.drawingml.chart+xml"/>
  <Override PartName="/ppt/charts/chart3245.xml" ContentType="application/vnd.openxmlformats-officedocument.drawingml.chart+xml"/>
  <Override PartName="/ppt/charts/chart3246.xml" ContentType="application/vnd.openxmlformats-officedocument.drawingml.chart+xml"/>
  <Override PartName="/ppt/charts/chart3247.xml" ContentType="application/vnd.openxmlformats-officedocument.drawingml.chart+xml"/>
  <Override PartName="/ppt/charts/chart3248.xml" ContentType="application/vnd.openxmlformats-officedocument.drawingml.chart+xml"/>
  <Override PartName="/ppt/charts/chart3249.xml" ContentType="application/vnd.openxmlformats-officedocument.drawingml.chart+xml"/>
  <Override PartName="/ppt/charts/chart325.xml" ContentType="application/vnd.openxmlformats-officedocument.drawingml.chart+xml"/>
  <Override PartName="/ppt/charts/chart3250.xml" ContentType="application/vnd.openxmlformats-officedocument.drawingml.chart+xml"/>
  <Override PartName="/ppt/charts/chart3251.xml" ContentType="application/vnd.openxmlformats-officedocument.drawingml.chart+xml"/>
  <Override PartName="/ppt/charts/chart3252.xml" ContentType="application/vnd.openxmlformats-officedocument.drawingml.chart+xml"/>
  <Override PartName="/ppt/charts/chart3253.xml" ContentType="application/vnd.openxmlformats-officedocument.drawingml.chart+xml"/>
  <Override PartName="/ppt/charts/chart3254.xml" ContentType="application/vnd.openxmlformats-officedocument.drawingml.chart+xml"/>
  <Override PartName="/ppt/charts/chart3255.xml" ContentType="application/vnd.openxmlformats-officedocument.drawingml.chart+xml"/>
  <Override PartName="/ppt/charts/chart3256.xml" ContentType="application/vnd.openxmlformats-officedocument.drawingml.chart+xml"/>
  <Override PartName="/ppt/charts/chart3257.xml" ContentType="application/vnd.openxmlformats-officedocument.drawingml.chart+xml"/>
  <Override PartName="/ppt/charts/chart3258.xml" ContentType="application/vnd.openxmlformats-officedocument.drawingml.chart+xml"/>
  <Override PartName="/ppt/charts/chart3259.xml" ContentType="application/vnd.openxmlformats-officedocument.drawingml.chart+xml"/>
  <Override PartName="/ppt/charts/chart326.xml" ContentType="application/vnd.openxmlformats-officedocument.drawingml.chart+xml"/>
  <Override PartName="/ppt/charts/chart3260.xml" ContentType="application/vnd.openxmlformats-officedocument.drawingml.chart+xml"/>
  <Override PartName="/ppt/charts/chart3261.xml" ContentType="application/vnd.openxmlformats-officedocument.drawingml.chart+xml"/>
  <Override PartName="/ppt/charts/chart3262.xml" ContentType="application/vnd.openxmlformats-officedocument.drawingml.chart+xml"/>
  <Override PartName="/ppt/charts/chart3263.xml" ContentType="application/vnd.openxmlformats-officedocument.drawingml.chart+xml"/>
  <Override PartName="/ppt/charts/chart3264.xml" ContentType="application/vnd.openxmlformats-officedocument.drawingml.chart+xml"/>
  <Override PartName="/ppt/charts/chart3265.xml" ContentType="application/vnd.openxmlformats-officedocument.drawingml.chart+xml"/>
  <Override PartName="/ppt/charts/chart3266.xml" ContentType="application/vnd.openxmlformats-officedocument.drawingml.chart+xml"/>
  <Override PartName="/ppt/charts/chart3267.xml" ContentType="application/vnd.openxmlformats-officedocument.drawingml.chart+xml"/>
  <Override PartName="/ppt/charts/chart3268.xml" ContentType="application/vnd.openxmlformats-officedocument.drawingml.chart+xml"/>
  <Override PartName="/ppt/charts/chart3269.xml" ContentType="application/vnd.openxmlformats-officedocument.drawingml.chart+xml"/>
  <Override PartName="/ppt/charts/chart327.xml" ContentType="application/vnd.openxmlformats-officedocument.drawingml.chart+xml"/>
  <Override PartName="/ppt/charts/chart3270.xml" ContentType="application/vnd.openxmlformats-officedocument.drawingml.chart+xml"/>
  <Override PartName="/ppt/charts/chart3271.xml" ContentType="application/vnd.openxmlformats-officedocument.drawingml.chart+xml"/>
  <Override PartName="/ppt/charts/chart3272.xml" ContentType="application/vnd.openxmlformats-officedocument.drawingml.chart+xml"/>
  <Override PartName="/ppt/charts/chart3273.xml" ContentType="application/vnd.openxmlformats-officedocument.drawingml.chart+xml"/>
  <Override PartName="/ppt/charts/chart3274.xml" ContentType="application/vnd.openxmlformats-officedocument.drawingml.chart+xml"/>
  <Override PartName="/ppt/charts/chart3275.xml" ContentType="application/vnd.openxmlformats-officedocument.drawingml.chart+xml"/>
  <Override PartName="/ppt/charts/chart3276.xml" ContentType="application/vnd.openxmlformats-officedocument.drawingml.chart+xml"/>
  <Override PartName="/ppt/charts/chart3277.xml" ContentType="application/vnd.openxmlformats-officedocument.drawingml.chart+xml"/>
  <Override PartName="/ppt/charts/chart3278.xml" ContentType="application/vnd.openxmlformats-officedocument.drawingml.chart+xml"/>
  <Override PartName="/ppt/charts/chart3279.xml" ContentType="application/vnd.openxmlformats-officedocument.drawingml.chart+xml"/>
  <Override PartName="/ppt/charts/chart328.xml" ContentType="application/vnd.openxmlformats-officedocument.drawingml.chart+xml"/>
  <Override PartName="/ppt/charts/chart3280.xml" ContentType="application/vnd.openxmlformats-officedocument.drawingml.chart+xml"/>
  <Override PartName="/ppt/charts/chart3281.xml" ContentType="application/vnd.openxmlformats-officedocument.drawingml.chart+xml"/>
  <Override PartName="/ppt/charts/chart3282.xml" ContentType="application/vnd.openxmlformats-officedocument.drawingml.chart+xml"/>
  <Override PartName="/ppt/charts/chart3283.xml" ContentType="application/vnd.openxmlformats-officedocument.drawingml.chart+xml"/>
  <Override PartName="/ppt/charts/chart3284.xml" ContentType="application/vnd.openxmlformats-officedocument.drawingml.chart+xml"/>
  <Override PartName="/ppt/charts/chart3285.xml" ContentType="application/vnd.openxmlformats-officedocument.drawingml.chart+xml"/>
  <Override PartName="/ppt/charts/chart3286.xml" ContentType="application/vnd.openxmlformats-officedocument.drawingml.chart+xml"/>
  <Override PartName="/ppt/charts/chart3287.xml" ContentType="application/vnd.openxmlformats-officedocument.drawingml.chart+xml"/>
  <Override PartName="/ppt/charts/chart3288.xml" ContentType="application/vnd.openxmlformats-officedocument.drawingml.chart+xml"/>
  <Override PartName="/ppt/charts/chart3289.xml" ContentType="application/vnd.openxmlformats-officedocument.drawingml.chart+xml"/>
  <Override PartName="/ppt/charts/chart329.xml" ContentType="application/vnd.openxmlformats-officedocument.drawingml.chart+xml"/>
  <Override PartName="/ppt/charts/chart3290.xml" ContentType="application/vnd.openxmlformats-officedocument.drawingml.chart+xml"/>
  <Override PartName="/ppt/charts/chart3291.xml" ContentType="application/vnd.openxmlformats-officedocument.drawingml.chart+xml"/>
  <Override PartName="/ppt/charts/chart3292.xml" ContentType="application/vnd.openxmlformats-officedocument.drawingml.chart+xml"/>
  <Override PartName="/ppt/charts/chart3293.xml" ContentType="application/vnd.openxmlformats-officedocument.drawingml.chart+xml"/>
  <Override PartName="/ppt/charts/chart3294.xml" ContentType="application/vnd.openxmlformats-officedocument.drawingml.chart+xml"/>
  <Override PartName="/ppt/charts/chart3295.xml" ContentType="application/vnd.openxmlformats-officedocument.drawingml.chart+xml"/>
  <Override PartName="/ppt/charts/chart3296.xml" ContentType="application/vnd.openxmlformats-officedocument.drawingml.chart+xml"/>
  <Override PartName="/ppt/charts/chart3297.xml" ContentType="application/vnd.openxmlformats-officedocument.drawingml.chart+xml"/>
  <Override PartName="/ppt/charts/chart3298.xml" ContentType="application/vnd.openxmlformats-officedocument.drawingml.chart+xml"/>
  <Override PartName="/ppt/charts/chart329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00.xml" ContentType="application/vnd.openxmlformats-officedocument.drawingml.chart+xml"/>
  <Override PartName="/ppt/charts/chart3301.xml" ContentType="application/vnd.openxmlformats-officedocument.drawingml.chart+xml"/>
  <Override PartName="/ppt/charts/chart3302.xml" ContentType="application/vnd.openxmlformats-officedocument.drawingml.chart+xml"/>
  <Override PartName="/ppt/charts/chart3303.xml" ContentType="application/vnd.openxmlformats-officedocument.drawingml.chart+xml"/>
  <Override PartName="/ppt/charts/chart3304.xml" ContentType="application/vnd.openxmlformats-officedocument.drawingml.chart+xml"/>
  <Override PartName="/ppt/charts/chart3305.xml" ContentType="application/vnd.openxmlformats-officedocument.drawingml.chart+xml"/>
  <Override PartName="/ppt/charts/chart3306.xml" ContentType="application/vnd.openxmlformats-officedocument.drawingml.chart+xml"/>
  <Override PartName="/ppt/charts/chart3307.xml" ContentType="application/vnd.openxmlformats-officedocument.drawingml.chart+xml"/>
  <Override PartName="/ppt/charts/chart3308.xml" ContentType="application/vnd.openxmlformats-officedocument.drawingml.chart+xml"/>
  <Override PartName="/ppt/charts/chart3309.xml" ContentType="application/vnd.openxmlformats-officedocument.drawingml.chart+xml"/>
  <Override PartName="/ppt/charts/chart331.xml" ContentType="application/vnd.openxmlformats-officedocument.drawingml.chart+xml"/>
  <Override PartName="/ppt/charts/chart3310.xml" ContentType="application/vnd.openxmlformats-officedocument.drawingml.chart+xml"/>
  <Override PartName="/ppt/charts/chart3311.xml" ContentType="application/vnd.openxmlformats-officedocument.drawingml.chart+xml"/>
  <Override PartName="/ppt/charts/chart3312.xml" ContentType="application/vnd.openxmlformats-officedocument.drawingml.chart+xml"/>
  <Override PartName="/ppt/charts/chart3313.xml" ContentType="application/vnd.openxmlformats-officedocument.drawingml.chart+xml"/>
  <Override PartName="/ppt/charts/chart3314.xml" ContentType="application/vnd.openxmlformats-officedocument.drawingml.chart+xml"/>
  <Override PartName="/ppt/charts/chart3315.xml" ContentType="application/vnd.openxmlformats-officedocument.drawingml.chart+xml"/>
  <Override PartName="/ppt/charts/chart3316.xml" ContentType="application/vnd.openxmlformats-officedocument.drawingml.chart+xml"/>
  <Override PartName="/ppt/charts/chart3317.xml" ContentType="application/vnd.openxmlformats-officedocument.drawingml.chart+xml"/>
  <Override PartName="/ppt/charts/chart3318.xml" ContentType="application/vnd.openxmlformats-officedocument.drawingml.chart+xml"/>
  <Override PartName="/ppt/charts/chart3319.xml" ContentType="application/vnd.openxmlformats-officedocument.drawingml.chart+xml"/>
  <Override PartName="/ppt/charts/chart332.xml" ContentType="application/vnd.openxmlformats-officedocument.drawingml.chart+xml"/>
  <Override PartName="/ppt/charts/chart3320.xml" ContentType="application/vnd.openxmlformats-officedocument.drawingml.chart+xml"/>
  <Override PartName="/ppt/charts/chart3321.xml" ContentType="application/vnd.openxmlformats-officedocument.drawingml.chart+xml"/>
  <Override PartName="/ppt/charts/chart3322.xml" ContentType="application/vnd.openxmlformats-officedocument.drawingml.chart+xml"/>
  <Override PartName="/ppt/charts/chart3323.xml" ContentType="application/vnd.openxmlformats-officedocument.drawingml.chart+xml"/>
  <Override PartName="/ppt/charts/chart3324.xml" ContentType="application/vnd.openxmlformats-officedocument.drawingml.chart+xml"/>
  <Override PartName="/ppt/charts/chart3325.xml" ContentType="application/vnd.openxmlformats-officedocument.drawingml.chart+xml"/>
  <Override PartName="/ppt/charts/chart3326.xml" ContentType="application/vnd.openxmlformats-officedocument.drawingml.chart+xml"/>
  <Override PartName="/ppt/charts/chart3327.xml" ContentType="application/vnd.openxmlformats-officedocument.drawingml.chart+xml"/>
  <Override PartName="/ppt/charts/chart3328.xml" ContentType="application/vnd.openxmlformats-officedocument.drawingml.chart+xml"/>
  <Override PartName="/ppt/charts/chart3329.xml" ContentType="application/vnd.openxmlformats-officedocument.drawingml.chart+xml"/>
  <Override PartName="/ppt/charts/chart333.xml" ContentType="application/vnd.openxmlformats-officedocument.drawingml.chart+xml"/>
  <Override PartName="/ppt/charts/chart3330.xml" ContentType="application/vnd.openxmlformats-officedocument.drawingml.chart+xml"/>
  <Override PartName="/ppt/charts/chart3331.xml" ContentType="application/vnd.openxmlformats-officedocument.drawingml.chart+xml"/>
  <Override PartName="/ppt/charts/chart3332.xml" ContentType="application/vnd.openxmlformats-officedocument.drawingml.chart+xml"/>
  <Override PartName="/ppt/charts/chart3333.xml" ContentType="application/vnd.openxmlformats-officedocument.drawingml.chart+xml"/>
  <Override PartName="/ppt/charts/chart3334.xml" ContentType="application/vnd.openxmlformats-officedocument.drawingml.chart+xml"/>
  <Override PartName="/ppt/charts/chart3335.xml" ContentType="application/vnd.openxmlformats-officedocument.drawingml.chart+xml"/>
  <Override PartName="/ppt/charts/chart3336.xml" ContentType="application/vnd.openxmlformats-officedocument.drawingml.chart+xml"/>
  <Override PartName="/ppt/charts/chart3337.xml" ContentType="application/vnd.openxmlformats-officedocument.drawingml.chart+xml"/>
  <Override PartName="/ppt/charts/chart3338.xml" ContentType="application/vnd.openxmlformats-officedocument.drawingml.chart+xml"/>
  <Override PartName="/ppt/charts/chart3339.xml" ContentType="application/vnd.openxmlformats-officedocument.drawingml.chart+xml"/>
  <Override PartName="/ppt/charts/chart334.xml" ContentType="application/vnd.openxmlformats-officedocument.drawingml.chart+xml"/>
  <Override PartName="/ppt/charts/chart3340.xml" ContentType="application/vnd.openxmlformats-officedocument.drawingml.chart+xml"/>
  <Override PartName="/ppt/charts/chart3341.xml" ContentType="application/vnd.openxmlformats-officedocument.drawingml.chart+xml"/>
  <Override PartName="/ppt/charts/chart3342.xml" ContentType="application/vnd.openxmlformats-officedocument.drawingml.chart+xml"/>
  <Override PartName="/ppt/charts/chart3343.xml" ContentType="application/vnd.openxmlformats-officedocument.drawingml.chart+xml"/>
  <Override PartName="/ppt/charts/chart3344.xml" ContentType="application/vnd.openxmlformats-officedocument.drawingml.chart+xml"/>
  <Override PartName="/ppt/charts/chart3345.xml" ContentType="application/vnd.openxmlformats-officedocument.drawingml.chart+xml"/>
  <Override PartName="/ppt/charts/chart3346.xml" ContentType="application/vnd.openxmlformats-officedocument.drawingml.chart+xml"/>
  <Override PartName="/ppt/charts/chart3347.xml" ContentType="application/vnd.openxmlformats-officedocument.drawingml.chart+xml"/>
  <Override PartName="/ppt/charts/chart3348.xml" ContentType="application/vnd.openxmlformats-officedocument.drawingml.chart+xml"/>
  <Override PartName="/ppt/charts/chart3349.xml" ContentType="application/vnd.openxmlformats-officedocument.drawingml.chart+xml"/>
  <Override PartName="/ppt/charts/chart335.xml" ContentType="application/vnd.openxmlformats-officedocument.drawingml.chart+xml"/>
  <Override PartName="/ppt/charts/chart3350.xml" ContentType="application/vnd.openxmlformats-officedocument.drawingml.chart+xml"/>
  <Override PartName="/ppt/charts/chart3351.xml" ContentType="application/vnd.openxmlformats-officedocument.drawingml.chart+xml"/>
  <Override PartName="/ppt/charts/chart3352.xml" ContentType="application/vnd.openxmlformats-officedocument.drawingml.chart+xml"/>
  <Override PartName="/ppt/charts/chart3353.xml" ContentType="application/vnd.openxmlformats-officedocument.drawingml.chart+xml"/>
  <Override PartName="/ppt/charts/chart3354.xml" ContentType="application/vnd.openxmlformats-officedocument.drawingml.chart+xml"/>
  <Override PartName="/ppt/charts/chart3355.xml" ContentType="application/vnd.openxmlformats-officedocument.drawingml.chart+xml"/>
  <Override PartName="/ppt/charts/chart3356.xml" ContentType="application/vnd.openxmlformats-officedocument.drawingml.chart+xml"/>
  <Override PartName="/ppt/charts/chart3357.xml" ContentType="application/vnd.openxmlformats-officedocument.drawingml.chart+xml"/>
  <Override PartName="/ppt/charts/chart3358.xml" ContentType="application/vnd.openxmlformats-officedocument.drawingml.chart+xml"/>
  <Override PartName="/ppt/charts/chart3359.xml" ContentType="application/vnd.openxmlformats-officedocument.drawingml.chart+xml"/>
  <Override PartName="/ppt/charts/chart336.xml" ContentType="application/vnd.openxmlformats-officedocument.drawingml.chart+xml"/>
  <Override PartName="/ppt/charts/chart3360.xml" ContentType="application/vnd.openxmlformats-officedocument.drawingml.chart+xml"/>
  <Override PartName="/ppt/charts/chart3361.xml" ContentType="application/vnd.openxmlformats-officedocument.drawingml.chart+xml"/>
  <Override PartName="/ppt/charts/chart3362.xml" ContentType="application/vnd.openxmlformats-officedocument.drawingml.chart+xml"/>
  <Override PartName="/ppt/charts/chart3363.xml" ContentType="application/vnd.openxmlformats-officedocument.drawingml.chart+xml"/>
  <Override PartName="/ppt/charts/chart3364.xml" ContentType="application/vnd.openxmlformats-officedocument.drawingml.chart+xml"/>
  <Override PartName="/ppt/charts/chart3365.xml" ContentType="application/vnd.openxmlformats-officedocument.drawingml.chart+xml"/>
  <Override PartName="/ppt/charts/chart3366.xml" ContentType="application/vnd.openxmlformats-officedocument.drawingml.chart+xml"/>
  <Override PartName="/ppt/charts/chart3367.xml" ContentType="application/vnd.openxmlformats-officedocument.drawingml.chart+xml"/>
  <Override PartName="/ppt/charts/chart3368.xml" ContentType="application/vnd.openxmlformats-officedocument.drawingml.chart+xml"/>
  <Override PartName="/ppt/charts/chart3369.xml" ContentType="application/vnd.openxmlformats-officedocument.drawingml.chart+xml"/>
  <Override PartName="/ppt/charts/chart337.xml" ContentType="application/vnd.openxmlformats-officedocument.drawingml.chart+xml"/>
  <Override PartName="/ppt/charts/chart3370.xml" ContentType="application/vnd.openxmlformats-officedocument.drawingml.chart+xml"/>
  <Override PartName="/ppt/charts/chart3371.xml" ContentType="application/vnd.openxmlformats-officedocument.drawingml.chart+xml"/>
  <Override PartName="/ppt/charts/chart3372.xml" ContentType="application/vnd.openxmlformats-officedocument.drawingml.chart+xml"/>
  <Override PartName="/ppt/charts/chart3373.xml" ContentType="application/vnd.openxmlformats-officedocument.drawingml.chart+xml"/>
  <Override PartName="/ppt/charts/chart3374.xml" ContentType="application/vnd.openxmlformats-officedocument.drawingml.chart+xml"/>
  <Override PartName="/ppt/charts/chart3375.xml" ContentType="application/vnd.openxmlformats-officedocument.drawingml.chart+xml"/>
  <Override PartName="/ppt/charts/chart3376.xml" ContentType="application/vnd.openxmlformats-officedocument.drawingml.chart+xml"/>
  <Override PartName="/ppt/charts/chart3377.xml" ContentType="application/vnd.openxmlformats-officedocument.drawingml.chart+xml"/>
  <Override PartName="/ppt/charts/chart3378.xml" ContentType="application/vnd.openxmlformats-officedocument.drawingml.chart+xml"/>
  <Override PartName="/ppt/charts/chart3379.xml" ContentType="application/vnd.openxmlformats-officedocument.drawingml.chart+xml"/>
  <Override PartName="/ppt/charts/chart338.xml" ContentType="application/vnd.openxmlformats-officedocument.drawingml.chart+xml"/>
  <Override PartName="/ppt/charts/chart3380.xml" ContentType="application/vnd.openxmlformats-officedocument.drawingml.chart+xml"/>
  <Override PartName="/ppt/charts/chart3381.xml" ContentType="application/vnd.openxmlformats-officedocument.drawingml.chart+xml"/>
  <Override PartName="/ppt/charts/chart3382.xml" ContentType="application/vnd.openxmlformats-officedocument.drawingml.chart+xml"/>
  <Override PartName="/ppt/charts/chart3383.xml" ContentType="application/vnd.openxmlformats-officedocument.drawingml.chart+xml"/>
  <Override PartName="/ppt/charts/chart3384.xml" ContentType="application/vnd.openxmlformats-officedocument.drawingml.chart+xml"/>
  <Override PartName="/ppt/charts/chart3385.xml" ContentType="application/vnd.openxmlformats-officedocument.drawingml.chart+xml"/>
  <Override PartName="/ppt/charts/chart3386.xml" ContentType="application/vnd.openxmlformats-officedocument.drawingml.chart+xml"/>
  <Override PartName="/ppt/charts/chart3387.xml" ContentType="application/vnd.openxmlformats-officedocument.drawingml.chart+xml"/>
  <Override PartName="/ppt/charts/chart3388.xml" ContentType="application/vnd.openxmlformats-officedocument.drawingml.chart+xml"/>
  <Override PartName="/ppt/charts/chart3389.xml" ContentType="application/vnd.openxmlformats-officedocument.drawingml.chart+xml"/>
  <Override PartName="/ppt/charts/chart339.xml" ContentType="application/vnd.openxmlformats-officedocument.drawingml.chart+xml"/>
  <Override PartName="/ppt/charts/chart3390.xml" ContentType="application/vnd.openxmlformats-officedocument.drawingml.chart+xml"/>
  <Override PartName="/ppt/charts/chart3391.xml" ContentType="application/vnd.openxmlformats-officedocument.drawingml.chart+xml"/>
  <Override PartName="/ppt/charts/chart3392.xml" ContentType="application/vnd.openxmlformats-officedocument.drawingml.chart+xml"/>
  <Override PartName="/ppt/charts/chart3393.xml" ContentType="application/vnd.openxmlformats-officedocument.drawingml.chart+xml"/>
  <Override PartName="/ppt/charts/chart3394.xml" ContentType="application/vnd.openxmlformats-officedocument.drawingml.chart+xml"/>
  <Override PartName="/ppt/charts/chart3395.xml" ContentType="application/vnd.openxmlformats-officedocument.drawingml.chart+xml"/>
  <Override PartName="/ppt/charts/chart3396.xml" ContentType="application/vnd.openxmlformats-officedocument.drawingml.chart+xml"/>
  <Override PartName="/ppt/charts/chart3397.xml" ContentType="application/vnd.openxmlformats-officedocument.drawingml.chart+xml"/>
  <Override PartName="/ppt/charts/chart3398.xml" ContentType="application/vnd.openxmlformats-officedocument.drawingml.chart+xml"/>
  <Override PartName="/ppt/charts/chart339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00.xml" ContentType="application/vnd.openxmlformats-officedocument.drawingml.chart+xml"/>
  <Override PartName="/ppt/charts/chart3401.xml" ContentType="application/vnd.openxmlformats-officedocument.drawingml.chart+xml"/>
  <Override PartName="/ppt/charts/chart3402.xml" ContentType="application/vnd.openxmlformats-officedocument.drawingml.chart+xml"/>
  <Override PartName="/ppt/charts/chart3403.xml" ContentType="application/vnd.openxmlformats-officedocument.drawingml.chart+xml"/>
  <Override PartName="/ppt/charts/chart3404.xml" ContentType="application/vnd.openxmlformats-officedocument.drawingml.chart+xml"/>
  <Override PartName="/ppt/charts/chart3405.xml" ContentType="application/vnd.openxmlformats-officedocument.drawingml.chart+xml"/>
  <Override PartName="/ppt/charts/chart3406.xml" ContentType="application/vnd.openxmlformats-officedocument.drawingml.chart+xml"/>
  <Override PartName="/ppt/charts/chart3407.xml" ContentType="application/vnd.openxmlformats-officedocument.drawingml.chart+xml"/>
  <Override PartName="/ppt/charts/chart3408.xml" ContentType="application/vnd.openxmlformats-officedocument.drawingml.chart+xml"/>
  <Override PartName="/ppt/charts/chart3409.xml" ContentType="application/vnd.openxmlformats-officedocument.drawingml.chart+xml"/>
  <Override PartName="/ppt/charts/chart341.xml" ContentType="application/vnd.openxmlformats-officedocument.drawingml.chart+xml"/>
  <Override PartName="/ppt/charts/chart3410.xml" ContentType="application/vnd.openxmlformats-officedocument.drawingml.chart+xml"/>
  <Override PartName="/ppt/charts/chart3411.xml" ContentType="application/vnd.openxmlformats-officedocument.drawingml.chart+xml"/>
  <Override PartName="/ppt/charts/chart3412.xml" ContentType="application/vnd.openxmlformats-officedocument.drawingml.chart+xml"/>
  <Override PartName="/ppt/charts/chart3413.xml" ContentType="application/vnd.openxmlformats-officedocument.drawingml.chart+xml"/>
  <Override PartName="/ppt/charts/chart3414.xml" ContentType="application/vnd.openxmlformats-officedocument.drawingml.chart+xml"/>
  <Override PartName="/ppt/charts/chart3415.xml" ContentType="application/vnd.openxmlformats-officedocument.drawingml.chart+xml"/>
  <Override PartName="/ppt/charts/chart3416.xml" ContentType="application/vnd.openxmlformats-officedocument.drawingml.chart+xml"/>
  <Override PartName="/ppt/charts/chart3417.xml" ContentType="application/vnd.openxmlformats-officedocument.drawingml.chart+xml"/>
  <Override PartName="/ppt/charts/chart3418.xml" ContentType="application/vnd.openxmlformats-officedocument.drawingml.chart+xml"/>
  <Override PartName="/ppt/charts/chart3419.xml" ContentType="application/vnd.openxmlformats-officedocument.drawingml.chart+xml"/>
  <Override PartName="/ppt/charts/chart342.xml" ContentType="application/vnd.openxmlformats-officedocument.drawingml.chart+xml"/>
  <Override PartName="/ppt/charts/chart3420.xml" ContentType="application/vnd.openxmlformats-officedocument.drawingml.chart+xml"/>
  <Override PartName="/ppt/charts/chart3421.xml" ContentType="application/vnd.openxmlformats-officedocument.drawingml.chart+xml"/>
  <Override PartName="/ppt/charts/chart3422.xml" ContentType="application/vnd.openxmlformats-officedocument.drawingml.chart+xml"/>
  <Override PartName="/ppt/charts/chart3423.xml" ContentType="application/vnd.openxmlformats-officedocument.drawingml.chart+xml"/>
  <Override PartName="/ppt/charts/chart3424.xml" ContentType="application/vnd.openxmlformats-officedocument.drawingml.chart+xml"/>
  <Override PartName="/ppt/charts/chart3425.xml" ContentType="application/vnd.openxmlformats-officedocument.drawingml.chart+xml"/>
  <Override PartName="/ppt/charts/chart3426.xml" ContentType="application/vnd.openxmlformats-officedocument.drawingml.chart+xml"/>
  <Override PartName="/ppt/charts/chart3427.xml" ContentType="application/vnd.openxmlformats-officedocument.drawingml.chart+xml"/>
  <Override PartName="/ppt/charts/chart3428.xml" ContentType="application/vnd.openxmlformats-officedocument.drawingml.chart+xml"/>
  <Override PartName="/ppt/charts/chart3429.xml" ContentType="application/vnd.openxmlformats-officedocument.drawingml.chart+xml"/>
  <Override PartName="/ppt/charts/chart343.xml" ContentType="application/vnd.openxmlformats-officedocument.drawingml.chart+xml"/>
  <Override PartName="/ppt/charts/chart3430.xml" ContentType="application/vnd.openxmlformats-officedocument.drawingml.chart+xml"/>
  <Override PartName="/ppt/charts/chart3431.xml" ContentType="application/vnd.openxmlformats-officedocument.drawingml.chart+xml"/>
  <Override PartName="/ppt/charts/chart3432.xml" ContentType="application/vnd.openxmlformats-officedocument.drawingml.chart+xml"/>
  <Override PartName="/ppt/charts/chart3433.xml" ContentType="application/vnd.openxmlformats-officedocument.drawingml.chart+xml"/>
  <Override PartName="/ppt/charts/chart3434.xml" ContentType="application/vnd.openxmlformats-officedocument.drawingml.chart+xml"/>
  <Override PartName="/ppt/charts/chart3435.xml" ContentType="application/vnd.openxmlformats-officedocument.drawingml.chart+xml"/>
  <Override PartName="/ppt/charts/chart3436.xml" ContentType="application/vnd.openxmlformats-officedocument.drawingml.chart+xml"/>
  <Override PartName="/ppt/charts/chart3437.xml" ContentType="application/vnd.openxmlformats-officedocument.drawingml.chart+xml"/>
  <Override PartName="/ppt/charts/chart3438.xml" ContentType="application/vnd.openxmlformats-officedocument.drawingml.chart+xml"/>
  <Override PartName="/ppt/charts/chart3439.xml" ContentType="application/vnd.openxmlformats-officedocument.drawingml.chart+xml"/>
  <Override PartName="/ppt/charts/chart344.xml" ContentType="application/vnd.openxmlformats-officedocument.drawingml.chart+xml"/>
  <Override PartName="/ppt/charts/chart3440.xml" ContentType="application/vnd.openxmlformats-officedocument.drawingml.chart+xml"/>
  <Override PartName="/ppt/charts/chart3441.xml" ContentType="application/vnd.openxmlformats-officedocument.drawingml.chart+xml"/>
  <Override PartName="/ppt/charts/chart3442.xml" ContentType="application/vnd.openxmlformats-officedocument.drawingml.chart+xml"/>
  <Override PartName="/ppt/charts/chart3443.xml" ContentType="application/vnd.openxmlformats-officedocument.drawingml.chart+xml"/>
  <Override PartName="/ppt/charts/chart3444.xml" ContentType="application/vnd.openxmlformats-officedocument.drawingml.chart+xml"/>
  <Override PartName="/ppt/charts/chart3445.xml" ContentType="application/vnd.openxmlformats-officedocument.drawingml.chart+xml"/>
  <Override PartName="/ppt/charts/chart3446.xml" ContentType="application/vnd.openxmlformats-officedocument.drawingml.chart+xml"/>
  <Override PartName="/ppt/charts/chart3447.xml" ContentType="application/vnd.openxmlformats-officedocument.drawingml.chart+xml"/>
  <Override PartName="/ppt/charts/chart3448.xml" ContentType="application/vnd.openxmlformats-officedocument.drawingml.chart+xml"/>
  <Override PartName="/ppt/charts/chart3449.xml" ContentType="application/vnd.openxmlformats-officedocument.drawingml.chart+xml"/>
  <Override PartName="/ppt/charts/chart345.xml" ContentType="application/vnd.openxmlformats-officedocument.drawingml.chart+xml"/>
  <Override PartName="/ppt/charts/chart3450.xml" ContentType="application/vnd.openxmlformats-officedocument.drawingml.chart+xml"/>
  <Override PartName="/ppt/charts/chart3451.xml" ContentType="application/vnd.openxmlformats-officedocument.drawingml.chart+xml"/>
  <Override PartName="/ppt/charts/chart3452.xml" ContentType="application/vnd.openxmlformats-officedocument.drawingml.chart+xml"/>
  <Override PartName="/ppt/charts/chart3453.xml" ContentType="application/vnd.openxmlformats-officedocument.drawingml.chart+xml"/>
  <Override PartName="/ppt/charts/chart3454.xml" ContentType="application/vnd.openxmlformats-officedocument.drawingml.chart+xml"/>
  <Override PartName="/ppt/charts/chart3455.xml" ContentType="application/vnd.openxmlformats-officedocument.drawingml.chart+xml"/>
  <Override PartName="/ppt/charts/chart3456.xml" ContentType="application/vnd.openxmlformats-officedocument.drawingml.chart+xml"/>
  <Override PartName="/ppt/charts/chart3457.xml" ContentType="application/vnd.openxmlformats-officedocument.drawingml.chart+xml"/>
  <Override PartName="/ppt/charts/chart3458.xml" ContentType="application/vnd.openxmlformats-officedocument.drawingml.chart+xml"/>
  <Override PartName="/ppt/charts/chart3459.xml" ContentType="application/vnd.openxmlformats-officedocument.drawingml.chart+xml"/>
  <Override PartName="/ppt/charts/chart346.xml" ContentType="application/vnd.openxmlformats-officedocument.drawingml.chart+xml"/>
  <Override PartName="/ppt/charts/chart3460.xml" ContentType="application/vnd.openxmlformats-officedocument.drawingml.chart+xml"/>
  <Override PartName="/ppt/charts/chart3461.xml" ContentType="application/vnd.openxmlformats-officedocument.drawingml.chart+xml"/>
  <Override PartName="/ppt/charts/chart3462.xml" ContentType="application/vnd.openxmlformats-officedocument.drawingml.chart+xml"/>
  <Override PartName="/ppt/charts/chart3463.xml" ContentType="application/vnd.openxmlformats-officedocument.drawingml.chart+xml"/>
  <Override PartName="/ppt/charts/chart3464.xml" ContentType="application/vnd.openxmlformats-officedocument.drawingml.chart+xml"/>
  <Override PartName="/ppt/charts/chart3465.xml" ContentType="application/vnd.openxmlformats-officedocument.drawingml.chart+xml"/>
  <Override PartName="/ppt/charts/chart3466.xml" ContentType="application/vnd.openxmlformats-officedocument.drawingml.chart+xml"/>
  <Override PartName="/ppt/charts/chart3467.xml" ContentType="application/vnd.openxmlformats-officedocument.drawingml.chart+xml"/>
  <Override PartName="/ppt/charts/chart3468.xml" ContentType="application/vnd.openxmlformats-officedocument.drawingml.chart+xml"/>
  <Override PartName="/ppt/charts/chart3469.xml" ContentType="application/vnd.openxmlformats-officedocument.drawingml.chart+xml"/>
  <Override PartName="/ppt/charts/chart347.xml" ContentType="application/vnd.openxmlformats-officedocument.drawingml.chart+xml"/>
  <Override PartName="/ppt/charts/chart3470.xml" ContentType="application/vnd.openxmlformats-officedocument.drawingml.chart+xml"/>
  <Override PartName="/ppt/charts/chart3471.xml" ContentType="application/vnd.openxmlformats-officedocument.drawingml.chart+xml"/>
  <Override PartName="/ppt/charts/chart3472.xml" ContentType="application/vnd.openxmlformats-officedocument.drawingml.chart+xml"/>
  <Override PartName="/ppt/charts/chart3473.xml" ContentType="application/vnd.openxmlformats-officedocument.drawingml.chart+xml"/>
  <Override PartName="/ppt/charts/chart3474.xml" ContentType="application/vnd.openxmlformats-officedocument.drawingml.chart+xml"/>
  <Override PartName="/ppt/charts/chart3475.xml" ContentType="application/vnd.openxmlformats-officedocument.drawingml.chart+xml"/>
  <Override PartName="/ppt/charts/chart3476.xml" ContentType="application/vnd.openxmlformats-officedocument.drawingml.chart+xml"/>
  <Override PartName="/ppt/charts/chart3477.xml" ContentType="application/vnd.openxmlformats-officedocument.drawingml.chart+xml"/>
  <Override PartName="/ppt/charts/chart3478.xml" ContentType="application/vnd.openxmlformats-officedocument.drawingml.chart+xml"/>
  <Override PartName="/ppt/charts/chart3479.xml" ContentType="application/vnd.openxmlformats-officedocument.drawingml.chart+xml"/>
  <Override PartName="/ppt/charts/chart348.xml" ContentType="application/vnd.openxmlformats-officedocument.drawingml.chart+xml"/>
  <Override PartName="/ppt/charts/chart3480.xml" ContentType="application/vnd.openxmlformats-officedocument.drawingml.chart+xml"/>
  <Override PartName="/ppt/charts/chart3481.xml" ContentType="application/vnd.openxmlformats-officedocument.drawingml.chart+xml"/>
  <Override PartName="/ppt/charts/chart3482.xml" ContentType="application/vnd.openxmlformats-officedocument.drawingml.chart+xml"/>
  <Override PartName="/ppt/charts/chart3483.xml" ContentType="application/vnd.openxmlformats-officedocument.drawingml.chart+xml"/>
  <Override PartName="/ppt/charts/chart3484.xml" ContentType="application/vnd.openxmlformats-officedocument.drawingml.chart+xml"/>
  <Override PartName="/ppt/charts/chart3485.xml" ContentType="application/vnd.openxmlformats-officedocument.drawingml.chart+xml"/>
  <Override PartName="/ppt/charts/chart3486.xml" ContentType="application/vnd.openxmlformats-officedocument.drawingml.chart+xml"/>
  <Override PartName="/ppt/charts/chart3487.xml" ContentType="application/vnd.openxmlformats-officedocument.drawingml.chart+xml"/>
  <Override PartName="/ppt/charts/chart3488.xml" ContentType="application/vnd.openxmlformats-officedocument.drawingml.chart+xml"/>
  <Override PartName="/ppt/charts/chart3489.xml" ContentType="application/vnd.openxmlformats-officedocument.drawingml.chart+xml"/>
  <Override PartName="/ppt/charts/chart349.xml" ContentType="application/vnd.openxmlformats-officedocument.drawingml.chart+xml"/>
  <Override PartName="/ppt/charts/chart3490.xml" ContentType="application/vnd.openxmlformats-officedocument.drawingml.chart+xml"/>
  <Override PartName="/ppt/charts/chart3491.xml" ContentType="application/vnd.openxmlformats-officedocument.drawingml.chart+xml"/>
  <Override PartName="/ppt/charts/chart3492.xml" ContentType="application/vnd.openxmlformats-officedocument.drawingml.chart+xml"/>
  <Override PartName="/ppt/charts/chart3493.xml" ContentType="application/vnd.openxmlformats-officedocument.drawingml.chart+xml"/>
  <Override PartName="/ppt/charts/chart3494.xml" ContentType="application/vnd.openxmlformats-officedocument.drawingml.chart+xml"/>
  <Override PartName="/ppt/charts/chart3495.xml" ContentType="application/vnd.openxmlformats-officedocument.drawingml.chart+xml"/>
  <Override PartName="/ppt/charts/chart3496.xml" ContentType="application/vnd.openxmlformats-officedocument.drawingml.chart+xml"/>
  <Override PartName="/ppt/charts/chart3497.xml" ContentType="application/vnd.openxmlformats-officedocument.drawingml.chart+xml"/>
  <Override PartName="/ppt/charts/chart3498.xml" ContentType="application/vnd.openxmlformats-officedocument.drawingml.chart+xml"/>
  <Override PartName="/ppt/charts/chart349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00.xml" ContentType="application/vnd.openxmlformats-officedocument.drawingml.chart+xml"/>
  <Override PartName="/ppt/charts/chart3501.xml" ContentType="application/vnd.openxmlformats-officedocument.drawingml.chart+xml"/>
  <Override PartName="/ppt/charts/chart3502.xml" ContentType="application/vnd.openxmlformats-officedocument.drawingml.chart+xml"/>
  <Override PartName="/ppt/charts/chart3503.xml" ContentType="application/vnd.openxmlformats-officedocument.drawingml.chart+xml"/>
  <Override PartName="/ppt/charts/chart3504.xml" ContentType="application/vnd.openxmlformats-officedocument.drawingml.chart+xml"/>
  <Override PartName="/ppt/charts/chart3505.xml" ContentType="application/vnd.openxmlformats-officedocument.drawingml.chart+xml"/>
  <Override PartName="/ppt/charts/chart3506.xml" ContentType="application/vnd.openxmlformats-officedocument.drawingml.chart+xml"/>
  <Override PartName="/ppt/charts/chart3507.xml" ContentType="application/vnd.openxmlformats-officedocument.drawingml.chart+xml"/>
  <Override PartName="/ppt/charts/chart3508.xml" ContentType="application/vnd.openxmlformats-officedocument.drawingml.chart+xml"/>
  <Override PartName="/ppt/charts/chart3509.xml" ContentType="application/vnd.openxmlformats-officedocument.drawingml.chart+xml"/>
  <Override PartName="/ppt/charts/chart351.xml" ContentType="application/vnd.openxmlformats-officedocument.drawingml.chart+xml"/>
  <Override PartName="/ppt/charts/chart3510.xml" ContentType="application/vnd.openxmlformats-officedocument.drawingml.chart+xml"/>
  <Override PartName="/ppt/charts/chart3511.xml" ContentType="application/vnd.openxmlformats-officedocument.drawingml.chart+xml"/>
  <Override PartName="/ppt/charts/chart3512.xml" ContentType="application/vnd.openxmlformats-officedocument.drawingml.chart+xml"/>
  <Override PartName="/ppt/charts/chart3513.xml" ContentType="application/vnd.openxmlformats-officedocument.drawingml.chart+xml"/>
  <Override PartName="/ppt/charts/chart3514.xml" ContentType="application/vnd.openxmlformats-officedocument.drawingml.chart+xml"/>
  <Override PartName="/ppt/charts/chart3515.xml" ContentType="application/vnd.openxmlformats-officedocument.drawingml.chart+xml"/>
  <Override PartName="/ppt/charts/chart3516.xml" ContentType="application/vnd.openxmlformats-officedocument.drawingml.chart+xml"/>
  <Override PartName="/ppt/charts/chart3517.xml" ContentType="application/vnd.openxmlformats-officedocument.drawingml.chart+xml"/>
  <Override PartName="/ppt/charts/chart3518.xml" ContentType="application/vnd.openxmlformats-officedocument.drawingml.chart+xml"/>
  <Override PartName="/ppt/charts/chart3519.xml" ContentType="application/vnd.openxmlformats-officedocument.drawingml.chart+xml"/>
  <Override PartName="/ppt/charts/chart352.xml" ContentType="application/vnd.openxmlformats-officedocument.drawingml.chart+xml"/>
  <Override PartName="/ppt/charts/chart3520.xml" ContentType="application/vnd.openxmlformats-officedocument.drawingml.chart+xml"/>
  <Override PartName="/ppt/charts/chart3521.xml" ContentType="application/vnd.openxmlformats-officedocument.drawingml.chart+xml"/>
  <Override PartName="/ppt/charts/chart3522.xml" ContentType="application/vnd.openxmlformats-officedocument.drawingml.chart+xml"/>
  <Override PartName="/ppt/charts/chart3523.xml" ContentType="application/vnd.openxmlformats-officedocument.drawingml.chart+xml"/>
  <Override PartName="/ppt/charts/chart3524.xml" ContentType="application/vnd.openxmlformats-officedocument.drawingml.chart+xml"/>
  <Override PartName="/ppt/charts/chart3525.xml" ContentType="application/vnd.openxmlformats-officedocument.drawingml.chart+xml"/>
  <Override PartName="/ppt/charts/chart3526.xml" ContentType="application/vnd.openxmlformats-officedocument.drawingml.chart+xml"/>
  <Override PartName="/ppt/charts/chart3527.xml" ContentType="application/vnd.openxmlformats-officedocument.drawingml.chart+xml"/>
  <Override PartName="/ppt/charts/chart3528.xml" ContentType="application/vnd.openxmlformats-officedocument.drawingml.chart+xml"/>
  <Override PartName="/ppt/charts/chart3529.xml" ContentType="application/vnd.openxmlformats-officedocument.drawingml.chart+xml"/>
  <Override PartName="/ppt/charts/chart353.xml" ContentType="application/vnd.openxmlformats-officedocument.drawingml.chart+xml"/>
  <Override PartName="/ppt/charts/chart3530.xml" ContentType="application/vnd.openxmlformats-officedocument.drawingml.chart+xml"/>
  <Override PartName="/ppt/charts/chart3531.xml" ContentType="application/vnd.openxmlformats-officedocument.drawingml.chart+xml"/>
  <Override PartName="/ppt/charts/chart3532.xml" ContentType="application/vnd.openxmlformats-officedocument.drawingml.chart+xml"/>
  <Override PartName="/ppt/charts/chart3533.xml" ContentType="application/vnd.openxmlformats-officedocument.drawingml.chart+xml"/>
  <Override PartName="/ppt/charts/chart3534.xml" ContentType="application/vnd.openxmlformats-officedocument.drawingml.chart+xml"/>
  <Override PartName="/ppt/charts/chart3535.xml" ContentType="application/vnd.openxmlformats-officedocument.drawingml.chart+xml"/>
  <Override PartName="/ppt/charts/chart3536.xml" ContentType="application/vnd.openxmlformats-officedocument.drawingml.chart+xml"/>
  <Override PartName="/ppt/charts/chart3537.xml" ContentType="application/vnd.openxmlformats-officedocument.drawingml.chart+xml"/>
  <Override PartName="/ppt/charts/chart3538.xml" ContentType="application/vnd.openxmlformats-officedocument.drawingml.chart+xml"/>
  <Override PartName="/ppt/charts/chart3539.xml" ContentType="application/vnd.openxmlformats-officedocument.drawingml.chart+xml"/>
  <Override PartName="/ppt/charts/chart354.xml" ContentType="application/vnd.openxmlformats-officedocument.drawingml.chart+xml"/>
  <Override PartName="/ppt/charts/chart3540.xml" ContentType="application/vnd.openxmlformats-officedocument.drawingml.chart+xml"/>
  <Override PartName="/ppt/charts/chart3541.xml" ContentType="application/vnd.openxmlformats-officedocument.drawingml.chart+xml"/>
  <Override PartName="/ppt/charts/chart3542.xml" ContentType="application/vnd.openxmlformats-officedocument.drawingml.chart+xml"/>
  <Override PartName="/ppt/charts/chart3543.xml" ContentType="application/vnd.openxmlformats-officedocument.drawingml.chart+xml"/>
  <Override PartName="/ppt/charts/chart3544.xml" ContentType="application/vnd.openxmlformats-officedocument.drawingml.chart+xml"/>
  <Override PartName="/ppt/charts/chart3545.xml" ContentType="application/vnd.openxmlformats-officedocument.drawingml.chart+xml"/>
  <Override PartName="/ppt/charts/chart3546.xml" ContentType="application/vnd.openxmlformats-officedocument.drawingml.chart+xml"/>
  <Override PartName="/ppt/charts/chart3547.xml" ContentType="application/vnd.openxmlformats-officedocument.drawingml.chart+xml"/>
  <Override PartName="/ppt/charts/chart3548.xml" ContentType="application/vnd.openxmlformats-officedocument.drawingml.chart+xml"/>
  <Override PartName="/ppt/charts/chart3549.xml" ContentType="application/vnd.openxmlformats-officedocument.drawingml.chart+xml"/>
  <Override PartName="/ppt/charts/chart355.xml" ContentType="application/vnd.openxmlformats-officedocument.drawingml.chart+xml"/>
  <Override PartName="/ppt/charts/chart3550.xml" ContentType="application/vnd.openxmlformats-officedocument.drawingml.chart+xml"/>
  <Override PartName="/ppt/charts/chart3551.xml" ContentType="application/vnd.openxmlformats-officedocument.drawingml.chart+xml"/>
  <Override PartName="/ppt/charts/chart3552.xml" ContentType="application/vnd.openxmlformats-officedocument.drawingml.chart+xml"/>
  <Override PartName="/ppt/charts/chart3553.xml" ContentType="application/vnd.openxmlformats-officedocument.drawingml.chart+xml"/>
  <Override PartName="/ppt/charts/chart3554.xml" ContentType="application/vnd.openxmlformats-officedocument.drawingml.chart+xml"/>
  <Override PartName="/ppt/charts/chart3555.xml" ContentType="application/vnd.openxmlformats-officedocument.drawingml.chart+xml"/>
  <Override PartName="/ppt/charts/chart3556.xml" ContentType="application/vnd.openxmlformats-officedocument.drawingml.chart+xml"/>
  <Override PartName="/ppt/charts/chart3557.xml" ContentType="application/vnd.openxmlformats-officedocument.drawingml.chart+xml"/>
  <Override PartName="/ppt/charts/chart3558.xml" ContentType="application/vnd.openxmlformats-officedocument.drawingml.chart+xml"/>
  <Override PartName="/ppt/charts/chart3559.xml" ContentType="application/vnd.openxmlformats-officedocument.drawingml.chart+xml"/>
  <Override PartName="/ppt/charts/chart356.xml" ContentType="application/vnd.openxmlformats-officedocument.drawingml.chart+xml"/>
  <Override PartName="/ppt/charts/chart3560.xml" ContentType="application/vnd.openxmlformats-officedocument.drawingml.chart+xml"/>
  <Override PartName="/ppt/charts/chart3561.xml" ContentType="application/vnd.openxmlformats-officedocument.drawingml.chart+xml"/>
  <Override PartName="/ppt/charts/chart3562.xml" ContentType="application/vnd.openxmlformats-officedocument.drawingml.chart+xml"/>
  <Override PartName="/ppt/charts/chart3563.xml" ContentType="application/vnd.openxmlformats-officedocument.drawingml.chart+xml"/>
  <Override PartName="/ppt/charts/chart3564.xml" ContentType="application/vnd.openxmlformats-officedocument.drawingml.chart+xml"/>
  <Override PartName="/ppt/charts/chart3565.xml" ContentType="application/vnd.openxmlformats-officedocument.drawingml.chart+xml"/>
  <Override PartName="/ppt/charts/chart3566.xml" ContentType="application/vnd.openxmlformats-officedocument.drawingml.chart+xml"/>
  <Override PartName="/ppt/charts/chart3567.xml" ContentType="application/vnd.openxmlformats-officedocument.drawingml.chart+xml"/>
  <Override PartName="/ppt/charts/chart3568.xml" ContentType="application/vnd.openxmlformats-officedocument.drawingml.chart+xml"/>
  <Override PartName="/ppt/charts/chart3569.xml" ContentType="application/vnd.openxmlformats-officedocument.drawingml.chart+xml"/>
  <Override PartName="/ppt/charts/chart357.xml" ContentType="application/vnd.openxmlformats-officedocument.drawingml.chart+xml"/>
  <Override PartName="/ppt/charts/chart3570.xml" ContentType="application/vnd.openxmlformats-officedocument.drawingml.chart+xml"/>
  <Override PartName="/ppt/charts/chart3571.xml" ContentType="application/vnd.openxmlformats-officedocument.drawingml.chart+xml"/>
  <Override PartName="/ppt/charts/chart3572.xml" ContentType="application/vnd.openxmlformats-officedocument.drawingml.chart+xml"/>
  <Override PartName="/ppt/charts/chart3573.xml" ContentType="application/vnd.openxmlformats-officedocument.drawingml.chart+xml"/>
  <Override PartName="/ppt/charts/chart3574.xml" ContentType="application/vnd.openxmlformats-officedocument.drawingml.chart+xml"/>
  <Override PartName="/ppt/charts/chart3575.xml" ContentType="application/vnd.openxmlformats-officedocument.drawingml.chart+xml"/>
  <Override PartName="/ppt/charts/chart3576.xml" ContentType="application/vnd.openxmlformats-officedocument.drawingml.chart+xml"/>
  <Override PartName="/ppt/charts/chart3577.xml" ContentType="application/vnd.openxmlformats-officedocument.drawingml.chart+xml"/>
  <Override PartName="/ppt/charts/chart3578.xml" ContentType="application/vnd.openxmlformats-officedocument.drawingml.chart+xml"/>
  <Override PartName="/ppt/charts/chart3579.xml" ContentType="application/vnd.openxmlformats-officedocument.drawingml.chart+xml"/>
  <Override PartName="/ppt/charts/chart358.xml" ContentType="application/vnd.openxmlformats-officedocument.drawingml.chart+xml"/>
  <Override PartName="/ppt/charts/chart3580.xml" ContentType="application/vnd.openxmlformats-officedocument.drawingml.chart+xml"/>
  <Override PartName="/ppt/charts/chart3581.xml" ContentType="application/vnd.openxmlformats-officedocument.drawingml.chart+xml"/>
  <Override PartName="/ppt/charts/chart3582.xml" ContentType="application/vnd.openxmlformats-officedocument.drawingml.chart+xml"/>
  <Override PartName="/ppt/charts/chart3583.xml" ContentType="application/vnd.openxmlformats-officedocument.drawingml.chart+xml"/>
  <Override PartName="/ppt/charts/chart3584.xml" ContentType="application/vnd.openxmlformats-officedocument.drawingml.chart+xml"/>
  <Override PartName="/ppt/charts/chart3585.xml" ContentType="application/vnd.openxmlformats-officedocument.drawingml.chart+xml"/>
  <Override PartName="/ppt/charts/chart3586.xml" ContentType="application/vnd.openxmlformats-officedocument.drawingml.chart+xml"/>
  <Override PartName="/ppt/charts/chart3587.xml" ContentType="application/vnd.openxmlformats-officedocument.drawingml.chart+xml"/>
  <Override PartName="/ppt/charts/chart3588.xml" ContentType="application/vnd.openxmlformats-officedocument.drawingml.chart+xml"/>
  <Override PartName="/ppt/charts/chart3589.xml" ContentType="application/vnd.openxmlformats-officedocument.drawingml.chart+xml"/>
  <Override PartName="/ppt/charts/chart359.xml" ContentType="application/vnd.openxmlformats-officedocument.drawingml.chart+xml"/>
  <Override PartName="/ppt/charts/chart3590.xml" ContentType="application/vnd.openxmlformats-officedocument.drawingml.chart+xml"/>
  <Override PartName="/ppt/charts/chart3591.xml" ContentType="application/vnd.openxmlformats-officedocument.drawingml.chart+xml"/>
  <Override PartName="/ppt/charts/chart3592.xml" ContentType="application/vnd.openxmlformats-officedocument.drawingml.chart+xml"/>
  <Override PartName="/ppt/charts/chart3593.xml" ContentType="application/vnd.openxmlformats-officedocument.drawingml.chart+xml"/>
  <Override PartName="/ppt/charts/chart3594.xml" ContentType="application/vnd.openxmlformats-officedocument.drawingml.chart+xml"/>
  <Override PartName="/ppt/charts/chart3595.xml" ContentType="application/vnd.openxmlformats-officedocument.drawingml.chart+xml"/>
  <Override PartName="/ppt/charts/chart3596.xml" ContentType="application/vnd.openxmlformats-officedocument.drawingml.chart+xml"/>
  <Override PartName="/ppt/charts/chart3597.xml" ContentType="application/vnd.openxmlformats-officedocument.drawingml.chart+xml"/>
  <Override PartName="/ppt/charts/chart3598.xml" ContentType="application/vnd.openxmlformats-officedocument.drawingml.chart+xml"/>
  <Override PartName="/ppt/charts/chart359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00.xml" ContentType="application/vnd.openxmlformats-officedocument.drawingml.chart+xml"/>
  <Override PartName="/ppt/charts/chart3601.xml" ContentType="application/vnd.openxmlformats-officedocument.drawingml.chart+xml"/>
  <Override PartName="/ppt/charts/chart3602.xml" ContentType="application/vnd.openxmlformats-officedocument.drawingml.chart+xml"/>
  <Override PartName="/ppt/charts/chart3603.xml" ContentType="application/vnd.openxmlformats-officedocument.drawingml.chart+xml"/>
  <Override PartName="/ppt/charts/chart3604.xml" ContentType="application/vnd.openxmlformats-officedocument.drawingml.chart+xml"/>
  <Override PartName="/ppt/charts/chart3605.xml" ContentType="application/vnd.openxmlformats-officedocument.drawingml.chart+xml"/>
  <Override PartName="/ppt/charts/chart3606.xml" ContentType="application/vnd.openxmlformats-officedocument.drawingml.chart+xml"/>
  <Override PartName="/ppt/charts/chart3607.xml" ContentType="application/vnd.openxmlformats-officedocument.drawingml.chart+xml"/>
  <Override PartName="/ppt/charts/chart3608.xml" ContentType="application/vnd.openxmlformats-officedocument.drawingml.chart+xml"/>
  <Override PartName="/ppt/charts/chart3609.xml" ContentType="application/vnd.openxmlformats-officedocument.drawingml.chart+xml"/>
  <Override PartName="/ppt/charts/chart361.xml" ContentType="application/vnd.openxmlformats-officedocument.drawingml.chart+xml"/>
  <Override PartName="/ppt/charts/chart3610.xml" ContentType="application/vnd.openxmlformats-officedocument.drawingml.chart+xml"/>
  <Override PartName="/ppt/charts/chart3611.xml" ContentType="application/vnd.openxmlformats-officedocument.drawingml.chart+xml"/>
  <Override PartName="/ppt/charts/chart3612.xml" ContentType="application/vnd.openxmlformats-officedocument.drawingml.chart+xml"/>
  <Override PartName="/ppt/charts/chart3613.xml" ContentType="application/vnd.openxmlformats-officedocument.drawingml.chart+xml"/>
  <Override PartName="/ppt/charts/chart3614.xml" ContentType="application/vnd.openxmlformats-officedocument.drawingml.chart+xml"/>
  <Override PartName="/ppt/charts/chart3615.xml" ContentType="application/vnd.openxmlformats-officedocument.drawingml.chart+xml"/>
  <Override PartName="/ppt/charts/chart3616.xml" ContentType="application/vnd.openxmlformats-officedocument.drawingml.chart+xml"/>
  <Override PartName="/ppt/charts/chart3617.xml" ContentType="application/vnd.openxmlformats-officedocument.drawingml.chart+xml"/>
  <Override PartName="/ppt/charts/chart3618.xml" ContentType="application/vnd.openxmlformats-officedocument.drawingml.chart+xml"/>
  <Override PartName="/ppt/charts/chart3619.xml" ContentType="application/vnd.openxmlformats-officedocument.drawingml.chart+xml"/>
  <Override PartName="/ppt/charts/chart362.xml" ContentType="application/vnd.openxmlformats-officedocument.drawingml.chart+xml"/>
  <Override PartName="/ppt/charts/chart3620.xml" ContentType="application/vnd.openxmlformats-officedocument.drawingml.chart+xml"/>
  <Override PartName="/ppt/charts/chart3621.xml" ContentType="application/vnd.openxmlformats-officedocument.drawingml.chart+xml"/>
  <Override PartName="/ppt/charts/chart3622.xml" ContentType="application/vnd.openxmlformats-officedocument.drawingml.chart+xml"/>
  <Override PartName="/ppt/charts/chart3623.xml" ContentType="application/vnd.openxmlformats-officedocument.drawingml.chart+xml"/>
  <Override PartName="/ppt/charts/chart3624.xml" ContentType="application/vnd.openxmlformats-officedocument.drawingml.chart+xml"/>
  <Override PartName="/ppt/charts/chart3625.xml" ContentType="application/vnd.openxmlformats-officedocument.drawingml.chart+xml"/>
  <Override PartName="/ppt/charts/chart3626.xml" ContentType="application/vnd.openxmlformats-officedocument.drawingml.chart+xml"/>
  <Override PartName="/ppt/charts/chart3627.xml" ContentType="application/vnd.openxmlformats-officedocument.drawingml.chart+xml"/>
  <Override PartName="/ppt/charts/chart3628.xml" ContentType="application/vnd.openxmlformats-officedocument.drawingml.chart+xml"/>
  <Override PartName="/ppt/charts/chart3629.xml" ContentType="application/vnd.openxmlformats-officedocument.drawingml.chart+xml"/>
  <Override PartName="/ppt/charts/chart363.xml" ContentType="application/vnd.openxmlformats-officedocument.drawingml.chart+xml"/>
  <Override PartName="/ppt/charts/chart3630.xml" ContentType="application/vnd.openxmlformats-officedocument.drawingml.chart+xml"/>
  <Override PartName="/ppt/charts/chart3631.xml" ContentType="application/vnd.openxmlformats-officedocument.drawingml.chart+xml"/>
  <Override PartName="/ppt/charts/chart3632.xml" ContentType="application/vnd.openxmlformats-officedocument.drawingml.chart+xml"/>
  <Override PartName="/ppt/charts/chart3633.xml" ContentType="application/vnd.openxmlformats-officedocument.drawingml.chart+xml"/>
  <Override PartName="/ppt/charts/chart3634.xml" ContentType="application/vnd.openxmlformats-officedocument.drawingml.chart+xml"/>
  <Override PartName="/ppt/charts/chart3635.xml" ContentType="application/vnd.openxmlformats-officedocument.drawingml.chart+xml"/>
  <Override PartName="/ppt/charts/chart3636.xml" ContentType="application/vnd.openxmlformats-officedocument.drawingml.chart+xml"/>
  <Override PartName="/ppt/charts/chart3637.xml" ContentType="application/vnd.openxmlformats-officedocument.drawingml.chart+xml"/>
  <Override PartName="/ppt/charts/chart3638.xml" ContentType="application/vnd.openxmlformats-officedocument.drawingml.chart+xml"/>
  <Override PartName="/ppt/charts/chart3639.xml" ContentType="application/vnd.openxmlformats-officedocument.drawingml.chart+xml"/>
  <Override PartName="/ppt/charts/chart364.xml" ContentType="application/vnd.openxmlformats-officedocument.drawingml.chart+xml"/>
  <Override PartName="/ppt/charts/chart3640.xml" ContentType="application/vnd.openxmlformats-officedocument.drawingml.chart+xml"/>
  <Override PartName="/ppt/charts/chart3641.xml" ContentType="application/vnd.openxmlformats-officedocument.drawingml.chart+xml"/>
  <Override PartName="/ppt/charts/chart3642.xml" ContentType="application/vnd.openxmlformats-officedocument.drawingml.chart+xml"/>
  <Override PartName="/ppt/charts/chart3643.xml" ContentType="application/vnd.openxmlformats-officedocument.drawingml.chart+xml"/>
  <Override PartName="/ppt/charts/chart3644.xml" ContentType="application/vnd.openxmlformats-officedocument.drawingml.chart+xml"/>
  <Override PartName="/ppt/charts/chart3645.xml" ContentType="application/vnd.openxmlformats-officedocument.drawingml.chart+xml"/>
  <Override PartName="/ppt/charts/chart3646.xml" ContentType="application/vnd.openxmlformats-officedocument.drawingml.chart+xml"/>
  <Override PartName="/ppt/charts/chart3647.xml" ContentType="application/vnd.openxmlformats-officedocument.drawingml.chart+xml"/>
  <Override PartName="/ppt/charts/chart3648.xml" ContentType="application/vnd.openxmlformats-officedocument.drawingml.chart+xml"/>
  <Override PartName="/ppt/charts/chart3649.xml" ContentType="application/vnd.openxmlformats-officedocument.drawingml.chart+xml"/>
  <Override PartName="/ppt/charts/chart365.xml" ContentType="application/vnd.openxmlformats-officedocument.drawingml.chart+xml"/>
  <Override PartName="/ppt/charts/chart3650.xml" ContentType="application/vnd.openxmlformats-officedocument.drawingml.chart+xml"/>
  <Override PartName="/ppt/charts/chart3651.xml" ContentType="application/vnd.openxmlformats-officedocument.drawingml.chart+xml"/>
  <Override PartName="/ppt/charts/chart3652.xml" ContentType="application/vnd.openxmlformats-officedocument.drawingml.chart+xml"/>
  <Override PartName="/ppt/charts/chart3653.xml" ContentType="application/vnd.openxmlformats-officedocument.drawingml.chart+xml"/>
  <Override PartName="/ppt/charts/chart3654.xml" ContentType="application/vnd.openxmlformats-officedocument.drawingml.chart+xml"/>
  <Override PartName="/ppt/charts/chart3655.xml" ContentType="application/vnd.openxmlformats-officedocument.drawingml.chart+xml"/>
  <Override PartName="/ppt/charts/chart3656.xml" ContentType="application/vnd.openxmlformats-officedocument.drawingml.chart+xml"/>
  <Override PartName="/ppt/charts/chart3657.xml" ContentType="application/vnd.openxmlformats-officedocument.drawingml.chart+xml"/>
  <Override PartName="/ppt/charts/chart3658.xml" ContentType="application/vnd.openxmlformats-officedocument.drawingml.chart+xml"/>
  <Override PartName="/ppt/charts/chart3659.xml" ContentType="application/vnd.openxmlformats-officedocument.drawingml.chart+xml"/>
  <Override PartName="/ppt/charts/chart366.xml" ContentType="application/vnd.openxmlformats-officedocument.drawingml.chart+xml"/>
  <Override PartName="/ppt/charts/chart3660.xml" ContentType="application/vnd.openxmlformats-officedocument.drawingml.chart+xml"/>
  <Override PartName="/ppt/charts/chart3661.xml" ContentType="application/vnd.openxmlformats-officedocument.drawingml.chart+xml"/>
  <Override PartName="/ppt/charts/chart3662.xml" ContentType="application/vnd.openxmlformats-officedocument.drawingml.chart+xml"/>
  <Override PartName="/ppt/charts/chart3663.xml" ContentType="application/vnd.openxmlformats-officedocument.drawingml.chart+xml"/>
  <Override PartName="/ppt/charts/chart3664.xml" ContentType="application/vnd.openxmlformats-officedocument.drawingml.chart+xml"/>
  <Override PartName="/ppt/charts/chart3665.xml" ContentType="application/vnd.openxmlformats-officedocument.drawingml.chart+xml"/>
  <Override PartName="/ppt/charts/chart3666.xml" ContentType="application/vnd.openxmlformats-officedocument.drawingml.chart+xml"/>
  <Override PartName="/ppt/charts/chart3667.xml" ContentType="application/vnd.openxmlformats-officedocument.drawingml.chart+xml"/>
  <Override PartName="/ppt/charts/chart3668.xml" ContentType="application/vnd.openxmlformats-officedocument.drawingml.chart+xml"/>
  <Override PartName="/ppt/charts/chart3669.xml" ContentType="application/vnd.openxmlformats-officedocument.drawingml.chart+xml"/>
  <Override PartName="/ppt/charts/chart367.xml" ContentType="application/vnd.openxmlformats-officedocument.drawingml.chart+xml"/>
  <Override PartName="/ppt/charts/chart3670.xml" ContentType="application/vnd.openxmlformats-officedocument.drawingml.chart+xml"/>
  <Override PartName="/ppt/charts/chart3671.xml" ContentType="application/vnd.openxmlformats-officedocument.drawingml.chart+xml"/>
  <Override PartName="/ppt/charts/chart3672.xml" ContentType="application/vnd.openxmlformats-officedocument.drawingml.chart+xml"/>
  <Override PartName="/ppt/charts/chart3673.xml" ContentType="application/vnd.openxmlformats-officedocument.drawingml.chart+xml"/>
  <Override PartName="/ppt/charts/chart3674.xml" ContentType="application/vnd.openxmlformats-officedocument.drawingml.chart+xml"/>
  <Override PartName="/ppt/charts/chart3675.xml" ContentType="application/vnd.openxmlformats-officedocument.drawingml.chart+xml"/>
  <Override PartName="/ppt/charts/chart3676.xml" ContentType="application/vnd.openxmlformats-officedocument.drawingml.chart+xml"/>
  <Override PartName="/ppt/charts/chart3677.xml" ContentType="application/vnd.openxmlformats-officedocument.drawingml.chart+xml"/>
  <Override PartName="/ppt/charts/chart3678.xml" ContentType="application/vnd.openxmlformats-officedocument.drawingml.chart+xml"/>
  <Override PartName="/ppt/charts/chart3679.xml" ContentType="application/vnd.openxmlformats-officedocument.drawingml.chart+xml"/>
  <Override PartName="/ppt/charts/chart368.xml" ContentType="application/vnd.openxmlformats-officedocument.drawingml.chart+xml"/>
  <Override PartName="/ppt/charts/chart3680.xml" ContentType="application/vnd.openxmlformats-officedocument.drawingml.chart+xml"/>
  <Override PartName="/ppt/charts/chart3681.xml" ContentType="application/vnd.openxmlformats-officedocument.drawingml.chart+xml"/>
  <Override PartName="/ppt/charts/chart3682.xml" ContentType="application/vnd.openxmlformats-officedocument.drawingml.chart+xml"/>
  <Override PartName="/ppt/charts/chart3683.xml" ContentType="application/vnd.openxmlformats-officedocument.drawingml.chart+xml"/>
  <Override PartName="/ppt/charts/chart3684.xml" ContentType="application/vnd.openxmlformats-officedocument.drawingml.chart+xml"/>
  <Override PartName="/ppt/charts/chart3685.xml" ContentType="application/vnd.openxmlformats-officedocument.drawingml.chart+xml"/>
  <Override PartName="/ppt/charts/chart3686.xml" ContentType="application/vnd.openxmlformats-officedocument.drawingml.chart+xml"/>
  <Override PartName="/ppt/charts/chart3687.xml" ContentType="application/vnd.openxmlformats-officedocument.drawingml.chart+xml"/>
  <Override PartName="/ppt/charts/chart3688.xml" ContentType="application/vnd.openxmlformats-officedocument.drawingml.chart+xml"/>
  <Override PartName="/ppt/charts/chart3689.xml" ContentType="application/vnd.openxmlformats-officedocument.drawingml.chart+xml"/>
  <Override PartName="/ppt/charts/chart369.xml" ContentType="application/vnd.openxmlformats-officedocument.drawingml.chart+xml"/>
  <Override PartName="/ppt/charts/chart3690.xml" ContentType="application/vnd.openxmlformats-officedocument.drawingml.chart+xml"/>
  <Override PartName="/ppt/charts/chart3691.xml" ContentType="application/vnd.openxmlformats-officedocument.drawingml.chart+xml"/>
  <Override PartName="/ppt/charts/chart3692.xml" ContentType="application/vnd.openxmlformats-officedocument.drawingml.chart+xml"/>
  <Override PartName="/ppt/charts/chart3693.xml" ContentType="application/vnd.openxmlformats-officedocument.drawingml.chart+xml"/>
  <Override PartName="/ppt/charts/chart3694.xml" ContentType="application/vnd.openxmlformats-officedocument.drawingml.chart+xml"/>
  <Override PartName="/ppt/charts/chart3695.xml" ContentType="application/vnd.openxmlformats-officedocument.drawingml.chart+xml"/>
  <Override PartName="/ppt/charts/chart3696.xml" ContentType="application/vnd.openxmlformats-officedocument.drawingml.chart+xml"/>
  <Override PartName="/ppt/charts/chart3697.xml" ContentType="application/vnd.openxmlformats-officedocument.drawingml.chart+xml"/>
  <Override PartName="/ppt/charts/chart3698.xml" ContentType="application/vnd.openxmlformats-officedocument.drawingml.chart+xml"/>
  <Override PartName="/ppt/charts/chart369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00.xml" ContentType="application/vnd.openxmlformats-officedocument.drawingml.chart+xml"/>
  <Override PartName="/ppt/charts/chart3701.xml" ContentType="application/vnd.openxmlformats-officedocument.drawingml.chart+xml"/>
  <Override PartName="/ppt/charts/chart3702.xml" ContentType="application/vnd.openxmlformats-officedocument.drawingml.chart+xml"/>
  <Override PartName="/ppt/charts/chart3703.xml" ContentType="application/vnd.openxmlformats-officedocument.drawingml.chart+xml"/>
  <Override PartName="/ppt/charts/chart3704.xml" ContentType="application/vnd.openxmlformats-officedocument.drawingml.chart+xml"/>
  <Override PartName="/ppt/charts/chart3705.xml" ContentType="application/vnd.openxmlformats-officedocument.drawingml.chart+xml"/>
  <Override PartName="/ppt/charts/chart3706.xml" ContentType="application/vnd.openxmlformats-officedocument.drawingml.chart+xml"/>
  <Override PartName="/ppt/charts/chart3707.xml" ContentType="application/vnd.openxmlformats-officedocument.drawingml.chart+xml"/>
  <Override PartName="/ppt/charts/chart3708.xml" ContentType="application/vnd.openxmlformats-officedocument.drawingml.chart+xml"/>
  <Override PartName="/ppt/charts/chart3709.xml" ContentType="application/vnd.openxmlformats-officedocument.drawingml.chart+xml"/>
  <Override PartName="/ppt/charts/chart371.xml" ContentType="application/vnd.openxmlformats-officedocument.drawingml.chart+xml"/>
  <Override PartName="/ppt/charts/chart3710.xml" ContentType="application/vnd.openxmlformats-officedocument.drawingml.chart+xml"/>
  <Override PartName="/ppt/charts/chart3711.xml" ContentType="application/vnd.openxmlformats-officedocument.drawingml.chart+xml"/>
  <Override PartName="/ppt/charts/chart3712.xml" ContentType="application/vnd.openxmlformats-officedocument.drawingml.chart+xml"/>
  <Override PartName="/ppt/charts/chart3713.xml" ContentType="application/vnd.openxmlformats-officedocument.drawingml.chart+xml"/>
  <Override PartName="/ppt/charts/chart3714.xml" ContentType="application/vnd.openxmlformats-officedocument.drawingml.chart+xml"/>
  <Override PartName="/ppt/charts/chart3715.xml" ContentType="application/vnd.openxmlformats-officedocument.drawingml.chart+xml"/>
  <Override PartName="/ppt/charts/chart3716.xml" ContentType="application/vnd.openxmlformats-officedocument.drawingml.chart+xml"/>
  <Override PartName="/ppt/charts/chart3717.xml" ContentType="application/vnd.openxmlformats-officedocument.drawingml.chart+xml"/>
  <Override PartName="/ppt/charts/chart3718.xml" ContentType="application/vnd.openxmlformats-officedocument.drawingml.chart+xml"/>
  <Override PartName="/ppt/charts/chart3719.xml" ContentType="application/vnd.openxmlformats-officedocument.drawingml.chart+xml"/>
  <Override PartName="/ppt/charts/chart372.xml" ContentType="application/vnd.openxmlformats-officedocument.drawingml.chart+xml"/>
  <Override PartName="/ppt/charts/chart3720.xml" ContentType="application/vnd.openxmlformats-officedocument.drawingml.chart+xml"/>
  <Override PartName="/ppt/charts/chart3721.xml" ContentType="application/vnd.openxmlformats-officedocument.drawingml.chart+xml"/>
  <Override PartName="/ppt/charts/chart3722.xml" ContentType="application/vnd.openxmlformats-officedocument.drawingml.chart+xml"/>
  <Override PartName="/ppt/charts/chart3723.xml" ContentType="application/vnd.openxmlformats-officedocument.drawingml.chart+xml"/>
  <Override PartName="/ppt/charts/chart3724.xml" ContentType="application/vnd.openxmlformats-officedocument.drawingml.chart+xml"/>
  <Override PartName="/ppt/charts/chart3725.xml" ContentType="application/vnd.openxmlformats-officedocument.drawingml.chart+xml"/>
  <Override PartName="/ppt/charts/chart3726.xml" ContentType="application/vnd.openxmlformats-officedocument.drawingml.chart+xml"/>
  <Override PartName="/ppt/charts/chart3727.xml" ContentType="application/vnd.openxmlformats-officedocument.drawingml.chart+xml"/>
  <Override PartName="/ppt/charts/chart3728.xml" ContentType="application/vnd.openxmlformats-officedocument.drawingml.chart+xml"/>
  <Override PartName="/ppt/charts/chart3729.xml" ContentType="application/vnd.openxmlformats-officedocument.drawingml.chart+xml"/>
  <Override PartName="/ppt/charts/chart373.xml" ContentType="application/vnd.openxmlformats-officedocument.drawingml.chart+xml"/>
  <Override PartName="/ppt/charts/chart3730.xml" ContentType="application/vnd.openxmlformats-officedocument.drawingml.chart+xml"/>
  <Override PartName="/ppt/charts/chart3731.xml" ContentType="application/vnd.openxmlformats-officedocument.drawingml.chart+xml"/>
  <Override PartName="/ppt/charts/chart3732.xml" ContentType="application/vnd.openxmlformats-officedocument.drawingml.chart+xml"/>
  <Override PartName="/ppt/charts/chart3733.xml" ContentType="application/vnd.openxmlformats-officedocument.drawingml.chart+xml"/>
  <Override PartName="/ppt/charts/chart3734.xml" ContentType="application/vnd.openxmlformats-officedocument.drawingml.chart+xml"/>
  <Override PartName="/ppt/charts/chart3735.xml" ContentType="application/vnd.openxmlformats-officedocument.drawingml.chart+xml"/>
  <Override PartName="/ppt/charts/chart3736.xml" ContentType="application/vnd.openxmlformats-officedocument.drawingml.chart+xml"/>
  <Override PartName="/ppt/charts/chart3737.xml" ContentType="application/vnd.openxmlformats-officedocument.drawingml.chart+xml"/>
  <Override PartName="/ppt/charts/chart3738.xml" ContentType="application/vnd.openxmlformats-officedocument.drawingml.chart+xml"/>
  <Override PartName="/ppt/charts/chart3739.xml" ContentType="application/vnd.openxmlformats-officedocument.drawingml.chart+xml"/>
  <Override PartName="/ppt/charts/chart374.xml" ContentType="application/vnd.openxmlformats-officedocument.drawingml.chart+xml"/>
  <Override PartName="/ppt/charts/chart3740.xml" ContentType="application/vnd.openxmlformats-officedocument.drawingml.chart+xml"/>
  <Override PartName="/ppt/charts/chart3741.xml" ContentType="application/vnd.openxmlformats-officedocument.drawingml.chart+xml"/>
  <Override PartName="/ppt/charts/chart3742.xml" ContentType="application/vnd.openxmlformats-officedocument.drawingml.chart+xml"/>
  <Override PartName="/ppt/charts/chart3743.xml" ContentType="application/vnd.openxmlformats-officedocument.drawingml.chart+xml"/>
  <Override PartName="/ppt/charts/chart3744.xml" ContentType="application/vnd.openxmlformats-officedocument.drawingml.chart+xml"/>
  <Override PartName="/ppt/charts/chart3745.xml" ContentType="application/vnd.openxmlformats-officedocument.drawingml.chart+xml"/>
  <Override PartName="/ppt/charts/chart3746.xml" ContentType="application/vnd.openxmlformats-officedocument.drawingml.chart+xml"/>
  <Override PartName="/ppt/charts/chart3747.xml" ContentType="application/vnd.openxmlformats-officedocument.drawingml.chart+xml"/>
  <Override PartName="/ppt/charts/chart3748.xml" ContentType="application/vnd.openxmlformats-officedocument.drawingml.chart+xml"/>
  <Override PartName="/ppt/charts/chart3749.xml" ContentType="application/vnd.openxmlformats-officedocument.drawingml.chart+xml"/>
  <Override PartName="/ppt/charts/chart375.xml" ContentType="application/vnd.openxmlformats-officedocument.drawingml.chart+xml"/>
  <Override PartName="/ppt/charts/chart3750.xml" ContentType="application/vnd.openxmlformats-officedocument.drawingml.chart+xml"/>
  <Override PartName="/ppt/charts/chart3751.xml" ContentType="application/vnd.openxmlformats-officedocument.drawingml.chart+xml"/>
  <Override PartName="/ppt/charts/chart3752.xml" ContentType="application/vnd.openxmlformats-officedocument.drawingml.chart+xml"/>
  <Override PartName="/ppt/charts/chart3753.xml" ContentType="application/vnd.openxmlformats-officedocument.drawingml.chart+xml"/>
  <Override PartName="/ppt/charts/chart3754.xml" ContentType="application/vnd.openxmlformats-officedocument.drawingml.chart+xml"/>
  <Override PartName="/ppt/charts/chart3755.xml" ContentType="application/vnd.openxmlformats-officedocument.drawingml.chart+xml"/>
  <Override PartName="/ppt/charts/chart3756.xml" ContentType="application/vnd.openxmlformats-officedocument.drawingml.chart+xml"/>
  <Override PartName="/ppt/charts/chart3757.xml" ContentType="application/vnd.openxmlformats-officedocument.drawingml.chart+xml"/>
  <Override PartName="/ppt/charts/chart3758.xml" ContentType="application/vnd.openxmlformats-officedocument.drawingml.chart+xml"/>
  <Override PartName="/ppt/charts/chart3759.xml" ContentType="application/vnd.openxmlformats-officedocument.drawingml.chart+xml"/>
  <Override PartName="/ppt/charts/chart376.xml" ContentType="application/vnd.openxmlformats-officedocument.drawingml.chart+xml"/>
  <Override PartName="/ppt/charts/chart3760.xml" ContentType="application/vnd.openxmlformats-officedocument.drawingml.chart+xml"/>
  <Override PartName="/ppt/charts/chart3761.xml" ContentType="application/vnd.openxmlformats-officedocument.drawingml.chart+xml"/>
  <Override PartName="/ppt/charts/chart3762.xml" ContentType="application/vnd.openxmlformats-officedocument.drawingml.chart+xml"/>
  <Override PartName="/ppt/charts/chart3763.xml" ContentType="application/vnd.openxmlformats-officedocument.drawingml.chart+xml"/>
  <Override PartName="/ppt/charts/chart3764.xml" ContentType="application/vnd.openxmlformats-officedocument.drawingml.chart+xml"/>
  <Override PartName="/ppt/charts/chart3765.xml" ContentType="application/vnd.openxmlformats-officedocument.drawingml.chart+xml"/>
  <Override PartName="/ppt/charts/chart3766.xml" ContentType="application/vnd.openxmlformats-officedocument.drawingml.chart+xml"/>
  <Override PartName="/ppt/charts/chart3767.xml" ContentType="application/vnd.openxmlformats-officedocument.drawingml.chart+xml"/>
  <Override PartName="/ppt/charts/chart3768.xml" ContentType="application/vnd.openxmlformats-officedocument.drawingml.chart+xml"/>
  <Override PartName="/ppt/charts/chart3769.xml" ContentType="application/vnd.openxmlformats-officedocument.drawingml.chart+xml"/>
  <Override PartName="/ppt/charts/chart377.xml" ContentType="application/vnd.openxmlformats-officedocument.drawingml.chart+xml"/>
  <Override PartName="/ppt/charts/chart3770.xml" ContentType="application/vnd.openxmlformats-officedocument.drawingml.chart+xml"/>
  <Override PartName="/ppt/charts/chart3771.xml" ContentType="application/vnd.openxmlformats-officedocument.drawingml.chart+xml"/>
  <Override PartName="/ppt/charts/chart3772.xml" ContentType="application/vnd.openxmlformats-officedocument.drawingml.chart+xml"/>
  <Override PartName="/ppt/charts/chart3773.xml" ContentType="application/vnd.openxmlformats-officedocument.drawingml.chart+xml"/>
  <Override PartName="/ppt/charts/chart3774.xml" ContentType="application/vnd.openxmlformats-officedocument.drawingml.chart+xml"/>
  <Override PartName="/ppt/charts/chart3775.xml" ContentType="application/vnd.openxmlformats-officedocument.drawingml.chart+xml"/>
  <Override PartName="/ppt/charts/chart3776.xml" ContentType="application/vnd.openxmlformats-officedocument.drawingml.chart+xml"/>
  <Override PartName="/ppt/charts/chart3777.xml" ContentType="application/vnd.openxmlformats-officedocument.drawingml.chart+xml"/>
  <Override PartName="/ppt/charts/chart3778.xml" ContentType="application/vnd.openxmlformats-officedocument.drawingml.chart+xml"/>
  <Override PartName="/ppt/charts/chart3779.xml" ContentType="application/vnd.openxmlformats-officedocument.drawingml.chart+xml"/>
  <Override PartName="/ppt/charts/chart378.xml" ContentType="application/vnd.openxmlformats-officedocument.drawingml.chart+xml"/>
  <Override PartName="/ppt/charts/chart3780.xml" ContentType="application/vnd.openxmlformats-officedocument.drawingml.chart+xml"/>
  <Override PartName="/ppt/charts/chart3781.xml" ContentType="application/vnd.openxmlformats-officedocument.drawingml.chart+xml"/>
  <Override PartName="/ppt/charts/chart3782.xml" ContentType="application/vnd.openxmlformats-officedocument.drawingml.chart+xml"/>
  <Override PartName="/ppt/charts/chart3783.xml" ContentType="application/vnd.openxmlformats-officedocument.drawingml.chart+xml"/>
  <Override PartName="/ppt/charts/chart3784.xml" ContentType="application/vnd.openxmlformats-officedocument.drawingml.chart+xml"/>
  <Override PartName="/ppt/charts/chart3785.xml" ContentType="application/vnd.openxmlformats-officedocument.drawingml.chart+xml"/>
  <Override PartName="/ppt/charts/chart3786.xml" ContentType="application/vnd.openxmlformats-officedocument.drawingml.chart+xml"/>
  <Override PartName="/ppt/charts/chart3787.xml" ContentType="application/vnd.openxmlformats-officedocument.drawingml.chart+xml"/>
  <Override PartName="/ppt/charts/chart3788.xml" ContentType="application/vnd.openxmlformats-officedocument.drawingml.chart+xml"/>
  <Override PartName="/ppt/charts/chart3789.xml" ContentType="application/vnd.openxmlformats-officedocument.drawingml.chart+xml"/>
  <Override PartName="/ppt/charts/chart379.xml" ContentType="application/vnd.openxmlformats-officedocument.drawingml.chart+xml"/>
  <Override PartName="/ppt/charts/chart3790.xml" ContentType="application/vnd.openxmlformats-officedocument.drawingml.chart+xml"/>
  <Override PartName="/ppt/charts/chart3791.xml" ContentType="application/vnd.openxmlformats-officedocument.drawingml.chart+xml"/>
  <Override PartName="/ppt/charts/chart3792.xml" ContentType="application/vnd.openxmlformats-officedocument.drawingml.chart+xml"/>
  <Override PartName="/ppt/charts/chart3793.xml" ContentType="application/vnd.openxmlformats-officedocument.drawingml.chart+xml"/>
  <Override PartName="/ppt/charts/chart3794.xml" ContentType="application/vnd.openxmlformats-officedocument.drawingml.chart+xml"/>
  <Override PartName="/ppt/charts/chart3795.xml" ContentType="application/vnd.openxmlformats-officedocument.drawingml.chart+xml"/>
  <Override PartName="/ppt/charts/chart3796.xml" ContentType="application/vnd.openxmlformats-officedocument.drawingml.chart+xml"/>
  <Override PartName="/ppt/charts/chart3797.xml" ContentType="application/vnd.openxmlformats-officedocument.drawingml.chart+xml"/>
  <Override PartName="/ppt/charts/chart3798.xml" ContentType="application/vnd.openxmlformats-officedocument.drawingml.chart+xml"/>
  <Override PartName="/ppt/charts/chart379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00.xml" ContentType="application/vnd.openxmlformats-officedocument.drawingml.chart+xml"/>
  <Override PartName="/ppt/charts/chart3801.xml" ContentType="application/vnd.openxmlformats-officedocument.drawingml.chart+xml"/>
  <Override PartName="/ppt/charts/chart3802.xml" ContentType="application/vnd.openxmlformats-officedocument.drawingml.chart+xml"/>
  <Override PartName="/ppt/charts/chart3803.xml" ContentType="application/vnd.openxmlformats-officedocument.drawingml.chart+xml"/>
  <Override PartName="/ppt/charts/chart3804.xml" ContentType="application/vnd.openxmlformats-officedocument.drawingml.chart+xml"/>
  <Override PartName="/ppt/charts/chart3805.xml" ContentType="application/vnd.openxmlformats-officedocument.drawingml.chart+xml"/>
  <Override PartName="/ppt/charts/chart3806.xml" ContentType="application/vnd.openxmlformats-officedocument.drawingml.chart+xml"/>
  <Override PartName="/ppt/charts/chart3807.xml" ContentType="application/vnd.openxmlformats-officedocument.drawingml.chart+xml"/>
  <Override PartName="/ppt/charts/chart3808.xml" ContentType="application/vnd.openxmlformats-officedocument.drawingml.chart+xml"/>
  <Override PartName="/ppt/charts/chart3809.xml" ContentType="application/vnd.openxmlformats-officedocument.drawingml.chart+xml"/>
  <Override PartName="/ppt/charts/chart381.xml" ContentType="application/vnd.openxmlformats-officedocument.drawingml.chart+xml"/>
  <Override PartName="/ppt/charts/chart3810.xml" ContentType="application/vnd.openxmlformats-officedocument.drawingml.chart+xml"/>
  <Override PartName="/ppt/charts/chart3811.xml" ContentType="application/vnd.openxmlformats-officedocument.drawingml.chart+xml"/>
  <Override PartName="/ppt/charts/chart3812.xml" ContentType="application/vnd.openxmlformats-officedocument.drawingml.chart+xml"/>
  <Override PartName="/ppt/charts/chart3813.xml" ContentType="application/vnd.openxmlformats-officedocument.drawingml.chart+xml"/>
  <Override PartName="/ppt/charts/chart3814.xml" ContentType="application/vnd.openxmlformats-officedocument.drawingml.chart+xml"/>
  <Override PartName="/ppt/charts/chart3815.xml" ContentType="application/vnd.openxmlformats-officedocument.drawingml.chart+xml"/>
  <Override PartName="/ppt/charts/chart3816.xml" ContentType="application/vnd.openxmlformats-officedocument.drawingml.chart+xml"/>
  <Override PartName="/ppt/charts/chart3817.xml" ContentType="application/vnd.openxmlformats-officedocument.drawingml.chart+xml"/>
  <Override PartName="/ppt/charts/chart3818.xml" ContentType="application/vnd.openxmlformats-officedocument.drawingml.chart+xml"/>
  <Override PartName="/ppt/charts/chart3819.xml" ContentType="application/vnd.openxmlformats-officedocument.drawingml.chart+xml"/>
  <Override PartName="/ppt/charts/chart382.xml" ContentType="application/vnd.openxmlformats-officedocument.drawingml.chart+xml"/>
  <Override PartName="/ppt/charts/chart3820.xml" ContentType="application/vnd.openxmlformats-officedocument.drawingml.chart+xml"/>
  <Override PartName="/ppt/charts/chart3821.xml" ContentType="application/vnd.openxmlformats-officedocument.drawingml.chart+xml"/>
  <Override PartName="/ppt/charts/chart3822.xml" ContentType="application/vnd.openxmlformats-officedocument.drawingml.chart+xml"/>
  <Override PartName="/ppt/charts/chart3823.xml" ContentType="application/vnd.openxmlformats-officedocument.drawingml.chart+xml"/>
  <Override PartName="/ppt/charts/chart3824.xml" ContentType="application/vnd.openxmlformats-officedocument.drawingml.chart+xml"/>
  <Override PartName="/ppt/charts/chart3825.xml" ContentType="application/vnd.openxmlformats-officedocument.drawingml.chart+xml"/>
  <Override PartName="/ppt/charts/chart3826.xml" ContentType="application/vnd.openxmlformats-officedocument.drawingml.chart+xml"/>
  <Override PartName="/ppt/charts/chart3827.xml" ContentType="application/vnd.openxmlformats-officedocument.drawingml.chart+xml"/>
  <Override PartName="/ppt/charts/chart3828.xml" ContentType="application/vnd.openxmlformats-officedocument.drawingml.chart+xml"/>
  <Override PartName="/ppt/charts/chart3829.xml" ContentType="application/vnd.openxmlformats-officedocument.drawingml.chart+xml"/>
  <Override PartName="/ppt/charts/chart383.xml" ContentType="application/vnd.openxmlformats-officedocument.drawingml.chart+xml"/>
  <Override PartName="/ppt/charts/chart3830.xml" ContentType="application/vnd.openxmlformats-officedocument.drawingml.chart+xml"/>
  <Override PartName="/ppt/charts/chart3831.xml" ContentType="application/vnd.openxmlformats-officedocument.drawingml.chart+xml"/>
  <Override PartName="/ppt/charts/chart3832.xml" ContentType="application/vnd.openxmlformats-officedocument.drawingml.chart+xml"/>
  <Override PartName="/ppt/charts/chart3833.xml" ContentType="application/vnd.openxmlformats-officedocument.drawingml.chart+xml"/>
  <Override PartName="/ppt/charts/chart3834.xml" ContentType="application/vnd.openxmlformats-officedocument.drawingml.chart+xml"/>
  <Override PartName="/ppt/charts/chart3835.xml" ContentType="application/vnd.openxmlformats-officedocument.drawingml.chart+xml"/>
  <Override PartName="/ppt/charts/chart3836.xml" ContentType="application/vnd.openxmlformats-officedocument.drawingml.chart+xml"/>
  <Override PartName="/ppt/charts/chart3837.xml" ContentType="application/vnd.openxmlformats-officedocument.drawingml.chart+xml"/>
  <Override PartName="/ppt/charts/chart3838.xml" ContentType="application/vnd.openxmlformats-officedocument.drawingml.chart+xml"/>
  <Override PartName="/ppt/charts/chart3839.xml" ContentType="application/vnd.openxmlformats-officedocument.drawingml.chart+xml"/>
  <Override PartName="/ppt/charts/chart384.xml" ContentType="application/vnd.openxmlformats-officedocument.drawingml.chart+xml"/>
  <Override PartName="/ppt/charts/chart3840.xml" ContentType="application/vnd.openxmlformats-officedocument.drawingml.chart+xml"/>
  <Override PartName="/ppt/charts/chart3841.xml" ContentType="application/vnd.openxmlformats-officedocument.drawingml.chart+xml"/>
  <Override PartName="/ppt/charts/chart3842.xml" ContentType="application/vnd.openxmlformats-officedocument.drawingml.chart+xml"/>
  <Override PartName="/ppt/charts/chart3843.xml" ContentType="application/vnd.openxmlformats-officedocument.drawingml.chart+xml"/>
  <Override PartName="/ppt/charts/chart3844.xml" ContentType="application/vnd.openxmlformats-officedocument.drawingml.chart+xml"/>
  <Override PartName="/ppt/charts/chart3845.xml" ContentType="application/vnd.openxmlformats-officedocument.drawingml.chart+xml"/>
  <Override PartName="/ppt/charts/chart3846.xml" ContentType="application/vnd.openxmlformats-officedocument.drawingml.chart+xml"/>
  <Override PartName="/ppt/charts/chart3847.xml" ContentType="application/vnd.openxmlformats-officedocument.drawingml.chart+xml"/>
  <Override PartName="/ppt/charts/chart3848.xml" ContentType="application/vnd.openxmlformats-officedocument.drawingml.chart+xml"/>
  <Override PartName="/ppt/charts/chart3849.xml" ContentType="application/vnd.openxmlformats-officedocument.drawingml.chart+xml"/>
  <Override PartName="/ppt/charts/chart385.xml" ContentType="application/vnd.openxmlformats-officedocument.drawingml.chart+xml"/>
  <Override PartName="/ppt/charts/chart3850.xml" ContentType="application/vnd.openxmlformats-officedocument.drawingml.chart+xml"/>
  <Override PartName="/ppt/charts/chart3851.xml" ContentType="application/vnd.openxmlformats-officedocument.drawingml.chart+xml"/>
  <Override PartName="/ppt/charts/chart3852.xml" ContentType="application/vnd.openxmlformats-officedocument.drawingml.chart+xml"/>
  <Override PartName="/ppt/charts/chart3853.xml" ContentType="application/vnd.openxmlformats-officedocument.drawingml.chart+xml"/>
  <Override PartName="/ppt/charts/chart3854.xml" ContentType="application/vnd.openxmlformats-officedocument.drawingml.chart+xml"/>
  <Override PartName="/ppt/charts/chart3855.xml" ContentType="application/vnd.openxmlformats-officedocument.drawingml.chart+xml"/>
  <Override PartName="/ppt/charts/chart3856.xml" ContentType="application/vnd.openxmlformats-officedocument.drawingml.chart+xml"/>
  <Override PartName="/ppt/charts/chart3857.xml" ContentType="application/vnd.openxmlformats-officedocument.drawingml.chart+xml"/>
  <Override PartName="/ppt/charts/chart3858.xml" ContentType="application/vnd.openxmlformats-officedocument.drawingml.chart+xml"/>
  <Override PartName="/ppt/charts/chart3859.xml" ContentType="application/vnd.openxmlformats-officedocument.drawingml.chart+xml"/>
  <Override PartName="/ppt/charts/chart386.xml" ContentType="application/vnd.openxmlformats-officedocument.drawingml.chart+xml"/>
  <Override PartName="/ppt/charts/chart3860.xml" ContentType="application/vnd.openxmlformats-officedocument.drawingml.chart+xml"/>
  <Override PartName="/ppt/charts/chart3861.xml" ContentType="application/vnd.openxmlformats-officedocument.drawingml.chart+xml"/>
  <Override PartName="/ppt/charts/chart3862.xml" ContentType="application/vnd.openxmlformats-officedocument.drawingml.chart+xml"/>
  <Override PartName="/ppt/charts/chart3863.xml" ContentType="application/vnd.openxmlformats-officedocument.drawingml.chart+xml"/>
  <Override PartName="/ppt/charts/chart3864.xml" ContentType="application/vnd.openxmlformats-officedocument.drawingml.chart+xml"/>
  <Override PartName="/ppt/charts/chart3865.xml" ContentType="application/vnd.openxmlformats-officedocument.drawingml.chart+xml"/>
  <Override PartName="/ppt/charts/chart3866.xml" ContentType="application/vnd.openxmlformats-officedocument.drawingml.chart+xml"/>
  <Override PartName="/ppt/charts/chart3867.xml" ContentType="application/vnd.openxmlformats-officedocument.drawingml.chart+xml"/>
  <Override PartName="/ppt/charts/chart3868.xml" ContentType="application/vnd.openxmlformats-officedocument.drawingml.chart+xml"/>
  <Override PartName="/ppt/charts/chart3869.xml" ContentType="application/vnd.openxmlformats-officedocument.drawingml.chart+xml"/>
  <Override PartName="/ppt/charts/chart387.xml" ContentType="application/vnd.openxmlformats-officedocument.drawingml.chart+xml"/>
  <Override PartName="/ppt/charts/chart3870.xml" ContentType="application/vnd.openxmlformats-officedocument.drawingml.chart+xml"/>
  <Override PartName="/ppt/charts/chart3871.xml" ContentType="application/vnd.openxmlformats-officedocument.drawingml.chart+xml"/>
  <Override PartName="/ppt/charts/chart3872.xml" ContentType="application/vnd.openxmlformats-officedocument.drawingml.chart+xml"/>
  <Override PartName="/ppt/charts/chart3873.xml" ContentType="application/vnd.openxmlformats-officedocument.drawingml.chart+xml"/>
  <Override PartName="/ppt/charts/chart3874.xml" ContentType="application/vnd.openxmlformats-officedocument.drawingml.chart+xml"/>
  <Override PartName="/ppt/charts/chart3875.xml" ContentType="application/vnd.openxmlformats-officedocument.drawingml.chart+xml"/>
  <Override PartName="/ppt/charts/chart3876.xml" ContentType="application/vnd.openxmlformats-officedocument.drawingml.chart+xml"/>
  <Override PartName="/ppt/charts/chart3877.xml" ContentType="application/vnd.openxmlformats-officedocument.drawingml.chart+xml"/>
  <Override PartName="/ppt/charts/chart3878.xml" ContentType="application/vnd.openxmlformats-officedocument.drawingml.chart+xml"/>
  <Override PartName="/ppt/charts/chart3879.xml" ContentType="application/vnd.openxmlformats-officedocument.drawingml.chart+xml"/>
  <Override PartName="/ppt/charts/chart388.xml" ContentType="application/vnd.openxmlformats-officedocument.drawingml.chart+xml"/>
  <Override PartName="/ppt/charts/chart3880.xml" ContentType="application/vnd.openxmlformats-officedocument.drawingml.chart+xml"/>
  <Override PartName="/ppt/charts/chart3881.xml" ContentType="application/vnd.openxmlformats-officedocument.drawingml.chart+xml"/>
  <Override PartName="/ppt/charts/chart3882.xml" ContentType="application/vnd.openxmlformats-officedocument.drawingml.chart+xml"/>
  <Override PartName="/ppt/charts/chart3883.xml" ContentType="application/vnd.openxmlformats-officedocument.drawingml.chart+xml"/>
  <Override PartName="/ppt/charts/chart3884.xml" ContentType="application/vnd.openxmlformats-officedocument.drawingml.chart+xml"/>
  <Override PartName="/ppt/charts/chart3885.xml" ContentType="application/vnd.openxmlformats-officedocument.drawingml.chart+xml"/>
  <Override PartName="/ppt/charts/chart3886.xml" ContentType="application/vnd.openxmlformats-officedocument.drawingml.chart+xml"/>
  <Override PartName="/ppt/charts/chart3887.xml" ContentType="application/vnd.openxmlformats-officedocument.drawingml.chart+xml"/>
  <Override PartName="/ppt/charts/chart3888.xml" ContentType="application/vnd.openxmlformats-officedocument.drawingml.chart+xml"/>
  <Override PartName="/ppt/charts/chart3889.xml" ContentType="application/vnd.openxmlformats-officedocument.drawingml.chart+xml"/>
  <Override PartName="/ppt/charts/chart389.xml" ContentType="application/vnd.openxmlformats-officedocument.drawingml.chart+xml"/>
  <Override PartName="/ppt/charts/chart3890.xml" ContentType="application/vnd.openxmlformats-officedocument.drawingml.chart+xml"/>
  <Override PartName="/ppt/charts/chart3891.xml" ContentType="application/vnd.openxmlformats-officedocument.drawingml.chart+xml"/>
  <Override PartName="/ppt/charts/chart3892.xml" ContentType="application/vnd.openxmlformats-officedocument.drawingml.chart+xml"/>
  <Override PartName="/ppt/charts/chart3893.xml" ContentType="application/vnd.openxmlformats-officedocument.drawingml.chart+xml"/>
  <Override PartName="/ppt/charts/chart3894.xml" ContentType="application/vnd.openxmlformats-officedocument.drawingml.chart+xml"/>
  <Override PartName="/ppt/charts/chart3895.xml" ContentType="application/vnd.openxmlformats-officedocument.drawingml.chart+xml"/>
  <Override PartName="/ppt/charts/chart3896.xml" ContentType="application/vnd.openxmlformats-officedocument.drawingml.chart+xml"/>
  <Override PartName="/ppt/charts/chart3897.xml" ContentType="application/vnd.openxmlformats-officedocument.drawingml.chart+xml"/>
  <Override PartName="/ppt/charts/chart3898.xml" ContentType="application/vnd.openxmlformats-officedocument.drawingml.chart+xml"/>
  <Override PartName="/ppt/charts/chart389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00.xml" ContentType="application/vnd.openxmlformats-officedocument.drawingml.chart+xml"/>
  <Override PartName="/ppt/charts/chart3901.xml" ContentType="application/vnd.openxmlformats-officedocument.drawingml.chart+xml"/>
  <Override PartName="/ppt/charts/chart3902.xml" ContentType="application/vnd.openxmlformats-officedocument.drawingml.chart+xml"/>
  <Override PartName="/ppt/charts/chart3903.xml" ContentType="application/vnd.openxmlformats-officedocument.drawingml.chart+xml"/>
  <Override PartName="/ppt/charts/chart3904.xml" ContentType="application/vnd.openxmlformats-officedocument.drawingml.chart+xml"/>
  <Override PartName="/ppt/charts/chart3905.xml" ContentType="application/vnd.openxmlformats-officedocument.drawingml.chart+xml"/>
  <Override PartName="/ppt/charts/chart3906.xml" ContentType="application/vnd.openxmlformats-officedocument.drawingml.chart+xml"/>
  <Override PartName="/ppt/charts/chart3907.xml" ContentType="application/vnd.openxmlformats-officedocument.drawingml.chart+xml"/>
  <Override PartName="/ppt/charts/chart3908.xml" ContentType="application/vnd.openxmlformats-officedocument.drawingml.chart+xml"/>
  <Override PartName="/ppt/charts/chart3909.xml" ContentType="application/vnd.openxmlformats-officedocument.drawingml.chart+xml"/>
  <Override PartName="/ppt/charts/chart391.xml" ContentType="application/vnd.openxmlformats-officedocument.drawingml.chart+xml"/>
  <Override PartName="/ppt/charts/chart3910.xml" ContentType="application/vnd.openxmlformats-officedocument.drawingml.chart+xml"/>
  <Override PartName="/ppt/charts/chart3911.xml" ContentType="application/vnd.openxmlformats-officedocument.drawingml.chart+xml"/>
  <Override PartName="/ppt/charts/chart3912.xml" ContentType="application/vnd.openxmlformats-officedocument.drawingml.chart+xml"/>
  <Override PartName="/ppt/charts/chart3913.xml" ContentType="application/vnd.openxmlformats-officedocument.drawingml.chart+xml"/>
  <Override PartName="/ppt/charts/chart3914.xml" ContentType="application/vnd.openxmlformats-officedocument.drawingml.chart+xml"/>
  <Override PartName="/ppt/charts/chart3915.xml" ContentType="application/vnd.openxmlformats-officedocument.drawingml.chart+xml"/>
  <Override PartName="/ppt/charts/chart3916.xml" ContentType="application/vnd.openxmlformats-officedocument.drawingml.chart+xml"/>
  <Override PartName="/ppt/charts/chart3917.xml" ContentType="application/vnd.openxmlformats-officedocument.drawingml.chart+xml"/>
  <Override PartName="/ppt/charts/chart3918.xml" ContentType="application/vnd.openxmlformats-officedocument.drawingml.chart+xml"/>
  <Override PartName="/ppt/charts/chart3919.xml" ContentType="application/vnd.openxmlformats-officedocument.drawingml.chart+xml"/>
  <Override PartName="/ppt/charts/chart392.xml" ContentType="application/vnd.openxmlformats-officedocument.drawingml.chart+xml"/>
  <Override PartName="/ppt/charts/chart3920.xml" ContentType="application/vnd.openxmlformats-officedocument.drawingml.chart+xml"/>
  <Override PartName="/ppt/charts/chart3921.xml" ContentType="application/vnd.openxmlformats-officedocument.drawingml.chart+xml"/>
  <Override PartName="/ppt/charts/chart3922.xml" ContentType="application/vnd.openxmlformats-officedocument.drawingml.chart+xml"/>
  <Override PartName="/ppt/charts/chart3923.xml" ContentType="application/vnd.openxmlformats-officedocument.drawingml.chart+xml"/>
  <Override PartName="/ppt/charts/chart3924.xml" ContentType="application/vnd.openxmlformats-officedocument.drawingml.chart+xml"/>
  <Override PartName="/ppt/charts/chart3925.xml" ContentType="application/vnd.openxmlformats-officedocument.drawingml.chart+xml"/>
  <Override PartName="/ppt/charts/chart3926.xml" ContentType="application/vnd.openxmlformats-officedocument.drawingml.chart+xml"/>
  <Override PartName="/ppt/charts/chart3927.xml" ContentType="application/vnd.openxmlformats-officedocument.drawingml.chart+xml"/>
  <Override PartName="/ppt/charts/chart3928.xml" ContentType="application/vnd.openxmlformats-officedocument.drawingml.chart+xml"/>
  <Override PartName="/ppt/charts/chart3929.xml" ContentType="application/vnd.openxmlformats-officedocument.drawingml.chart+xml"/>
  <Override PartName="/ppt/charts/chart393.xml" ContentType="application/vnd.openxmlformats-officedocument.drawingml.chart+xml"/>
  <Override PartName="/ppt/charts/chart3930.xml" ContentType="application/vnd.openxmlformats-officedocument.drawingml.chart+xml"/>
  <Override PartName="/ppt/charts/chart3931.xml" ContentType="application/vnd.openxmlformats-officedocument.drawingml.chart+xml"/>
  <Override PartName="/ppt/charts/chart3932.xml" ContentType="application/vnd.openxmlformats-officedocument.drawingml.chart+xml"/>
  <Override PartName="/ppt/charts/chart3933.xml" ContentType="application/vnd.openxmlformats-officedocument.drawingml.chart+xml"/>
  <Override PartName="/ppt/charts/chart3934.xml" ContentType="application/vnd.openxmlformats-officedocument.drawingml.chart+xml"/>
  <Override PartName="/ppt/charts/chart3935.xml" ContentType="application/vnd.openxmlformats-officedocument.drawingml.chart+xml"/>
  <Override PartName="/ppt/charts/chart3936.xml" ContentType="application/vnd.openxmlformats-officedocument.drawingml.chart+xml"/>
  <Override PartName="/ppt/charts/chart3937.xml" ContentType="application/vnd.openxmlformats-officedocument.drawingml.chart+xml"/>
  <Override PartName="/ppt/charts/chart3938.xml" ContentType="application/vnd.openxmlformats-officedocument.drawingml.chart+xml"/>
  <Override PartName="/ppt/charts/chart3939.xml" ContentType="application/vnd.openxmlformats-officedocument.drawingml.chart+xml"/>
  <Override PartName="/ppt/charts/chart394.xml" ContentType="application/vnd.openxmlformats-officedocument.drawingml.chart+xml"/>
  <Override PartName="/ppt/charts/chart3940.xml" ContentType="application/vnd.openxmlformats-officedocument.drawingml.chart+xml"/>
  <Override PartName="/ppt/charts/chart3941.xml" ContentType="application/vnd.openxmlformats-officedocument.drawingml.chart+xml"/>
  <Override PartName="/ppt/charts/chart3942.xml" ContentType="application/vnd.openxmlformats-officedocument.drawingml.chart+xml"/>
  <Override PartName="/ppt/charts/chart3943.xml" ContentType="application/vnd.openxmlformats-officedocument.drawingml.chart+xml"/>
  <Override PartName="/ppt/charts/chart3944.xml" ContentType="application/vnd.openxmlformats-officedocument.drawingml.chart+xml"/>
  <Override PartName="/ppt/charts/chart3945.xml" ContentType="application/vnd.openxmlformats-officedocument.drawingml.chart+xml"/>
  <Override PartName="/ppt/charts/chart3946.xml" ContentType="application/vnd.openxmlformats-officedocument.drawingml.chart+xml"/>
  <Override PartName="/ppt/charts/chart3947.xml" ContentType="application/vnd.openxmlformats-officedocument.drawingml.chart+xml"/>
  <Override PartName="/ppt/charts/chart3948.xml" ContentType="application/vnd.openxmlformats-officedocument.drawingml.chart+xml"/>
  <Override PartName="/ppt/charts/chart3949.xml" ContentType="application/vnd.openxmlformats-officedocument.drawingml.chart+xml"/>
  <Override PartName="/ppt/charts/chart395.xml" ContentType="application/vnd.openxmlformats-officedocument.drawingml.chart+xml"/>
  <Override PartName="/ppt/charts/chart3950.xml" ContentType="application/vnd.openxmlformats-officedocument.drawingml.chart+xml"/>
  <Override PartName="/ppt/charts/chart3951.xml" ContentType="application/vnd.openxmlformats-officedocument.drawingml.chart+xml"/>
  <Override PartName="/ppt/charts/chart3952.xml" ContentType="application/vnd.openxmlformats-officedocument.drawingml.chart+xml"/>
  <Override PartName="/ppt/charts/chart3953.xml" ContentType="application/vnd.openxmlformats-officedocument.drawingml.chart+xml"/>
  <Override PartName="/ppt/charts/chart3954.xml" ContentType="application/vnd.openxmlformats-officedocument.drawingml.chart+xml"/>
  <Override PartName="/ppt/charts/chart3955.xml" ContentType="application/vnd.openxmlformats-officedocument.drawingml.chart+xml"/>
  <Override PartName="/ppt/charts/chart3956.xml" ContentType="application/vnd.openxmlformats-officedocument.drawingml.chart+xml"/>
  <Override PartName="/ppt/charts/chart3957.xml" ContentType="application/vnd.openxmlformats-officedocument.drawingml.chart+xml"/>
  <Override PartName="/ppt/charts/chart3958.xml" ContentType="application/vnd.openxmlformats-officedocument.drawingml.chart+xml"/>
  <Override PartName="/ppt/charts/chart3959.xml" ContentType="application/vnd.openxmlformats-officedocument.drawingml.chart+xml"/>
  <Override PartName="/ppt/charts/chart396.xml" ContentType="application/vnd.openxmlformats-officedocument.drawingml.chart+xml"/>
  <Override PartName="/ppt/charts/chart3960.xml" ContentType="application/vnd.openxmlformats-officedocument.drawingml.chart+xml"/>
  <Override PartName="/ppt/charts/chart3961.xml" ContentType="application/vnd.openxmlformats-officedocument.drawingml.chart+xml"/>
  <Override PartName="/ppt/charts/chart3962.xml" ContentType="application/vnd.openxmlformats-officedocument.drawingml.chart+xml"/>
  <Override PartName="/ppt/charts/chart3963.xml" ContentType="application/vnd.openxmlformats-officedocument.drawingml.chart+xml"/>
  <Override PartName="/ppt/charts/chart3964.xml" ContentType="application/vnd.openxmlformats-officedocument.drawingml.chart+xml"/>
  <Override PartName="/ppt/charts/chart3965.xml" ContentType="application/vnd.openxmlformats-officedocument.drawingml.chart+xml"/>
  <Override PartName="/ppt/charts/chart3966.xml" ContentType="application/vnd.openxmlformats-officedocument.drawingml.chart+xml"/>
  <Override PartName="/ppt/charts/chart3967.xml" ContentType="application/vnd.openxmlformats-officedocument.drawingml.chart+xml"/>
  <Override PartName="/ppt/charts/chart3968.xml" ContentType="application/vnd.openxmlformats-officedocument.drawingml.chart+xml"/>
  <Override PartName="/ppt/charts/chart3969.xml" ContentType="application/vnd.openxmlformats-officedocument.drawingml.chart+xml"/>
  <Override PartName="/ppt/charts/chart397.xml" ContentType="application/vnd.openxmlformats-officedocument.drawingml.chart+xml"/>
  <Override PartName="/ppt/charts/chart3970.xml" ContentType="application/vnd.openxmlformats-officedocument.drawingml.chart+xml"/>
  <Override PartName="/ppt/charts/chart3971.xml" ContentType="application/vnd.openxmlformats-officedocument.drawingml.chart+xml"/>
  <Override PartName="/ppt/charts/chart3972.xml" ContentType="application/vnd.openxmlformats-officedocument.drawingml.chart+xml"/>
  <Override PartName="/ppt/charts/chart3973.xml" ContentType="application/vnd.openxmlformats-officedocument.drawingml.chart+xml"/>
  <Override PartName="/ppt/charts/chart3974.xml" ContentType="application/vnd.openxmlformats-officedocument.drawingml.chart+xml"/>
  <Override PartName="/ppt/charts/chart3975.xml" ContentType="application/vnd.openxmlformats-officedocument.drawingml.chart+xml"/>
  <Override PartName="/ppt/charts/chart3976.xml" ContentType="application/vnd.openxmlformats-officedocument.drawingml.chart+xml"/>
  <Override PartName="/ppt/charts/chart3977.xml" ContentType="application/vnd.openxmlformats-officedocument.drawingml.chart+xml"/>
  <Override PartName="/ppt/charts/chart3978.xml" ContentType="application/vnd.openxmlformats-officedocument.drawingml.chart+xml"/>
  <Override PartName="/ppt/charts/chart3979.xml" ContentType="application/vnd.openxmlformats-officedocument.drawingml.chart+xml"/>
  <Override PartName="/ppt/charts/chart398.xml" ContentType="application/vnd.openxmlformats-officedocument.drawingml.chart+xml"/>
  <Override PartName="/ppt/charts/chart3980.xml" ContentType="application/vnd.openxmlformats-officedocument.drawingml.chart+xml"/>
  <Override PartName="/ppt/charts/chart3981.xml" ContentType="application/vnd.openxmlformats-officedocument.drawingml.chart+xml"/>
  <Override PartName="/ppt/charts/chart3982.xml" ContentType="application/vnd.openxmlformats-officedocument.drawingml.chart+xml"/>
  <Override PartName="/ppt/charts/chart3983.xml" ContentType="application/vnd.openxmlformats-officedocument.drawingml.chart+xml"/>
  <Override PartName="/ppt/charts/chart3984.xml" ContentType="application/vnd.openxmlformats-officedocument.drawingml.chart+xml"/>
  <Override PartName="/ppt/charts/chart3985.xml" ContentType="application/vnd.openxmlformats-officedocument.drawingml.chart+xml"/>
  <Override PartName="/ppt/charts/chart3986.xml" ContentType="application/vnd.openxmlformats-officedocument.drawingml.chart+xml"/>
  <Override PartName="/ppt/charts/chart3987.xml" ContentType="application/vnd.openxmlformats-officedocument.drawingml.chart+xml"/>
  <Override PartName="/ppt/charts/chart3988.xml" ContentType="application/vnd.openxmlformats-officedocument.drawingml.chart+xml"/>
  <Override PartName="/ppt/charts/chart3989.xml" ContentType="application/vnd.openxmlformats-officedocument.drawingml.chart+xml"/>
  <Override PartName="/ppt/charts/chart399.xml" ContentType="application/vnd.openxmlformats-officedocument.drawingml.chart+xml"/>
  <Override PartName="/ppt/charts/chart3990.xml" ContentType="application/vnd.openxmlformats-officedocument.drawingml.chart+xml"/>
  <Override PartName="/ppt/charts/chart3991.xml" ContentType="application/vnd.openxmlformats-officedocument.drawingml.chart+xml"/>
  <Override PartName="/ppt/charts/chart3992.xml" ContentType="application/vnd.openxmlformats-officedocument.drawingml.chart+xml"/>
  <Override PartName="/ppt/charts/chart3993.xml" ContentType="application/vnd.openxmlformats-officedocument.drawingml.chart+xml"/>
  <Override PartName="/ppt/charts/chart3994.xml" ContentType="application/vnd.openxmlformats-officedocument.drawingml.chart+xml"/>
  <Override PartName="/ppt/charts/chart3995.xml" ContentType="application/vnd.openxmlformats-officedocument.drawingml.chart+xml"/>
  <Override PartName="/ppt/charts/chart3996.xml" ContentType="application/vnd.openxmlformats-officedocument.drawingml.chart+xml"/>
  <Override PartName="/ppt/charts/chart3997.xml" ContentType="application/vnd.openxmlformats-officedocument.drawingml.chart+xml"/>
  <Override PartName="/ppt/charts/chart3998.xml" ContentType="application/vnd.openxmlformats-officedocument.drawingml.chart+xml"/>
  <Override PartName="/ppt/charts/chart39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00.xml" ContentType="application/vnd.openxmlformats-officedocument.drawingml.chart+xml"/>
  <Override PartName="/ppt/charts/chart4001.xml" ContentType="application/vnd.openxmlformats-officedocument.drawingml.chart+xml"/>
  <Override PartName="/ppt/charts/chart4002.xml" ContentType="application/vnd.openxmlformats-officedocument.drawingml.chart+xml"/>
  <Override PartName="/ppt/charts/chart4003.xml" ContentType="application/vnd.openxmlformats-officedocument.drawingml.chart+xml"/>
  <Override PartName="/ppt/charts/chart4004.xml" ContentType="application/vnd.openxmlformats-officedocument.drawingml.chart+xml"/>
  <Override PartName="/ppt/charts/chart4005.xml" ContentType="application/vnd.openxmlformats-officedocument.drawingml.chart+xml"/>
  <Override PartName="/ppt/charts/chart4006.xml" ContentType="application/vnd.openxmlformats-officedocument.drawingml.chart+xml"/>
  <Override PartName="/ppt/charts/chart4007.xml" ContentType="application/vnd.openxmlformats-officedocument.drawingml.chart+xml"/>
  <Override PartName="/ppt/charts/chart4008.xml" ContentType="application/vnd.openxmlformats-officedocument.drawingml.chart+xml"/>
  <Override PartName="/ppt/charts/chart4009.xml" ContentType="application/vnd.openxmlformats-officedocument.drawingml.chart+xml"/>
  <Override PartName="/ppt/charts/chart401.xml" ContentType="application/vnd.openxmlformats-officedocument.drawingml.chart+xml"/>
  <Override PartName="/ppt/charts/chart4010.xml" ContentType="application/vnd.openxmlformats-officedocument.drawingml.chart+xml"/>
  <Override PartName="/ppt/charts/chart4011.xml" ContentType="application/vnd.openxmlformats-officedocument.drawingml.chart+xml"/>
  <Override PartName="/ppt/charts/chart4012.xml" ContentType="application/vnd.openxmlformats-officedocument.drawingml.chart+xml"/>
  <Override PartName="/ppt/charts/chart4013.xml" ContentType="application/vnd.openxmlformats-officedocument.drawingml.chart+xml"/>
  <Override PartName="/ppt/charts/chart4014.xml" ContentType="application/vnd.openxmlformats-officedocument.drawingml.chart+xml"/>
  <Override PartName="/ppt/charts/chart4015.xml" ContentType="application/vnd.openxmlformats-officedocument.drawingml.chart+xml"/>
  <Override PartName="/ppt/charts/chart4016.xml" ContentType="application/vnd.openxmlformats-officedocument.drawingml.chart+xml"/>
  <Override PartName="/ppt/charts/chart4017.xml" ContentType="application/vnd.openxmlformats-officedocument.drawingml.chart+xml"/>
  <Override PartName="/ppt/charts/chart4018.xml" ContentType="application/vnd.openxmlformats-officedocument.drawingml.chart+xml"/>
  <Override PartName="/ppt/charts/chart4019.xml" ContentType="application/vnd.openxmlformats-officedocument.drawingml.chart+xml"/>
  <Override PartName="/ppt/charts/chart402.xml" ContentType="application/vnd.openxmlformats-officedocument.drawingml.chart+xml"/>
  <Override PartName="/ppt/charts/chart4020.xml" ContentType="application/vnd.openxmlformats-officedocument.drawingml.chart+xml"/>
  <Override PartName="/ppt/charts/chart4021.xml" ContentType="application/vnd.openxmlformats-officedocument.drawingml.chart+xml"/>
  <Override PartName="/ppt/charts/chart4022.xml" ContentType="application/vnd.openxmlformats-officedocument.drawingml.chart+xml"/>
  <Override PartName="/ppt/charts/chart4023.xml" ContentType="application/vnd.openxmlformats-officedocument.drawingml.chart+xml"/>
  <Override PartName="/ppt/charts/chart4024.xml" ContentType="application/vnd.openxmlformats-officedocument.drawingml.chart+xml"/>
  <Override PartName="/ppt/charts/chart4025.xml" ContentType="application/vnd.openxmlformats-officedocument.drawingml.chart+xml"/>
  <Override PartName="/ppt/charts/chart4026.xml" ContentType="application/vnd.openxmlformats-officedocument.drawingml.chart+xml"/>
  <Override PartName="/ppt/charts/chart4027.xml" ContentType="application/vnd.openxmlformats-officedocument.drawingml.chart+xml"/>
  <Override PartName="/ppt/charts/chart4028.xml" ContentType="application/vnd.openxmlformats-officedocument.drawingml.chart+xml"/>
  <Override PartName="/ppt/charts/chart4029.xml" ContentType="application/vnd.openxmlformats-officedocument.drawingml.chart+xml"/>
  <Override PartName="/ppt/charts/chart403.xml" ContentType="application/vnd.openxmlformats-officedocument.drawingml.chart+xml"/>
  <Override PartName="/ppt/charts/chart4030.xml" ContentType="application/vnd.openxmlformats-officedocument.drawingml.chart+xml"/>
  <Override PartName="/ppt/charts/chart4031.xml" ContentType="application/vnd.openxmlformats-officedocument.drawingml.chart+xml"/>
  <Override PartName="/ppt/charts/chart4032.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00.xml" ContentType="application/vnd.openxmlformats-officedocument.presentationml.notesSlide+xml"/>
  <Override PartName="/ppt/notesSlides/notesSlide1001.xml" ContentType="application/vnd.openxmlformats-officedocument.presentationml.notesSlide+xml"/>
  <Override PartName="/ppt/notesSlides/notesSlide1002.xml" ContentType="application/vnd.openxmlformats-officedocument.presentationml.notesSlide+xml"/>
  <Override PartName="/ppt/notesSlides/notesSlide1003.xml" ContentType="application/vnd.openxmlformats-officedocument.presentationml.notesSlide+xml"/>
  <Override PartName="/ppt/notesSlides/notesSlide1004.xml" ContentType="application/vnd.openxmlformats-officedocument.presentationml.notesSlide+xml"/>
  <Override PartName="/ppt/notesSlides/notesSlide1005.xml" ContentType="application/vnd.openxmlformats-officedocument.presentationml.notesSlide+xml"/>
  <Override PartName="/ppt/notesSlides/notesSlide1006.xml" ContentType="application/vnd.openxmlformats-officedocument.presentationml.notesSlide+xml"/>
  <Override PartName="/ppt/notesSlides/notesSlide1007.xml" ContentType="application/vnd.openxmlformats-officedocument.presentationml.notesSlide+xml"/>
  <Override PartName="/ppt/notesSlides/notesSlide1008.xml" ContentType="application/vnd.openxmlformats-officedocument.presentationml.notesSlide+xml"/>
  <Override PartName="/ppt/notesSlides/notesSlide1009.xml" ContentType="application/vnd.openxmlformats-officedocument.presentationml.notesSlide+xml"/>
  <Override PartName="/ppt/notesSlides/notesSlide101.xml" ContentType="application/vnd.openxmlformats-officedocument.presentationml.notesSlide+xml"/>
  <Override PartName="/ppt/notesSlides/notesSlide1010.xml" ContentType="application/vnd.openxmlformats-officedocument.presentationml.notesSlide+xml"/>
  <Override PartName="/ppt/notesSlides/notesSlide1011.xml" ContentType="application/vnd.openxmlformats-officedocument.presentationml.notesSlide+xml"/>
  <Override PartName="/ppt/notesSlides/notesSlide1012.xml" ContentType="application/vnd.openxmlformats-officedocument.presentationml.notesSlide+xml"/>
  <Override PartName="/ppt/notesSlides/notesSlide1013.xml" ContentType="application/vnd.openxmlformats-officedocument.presentationml.notesSlide+xml"/>
  <Override PartName="/ppt/notesSlides/notesSlide1014.xml" ContentType="application/vnd.openxmlformats-officedocument.presentationml.notesSlide+xml"/>
  <Override PartName="/ppt/notesSlides/notesSlide1015.xml" ContentType="application/vnd.openxmlformats-officedocument.presentationml.notesSlide+xml"/>
  <Override PartName="/ppt/notesSlides/notesSlide1016.xml" ContentType="application/vnd.openxmlformats-officedocument.presentationml.notesSlide+xml"/>
  <Override PartName="/ppt/notesSlides/notesSlide1017.xml" ContentType="application/vnd.openxmlformats-officedocument.presentationml.notesSlide+xml"/>
  <Override PartName="/ppt/notesSlides/notesSlide1018.xml" ContentType="application/vnd.openxmlformats-officedocument.presentationml.notesSlide+xml"/>
  <Override PartName="/ppt/notesSlides/notesSlide1019.xml" ContentType="application/vnd.openxmlformats-officedocument.presentationml.notesSlide+xml"/>
  <Override PartName="/ppt/notesSlides/notesSlide102.xml" ContentType="application/vnd.openxmlformats-officedocument.presentationml.notesSlide+xml"/>
  <Override PartName="/ppt/notesSlides/notesSlide1020.xml" ContentType="application/vnd.openxmlformats-officedocument.presentationml.notesSlide+xml"/>
  <Override PartName="/ppt/notesSlides/notesSlide1021.xml" ContentType="application/vnd.openxmlformats-officedocument.presentationml.notesSlide+xml"/>
  <Override PartName="/ppt/notesSlides/notesSlide1022.xml" ContentType="application/vnd.openxmlformats-officedocument.presentationml.notesSlide+xml"/>
  <Override PartName="/ppt/notesSlides/notesSlide1023.xml" ContentType="application/vnd.openxmlformats-officedocument.presentationml.notesSlide+xml"/>
  <Override PartName="/ppt/notesSlides/notesSlide1024.xml" ContentType="application/vnd.openxmlformats-officedocument.presentationml.notesSlide+xml"/>
  <Override PartName="/ppt/notesSlides/notesSlide1025.xml" ContentType="application/vnd.openxmlformats-officedocument.presentationml.notesSlide+xml"/>
  <Override PartName="/ppt/notesSlides/notesSlide1026.xml" ContentType="application/vnd.openxmlformats-officedocument.presentationml.notesSlide+xml"/>
  <Override PartName="/ppt/notesSlides/notesSlide1027.xml" ContentType="application/vnd.openxmlformats-officedocument.presentationml.notesSlide+xml"/>
  <Override PartName="/ppt/notesSlides/notesSlide1028.xml" ContentType="application/vnd.openxmlformats-officedocument.presentationml.notesSlide+xml"/>
  <Override PartName="/ppt/notesSlides/notesSlide1029.xml" ContentType="application/vnd.openxmlformats-officedocument.presentationml.notesSlide+xml"/>
  <Override PartName="/ppt/notesSlides/notesSlide103.xml" ContentType="application/vnd.openxmlformats-officedocument.presentationml.notesSlide+xml"/>
  <Override PartName="/ppt/notesSlides/notesSlide1030.xml" ContentType="application/vnd.openxmlformats-officedocument.presentationml.notesSlide+xml"/>
  <Override PartName="/ppt/notesSlides/notesSlide1031.xml" ContentType="application/vnd.openxmlformats-officedocument.presentationml.notesSlide+xml"/>
  <Override PartName="/ppt/notesSlides/notesSlide1032.xml" ContentType="application/vnd.openxmlformats-officedocument.presentationml.notesSlide+xml"/>
  <Override PartName="/ppt/notesSlides/notesSlide1033.xml" ContentType="application/vnd.openxmlformats-officedocument.presentationml.notesSlide+xml"/>
  <Override PartName="/ppt/notesSlides/notesSlide1034.xml" ContentType="application/vnd.openxmlformats-officedocument.presentationml.notesSlide+xml"/>
  <Override PartName="/ppt/notesSlides/notesSlide1035.xml" ContentType="application/vnd.openxmlformats-officedocument.presentationml.notesSlide+xml"/>
  <Override PartName="/ppt/notesSlides/notesSlide1036.xml" ContentType="application/vnd.openxmlformats-officedocument.presentationml.notesSlide+xml"/>
  <Override PartName="/ppt/notesSlides/notesSlide1037.xml" ContentType="application/vnd.openxmlformats-officedocument.presentationml.notesSlide+xml"/>
  <Override PartName="/ppt/notesSlides/notesSlide1038.xml" ContentType="application/vnd.openxmlformats-officedocument.presentationml.notesSlide+xml"/>
  <Override PartName="/ppt/notesSlides/notesSlide1039.xml" ContentType="application/vnd.openxmlformats-officedocument.presentationml.notesSlide+xml"/>
  <Override PartName="/ppt/notesSlides/notesSlide104.xml" ContentType="application/vnd.openxmlformats-officedocument.presentationml.notesSlide+xml"/>
  <Override PartName="/ppt/notesSlides/notesSlide1040.xml" ContentType="application/vnd.openxmlformats-officedocument.presentationml.notesSlide+xml"/>
  <Override PartName="/ppt/notesSlides/notesSlide1041.xml" ContentType="application/vnd.openxmlformats-officedocument.presentationml.notesSlide+xml"/>
  <Override PartName="/ppt/notesSlides/notesSlide1042.xml" ContentType="application/vnd.openxmlformats-officedocument.presentationml.notesSlide+xml"/>
  <Override PartName="/ppt/notesSlides/notesSlide1043.xml" ContentType="application/vnd.openxmlformats-officedocument.presentationml.notesSlide+xml"/>
  <Override PartName="/ppt/notesSlides/notesSlide1044.xml" ContentType="application/vnd.openxmlformats-officedocument.presentationml.notesSlide+xml"/>
  <Override PartName="/ppt/notesSlides/notesSlide1045.xml" ContentType="application/vnd.openxmlformats-officedocument.presentationml.notesSlide+xml"/>
  <Override PartName="/ppt/notesSlides/notesSlide1046.xml" ContentType="application/vnd.openxmlformats-officedocument.presentationml.notesSlide+xml"/>
  <Override PartName="/ppt/notesSlides/notesSlide1047.xml" ContentType="application/vnd.openxmlformats-officedocument.presentationml.notesSlide+xml"/>
  <Override PartName="/ppt/notesSlides/notesSlide1048.xml" ContentType="application/vnd.openxmlformats-officedocument.presentationml.notesSlide+xml"/>
  <Override PartName="/ppt/notesSlides/notesSlide1049.xml" ContentType="application/vnd.openxmlformats-officedocument.presentationml.notesSlide+xml"/>
  <Override PartName="/ppt/notesSlides/notesSlide105.xml" ContentType="application/vnd.openxmlformats-officedocument.presentationml.notesSlide+xml"/>
  <Override PartName="/ppt/notesSlides/notesSlide1050.xml" ContentType="application/vnd.openxmlformats-officedocument.presentationml.notesSlide+xml"/>
  <Override PartName="/ppt/notesSlides/notesSlide1051.xml" ContentType="application/vnd.openxmlformats-officedocument.presentationml.notesSlide+xml"/>
  <Override PartName="/ppt/notesSlides/notesSlide1052.xml" ContentType="application/vnd.openxmlformats-officedocument.presentationml.notesSlide+xml"/>
  <Override PartName="/ppt/notesSlides/notesSlide1053.xml" ContentType="application/vnd.openxmlformats-officedocument.presentationml.notesSlide+xml"/>
  <Override PartName="/ppt/notesSlides/notesSlide1054.xml" ContentType="application/vnd.openxmlformats-officedocument.presentationml.notesSlide+xml"/>
  <Override PartName="/ppt/notesSlides/notesSlide1055.xml" ContentType="application/vnd.openxmlformats-officedocument.presentationml.notesSlide+xml"/>
  <Override PartName="/ppt/notesSlides/notesSlide1056.xml" ContentType="application/vnd.openxmlformats-officedocument.presentationml.notesSlide+xml"/>
  <Override PartName="/ppt/notesSlides/notesSlide1057.xml" ContentType="application/vnd.openxmlformats-officedocument.presentationml.notesSlide+xml"/>
  <Override PartName="/ppt/notesSlides/notesSlide1058.xml" ContentType="application/vnd.openxmlformats-officedocument.presentationml.notesSlide+xml"/>
  <Override PartName="/ppt/notesSlides/notesSlide1059.xml" ContentType="application/vnd.openxmlformats-officedocument.presentationml.notesSlide+xml"/>
  <Override PartName="/ppt/notesSlides/notesSlide106.xml" ContentType="application/vnd.openxmlformats-officedocument.presentationml.notesSlide+xml"/>
  <Override PartName="/ppt/notesSlides/notesSlide1060.xml" ContentType="application/vnd.openxmlformats-officedocument.presentationml.notesSlide+xml"/>
  <Override PartName="/ppt/notesSlides/notesSlide1061.xml" ContentType="application/vnd.openxmlformats-officedocument.presentationml.notesSlide+xml"/>
  <Override PartName="/ppt/notesSlides/notesSlide1062.xml" ContentType="application/vnd.openxmlformats-officedocument.presentationml.notesSlide+xml"/>
  <Override PartName="/ppt/notesSlides/notesSlide1063.xml" ContentType="application/vnd.openxmlformats-officedocument.presentationml.notesSlide+xml"/>
  <Override PartName="/ppt/notesSlides/notesSlide1064.xml" ContentType="application/vnd.openxmlformats-officedocument.presentationml.notesSlide+xml"/>
  <Override PartName="/ppt/notesSlides/notesSlide1065.xml" ContentType="application/vnd.openxmlformats-officedocument.presentationml.notesSlide+xml"/>
  <Override PartName="/ppt/notesSlides/notesSlide1066.xml" ContentType="application/vnd.openxmlformats-officedocument.presentationml.notesSlide+xml"/>
  <Override PartName="/ppt/notesSlides/notesSlide1067.xml" ContentType="application/vnd.openxmlformats-officedocument.presentationml.notesSlide+xml"/>
  <Override PartName="/ppt/notesSlides/notesSlide1068.xml" ContentType="application/vnd.openxmlformats-officedocument.presentationml.notesSlide+xml"/>
  <Override PartName="/ppt/notesSlides/notesSlide1069.xml" ContentType="application/vnd.openxmlformats-officedocument.presentationml.notesSlide+xml"/>
  <Override PartName="/ppt/notesSlides/notesSlide107.xml" ContentType="application/vnd.openxmlformats-officedocument.presentationml.notesSlide+xml"/>
  <Override PartName="/ppt/notesSlides/notesSlide1070.xml" ContentType="application/vnd.openxmlformats-officedocument.presentationml.notesSlide+xml"/>
  <Override PartName="/ppt/notesSlides/notesSlide1071.xml" ContentType="application/vnd.openxmlformats-officedocument.presentationml.notesSlide+xml"/>
  <Override PartName="/ppt/notesSlides/notesSlide1072.xml" ContentType="application/vnd.openxmlformats-officedocument.presentationml.notesSlide+xml"/>
  <Override PartName="/ppt/notesSlides/notesSlide1073.xml" ContentType="application/vnd.openxmlformats-officedocument.presentationml.notesSlide+xml"/>
  <Override PartName="/ppt/notesSlides/notesSlide1074.xml" ContentType="application/vnd.openxmlformats-officedocument.presentationml.notesSlide+xml"/>
  <Override PartName="/ppt/notesSlides/notesSlide1075.xml" ContentType="application/vnd.openxmlformats-officedocument.presentationml.notesSlide+xml"/>
  <Override PartName="/ppt/notesSlides/notesSlide1076.xml" ContentType="application/vnd.openxmlformats-officedocument.presentationml.notesSlide+xml"/>
  <Override PartName="/ppt/notesSlides/notesSlide1077.xml" ContentType="application/vnd.openxmlformats-officedocument.presentationml.notesSlide+xml"/>
  <Override PartName="/ppt/notesSlides/notesSlide1078.xml" ContentType="application/vnd.openxmlformats-officedocument.presentationml.notesSlide+xml"/>
  <Override PartName="/ppt/notesSlides/notesSlide1079.xml" ContentType="application/vnd.openxmlformats-officedocument.presentationml.notesSlide+xml"/>
  <Override PartName="/ppt/notesSlides/notesSlide108.xml" ContentType="application/vnd.openxmlformats-officedocument.presentationml.notesSlide+xml"/>
  <Override PartName="/ppt/notesSlides/notesSlide1080.xml" ContentType="application/vnd.openxmlformats-officedocument.presentationml.notesSlide+xml"/>
  <Override PartName="/ppt/notesSlides/notesSlide1081.xml" ContentType="application/vnd.openxmlformats-officedocument.presentationml.notesSlide+xml"/>
  <Override PartName="/ppt/notesSlides/notesSlide1082.xml" ContentType="application/vnd.openxmlformats-officedocument.presentationml.notesSlide+xml"/>
  <Override PartName="/ppt/notesSlides/notesSlide1083.xml" ContentType="application/vnd.openxmlformats-officedocument.presentationml.notesSlide+xml"/>
  <Override PartName="/ppt/notesSlides/notesSlide1084.xml" ContentType="application/vnd.openxmlformats-officedocument.presentationml.notesSlide+xml"/>
  <Override PartName="/ppt/notesSlides/notesSlide1085.xml" ContentType="application/vnd.openxmlformats-officedocument.presentationml.notesSlide+xml"/>
  <Override PartName="/ppt/notesSlides/notesSlide1086.xml" ContentType="application/vnd.openxmlformats-officedocument.presentationml.notesSlide+xml"/>
  <Override PartName="/ppt/notesSlides/notesSlide1087.xml" ContentType="application/vnd.openxmlformats-officedocument.presentationml.notesSlide+xml"/>
  <Override PartName="/ppt/notesSlides/notesSlide1088.xml" ContentType="application/vnd.openxmlformats-officedocument.presentationml.notesSlide+xml"/>
  <Override PartName="/ppt/notesSlides/notesSlide1089.xml" ContentType="application/vnd.openxmlformats-officedocument.presentationml.notesSlide+xml"/>
  <Override PartName="/ppt/notesSlides/notesSlide109.xml" ContentType="application/vnd.openxmlformats-officedocument.presentationml.notesSlide+xml"/>
  <Override PartName="/ppt/notesSlides/notesSlide1090.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01.xml" ContentType="application/vnd.openxmlformats-officedocument.presentationml.notesSlide+xml"/>
  <Override PartName="/ppt/notesSlides/notesSlide502.xml" ContentType="application/vnd.openxmlformats-officedocument.presentationml.notesSlide+xml"/>
  <Override PartName="/ppt/notesSlides/notesSlide503.xml" ContentType="application/vnd.openxmlformats-officedocument.presentationml.notesSlide+xml"/>
  <Override PartName="/ppt/notesSlides/notesSlide504.xml" ContentType="application/vnd.openxmlformats-officedocument.presentationml.notesSlide+xml"/>
  <Override PartName="/ppt/notesSlides/notesSlide505.xml" ContentType="application/vnd.openxmlformats-officedocument.presentationml.notesSlide+xml"/>
  <Override PartName="/ppt/notesSlides/notesSlide506.xml" ContentType="application/vnd.openxmlformats-officedocument.presentationml.notesSlide+xml"/>
  <Override PartName="/ppt/notesSlides/notesSlide507.xml" ContentType="application/vnd.openxmlformats-officedocument.presentationml.notesSlide+xml"/>
  <Override PartName="/ppt/notesSlides/notesSlide508.xml" ContentType="application/vnd.openxmlformats-officedocument.presentationml.notesSlide+xml"/>
  <Override PartName="/ppt/notesSlides/notesSlide509.xml" ContentType="application/vnd.openxmlformats-officedocument.presentationml.notesSlide+xml"/>
  <Override PartName="/ppt/notesSlides/notesSlide51.xml" ContentType="application/vnd.openxmlformats-officedocument.presentationml.notesSlide+xml"/>
  <Override PartName="/ppt/notesSlides/notesSlide510.xml" ContentType="application/vnd.openxmlformats-officedocument.presentationml.notesSlide+xml"/>
  <Override PartName="/ppt/notesSlides/notesSlide511.xml" ContentType="application/vnd.openxmlformats-officedocument.presentationml.notesSlide+xml"/>
  <Override PartName="/ppt/notesSlides/notesSlide512.xml" ContentType="application/vnd.openxmlformats-officedocument.presentationml.notesSlide+xml"/>
  <Override PartName="/ppt/notesSlides/notesSlide513.xml" ContentType="application/vnd.openxmlformats-officedocument.presentationml.notesSlide+xml"/>
  <Override PartName="/ppt/notesSlides/notesSlide514.xml" ContentType="application/vnd.openxmlformats-officedocument.presentationml.notesSlide+xml"/>
  <Override PartName="/ppt/notesSlides/notesSlide515.xml" ContentType="application/vnd.openxmlformats-officedocument.presentationml.notesSlide+xml"/>
  <Override PartName="/ppt/notesSlides/notesSlide516.xml" ContentType="application/vnd.openxmlformats-officedocument.presentationml.notesSlide+xml"/>
  <Override PartName="/ppt/notesSlides/notesSlide517.xml" ContentType="application/vnd.openxmlformats-officedocument.presentationml.notesSlide+xml"/>
  <Override PartName="/ppt/notesSlides/notesSlide518.xml" ContentType="application/vnd.openxmlformats-officedocument.presentationml.notesSlide+xml"/>
  <Override PartName="/ppt/notesSlides/notesSlide519.xml" ContentType="application/vnd.openxmlformats-officedocument.presentationml.notesSlide+xml"/>
  <Override PartName="/ppt/notesSlides/notesSlide52.xml" ContentType="application/vnd.openxmlformats-officedocument.presentationml.notesSlide+xml"/>
  <Override PartName="/ppt/notesSlides/notesSlide520.xml" ContentType="application/vnd.openxmlformats-officedocument.presentationml.notesSlide+xml"/>
  <Override PartName="/ppt/notesSlides/notesSlide521.xml" ContentType="application/vnd.openxmlformats-officedocument.presentationml.notesSlide+xml"/>
  <Override PartName="/ppt/notesSlides/notesSlide522.xml" ContentType="application/vnd.openxmlformats-officedocument.presentationml.notesSlide+xml"/>
  <Override PartName="/ppt/notesSlides/notesSlide523.xml" ContentType="application/vnd.openxmlformats-officedocument.presentationml.notesSlide+xml"/>
  <Override PartName="/ppt/notesSlides/notesSlide524.xml" ContentType="application/vnd.openxmlformats-officedocument.presentationml.notesSlide+xml"/>
  <Override PartName="/ppt/notesSlides/notesSlide525.xml" ContentType="application/vnd.openxmlformats-officedocument.presentationml.notesSlide+xml"/>
  <Override PartName="/ppt/notesSlides/notesSlide526.xml" ContentType="application/vnd.openxmlformats-officedocument.presentationml.notesSlide+xml"/>
  <Override PartName="/ppt/notesSlides/notesSlide527.xml" ContentType="application/vnd.openxmlformats-officedocument.presentationml.notesSlide+xml"/>
  <Override PartName="/ppt/notesSlides/notesSlide528.xml" ContentType="application/vnd.openxmlformats-officedocument.presentationml.notesSlide+xml"/>
  <Override PartName="/ppt/notesSlides/notesSlide529.xml" ContentType="application/vnd.openxmlformats-officedocument.presentationml.notesSlide+xml"/>
  <Override PartName="/ppt/notesSlides/notesSlide53.xml" ContentType="application/vnd.openxmlformats-officedocument.presentationml.notesSlide+xml"/>
  <Override PartName="/ppt/notesSlides/notesSlide530.xml" ContentType="application/vnd.openxmlformats-officedocument.presentationml.notesSlide+xml"/>
  <Override PartName="/ppt/notesSlides/notesSlide531.xml" ContentType="application/vnd.openxmlformats-officedocument.presentationml.notesSlide+xml"/>
  <Override PartName="/ppt/notesSlides/notesSlide532.xml" ContentType="application/vnd.openxmlformats-officedocument.presentationml.notesSlide+xml"/>
  <Override PartName="/ppt/notesSlides/notesSlide533.xml" ContentType="application/vnd.openxmlformats-officedocument.presentationml.notesSlide+xml"/>
  <Override PartName="/ppt/notesSlides/notesSlide534.xml" ContentType="application/vnd.openxmlformats-officedocument.presentationml.notesSlide+xml"/>
  <Override PartName="/ppt/notesSlides/notesSlide535.xml" ContentType="application/vnd.openxmlformats-officedocument.presentationml.notesSlide+xml"/>
  <Override PartName="/ppt/notesSlides/notesSlide536.xml" ContentType="application/vnd.openxmlformats-officedocument.presentationml.notesSlide+xml"/>
  <Override PartName="/ppt/notesSlides/notesSlide537.xml" ContentType="application/vnd.openxmlformats-officedocument.presentationml.notesSlide+xml"/>
  <Override PartName="/ppt/notesSlides/notesSlide538.xml" ContentType="application/vnd.openxmlformats-officedocument.presentationml.notesSlide+xml"/>
  <Override PartName="/ppt/notesSlides/notesSlide539.xml" ContentType="application/vnd.openxmlformats-officedocument.presentationml.notesSlide+xml"/>
  <Override PartName="/ppt/notesSlides/notesSlide54.xml" ContentType="application/vnd.openxmlformats-officedocument.presentationml.notesSlide+xml"/>
  <Override PartName="/ppt/notesSlides/notesSlide540.xml" ContentType="application/vnd.openxmlformats-officedocument.presentationml.notesSlide+xml"/>
  <Override PartName="/ppt/notesSlides/notesSlide541.xml" ContentType="application/vnd.openxmlformats-officedocument.presentationml.notesSlide+xml"/>
  <Override PartName="/ppt/notesSlides/notesSlide542.xml" ContentType="application/vnd.openxmlformats-officedocument.presentationml.notesSlide+xml"/>
  <Override PartName="/ppt/notesSlides/notesSlide543.xml" ContentType="application/vnd.openxmlformats-officedocument.presentationml.notesSlide+xml"/>
  <Override PartName="/ppt/notesSlides/notesSlide544.xml" ContentType="application/vnd.openxmlformats-officedocument.presentationml.notesSlide+xml"/>
  <Override PartName="/ppt/notesSlides/notesSlide545.xml" ContentType="application/vnd.openxmlformats-officedocument.presentationml.notesSlide+xml"/>
  <Override PartName="/ppt/notesSlides/notesSlide546.xml" ContentType="application/vnd.openxmlformats-officedocument.presentationml.notesSlide+xml"/>
  <Override PartName="/ppt/notesSlides/notesSlide547.xml" ContentType="application/vnd.openxmlformats-officedocument.presentationml.notesSlide+xml"/>
  <Override PartName="/ppt/notesSlides/notesSlide548.xml" ContentType="application/vnd.openxmlformats-officedocument.presentationml.notesSlide+xml"/>
  <Override PartName="/ppt/notesSlides/notesSlide549.xml" ContentType="application/vnd.openxmlformats-officedocument.presentationml.notesSlide+xml"/>
  <Override PartName="/ppt/notesSlides/notesSlide55.xml" ContentType="application/vnd.openxmlformats-officedocument.presentationml.notesSlide+xml"/>
  <Override PartName="/ppt/notesSlides/notesSlide550.xml" ContentType="application/vnd.openxmlformats-officedocument.presentationml.notesSlide+xml"/>
  <Override PartName="/ppt/notesSlides/notesSlide551.xml" ContentType="application/vnd.openxmlformats-officedocument.presentationml.notesSlide+xml"/>
  <Override PartName="/ppt/notesSlides/notesSlide552.xml" ContentType="application/vnd.openxmlformats-officedocument.presentationml.notesSlide+xml"/>
  <Override PartName="/ppt/notesSlides/notesSlide553.xml" ContentType="application/vnd.openxmlformats-officedocument.presentationml.notesSlide+xml"/>
  <Override PartName="/ppt/notesSlides/notesSlide554.xml" ContentType="application/vnd.openxmlformats-officedocument.presentationml.notesSlide+xml"/>
  <Override PartName="/ppt/notesSlides/notesSlide555.xml" ContentType="application/vnd.openxmlformats-officedocument.presentationml.notesSlide+xml"/>
  <Override PartName="/ppt/notesSlides/notesSlide556.xml" ContentType="application/vnd.openxmlformats-officedocument.presentationml.notesSlide+xml"/>
  <Override PartName="/ppt/notesSlides/notesSlide557.xml" ContentType="application/vnd.openxmlformats-officedocument.presentationml.notesSlide+xml"/>
  <Override PartName="/ppt/notesSlides/notesSlide558.xml" ContentType="application/vnd.openxmlformats-officedocument.presentationml.notesSlide+xml"/>
  <Override PartName="/ppt/notesSlides/notesSlide559.xml" ContentType="application/vnd.openxmlformats-officedocument.presentationml.notesSlide+xml"/>
  <Override PartName="/ppt/notesSlides/notesSlide56.xml" ContentType="application/vnd.openxmlformats-officedocument.presentationml.notesSlide+xml"/>
  <Override PartName="/ppt/notesSlides/notesSlide560.xml" ContentType="application/vnd.openxmlformats-officedocument.presentationml.notesSlide+xml"/>
  <Override PartName="/ppt/notesSlides/notesSlide561.xml" ContentType="application/vnd.openxmlformats-officedocument.presentationml.notesSlide+xml"/>
  <Override PartName="/ppt/notesSlides/notesSlide562.xml" ContentType="application/vnd.openxmlformats-officedocument.presentationml.notesSlide+xml"/>
  <Override PartName="/ppt/notesSlides/notesSlide563.xml" ContentType="application/vnd.openxmlformats-officedocument.presentationml.notesSlide+xml"/>
  <Override PartName="/ppt/notesSlides/notesSlide564.xml" ContentType="application/vnd.openxmlformats-officedocument.presentationml.notesSlide+xml"/>
  <Override PartName="/ppt/notesSlides/notesSlide565.xml" ContentType="application/vnd.openxmlformats-officedocument.presentationml.notesSlide+xml"/>
  <Override PartName="/ppt/notesSlides/notesSlide566.xml" ContentType="application/vnd.openxmlformats-officedocument.presentationml.notesSlide+xml"/>
  <Override PartName="/ppt/notesSlides/notesSlide567.xml" ContentType="application/vnd.openxmlformats-officedocument.presentationml.notesSlide+xml"/>
  <Override PartName="/ppt/notesSlides/notesSlide568.xml" ContentType="application/vnd.openxmlformats-officedocument.presentationml.notesSlide+xml"/>
  <Override PartName="/ppt/notesSlides/notesSlide569.xml" ContentType="application/vnd.openxmlformats-officedocument.presentationml.notesSlide+xml"/>
  <Override PartName="/ppt/notesSlides/notesSlide57.xml" ContentType="application/vnd.openxmlformats-officedocument.presentationml.notesSlide+xml"/>
  <Override PartName="/ppt/notesSlides/notesSlide570.xml" ContentType="application/vnd.openxmlformats-officedocument.presentationml.notesSlide+xml"/>
  <Override PartName="/ppt/notesSlides/notesSlide571.xml" ContentType="application/vnd.openxmlformats-officedocument.presentationml.notesSlide+xml"/>
  <Override PartName="/ppt/notesSlides/notesSlide572.xml" ContentType="application/vnd.openxmlformats-officedocument.presentationml.notesSlide+xml"/>
  <Override PartName="/ppt/notesSlides/notesSlide573.xml" ContentType="application/vnd.openxmlformats-officedocument.presentationml.notesSlide+xml"/>
  <Override PartName="/ppt/notesSlides/notesSlide574.xml" ContentType="application/vnd.openxmlformats-officedocument.presentationml.notesSlide+xml"/>
  <Override PartName="/ppt/notesSlides/notesSlide575.xml" ContentType="application/vnd.openxmlformats-officedocument.presentationml.notesSlide+xml"/>
  <Override PartName="/ppt/notesSlides/notesSlide576.xml" ContentType="application/vnd.openxmlformats-officedocument.presentationml.notesSlide+xml"/>
  <Override PartName="/ppt/notesSlides/notesSlide577.xml" ContentType="application/vnd.openxmlformats-officedocument.presentationml.notesSlide+xml"/>
  <Override PartName="/ppt/notesSlides/notesSlide578.xml" ContentType="application/vnd.openxmlformats-officedocument.presentationml.notesSlide+xml"/>
  <Override PartName="/ppt/notesSlides/notesSlide579.xml" ContentType="application/vnd.openxmlformats-officedocument.presentationml.notesSlide+xml"/>
  <Override PartName="/ppt/notesSlides/notesSlide58.xml" ContentType="application/vnd.openxmlformats-officedocument.presentationml.notesSlide+xml"/>
  <Override PartName="/ppt/notesSlides/notesSlide580.xml" ContentType="application/vnd.openxmlformats-officedocument.presentationml.notesSlide+xml"/>
  <Override PartName="/ppt/notesSlides/notesSlide581.xml" ContentType="application/vnd.openxmlformats-officedocument.presentationml.notesSlide+xml"/>
  <Override PartName="/ppt/notesSlides/notesSlide582.xml" ContentType="application/vnd.openxmlformats-officedocument.presentationml.notesSlide+xml"/>
  <Override PartName="/ppt/notesSlides/notesSlide583.xml" ContentType="application/vnd.openxmlformats-officedocument.presentationml.notesSlide+xml"/>
  <Override PartName="/ppt/notesSlides/notesSlide584.xml" ContentType="application/vnd.openxmlformats-officedocument.presentationml.notesSlide+xml"/>
  <Override PartName="/ppt/notesSlides/notesSlide585.xml" ContentType="application/vnd.openxmlformats-officedocument.presentationml.notesSlide+xml"/>
  <Override PartName="/ppt/notesSlides/notesSlide586.xml" ContentType="application/vnd.openxmlformats-officedocument.presentationml.notesSlide+xml"/>
  <Override PartName="/ppt/notesSlides/notesSlide587.xml" ContentType="application/vnd.openxmlformats-officedocument.presentationml.notesSlide+xml"/>
  <Override PartName="/ppt/notesSlides/notesSlide588.xml" ContentType="application/vnd.openxmlformats-officedocument.presentationml.notesSlide+xml"/>
  <Override PartName="/ppt/notesSlides/notesSlide589.xml" ContentType="application/vnd.openxmlformats-officedocument.presentationml.notesSlide+xml"/>
  <Override PartName="/ppt/notesSlides/notesSlide59.xml" ContentType="application/vnd.openxmlformats-officedocument.presentationml.notesSlide+xml"/>
  <Override PartName="/ppt/notesSlides/notesSlide590.xml" ContentType="application/vnd.openxmlformats-officedocument.presentationml.notesSlide+xml"/>
  <Override PartName="/ppt/notesSlides/notesSlide591.xml" ContentType="application/vnd.openxmlformats-officedocument.presentationml.notesSlide+xml"/>
  <Override PartName="/ppt/notesSlides/notesSlide592.xml" ContentType="application/vnd.openxmlformats-officedocument.presentationml.notesSlide+xml"/>
  <Override PartName="/ppt/notesSlides/notesSlide593.xml" ContentType="application/vnd.openxmlformats-officedocument.presentationml.notesSlide+xml"/>
  <Override PartName="/ppt/notesSlides/notesSlide594.xml" ContentType="application/vnd.openxmlformats-officedocument.presentationml.notesSlide+xml"/>
  <Override PartName="/ppt/notesSlides/notesSlide595.xml" ContentType="application/vnd.openxmlformats-officedocument.presentationml.notesSlide+xml"/>
  <Override PartName="/ppt/notesSlides/notesSlide596.xml" ContentType="application/vnd.openxmlformats-officedocument.presentationml.notesSlide+xml"/>
  <Override PartName="/ppt/notesSlides/notesSlide597.xml" ContentType="application/vnd.openxmlformats-officedocument.presentationml.notesSlide+xml"/>
  <Override PartName="/ppt/notesSlides/notesSlide598.xml" ContentType="application/vnd.openxmlformats-officedocument.presentationml.notesSlide+xml"/>
  <Override PartName="/ppt/notesSlides/notesSlide59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00.xml" ContentType="application/vnd.openxmlformats-officedocument.presentationml.notesSlide+xml"/>
  <Override PartName="/ppt/notesSlides/notesSlide601.xml" ContentType="application/vnd.openxmlformats-officedocument.presentationml.notesSlide+xml"/>
  <Override PartName="/ppt/notesSlides/notesSlide602.xml" ContentType="application/vnd.openxmlformats-officedocument.presentationml.notesSlide+xml"/>
  <Override PartName="/ppt/notesSlides/notesSlide603.xml" ContentType="application/vnd.openxmlformats-officedocument.presentationml.notesSlide+xml"/>
  <Override PartName="/ppt/notesSlides/notesSlide604.xml" ContentType="application/vnd.openxmlformats-officedocument.presentationml.notesSlide+xml"/>
  <Override PartName="/ppt/notesSlides/notesSlide605.xml" ContentType="application/vnd.openxmlformats-officedocument.presentationml.notesSlide+xml"/>
  <Override PartName="/ppt/notesSlides/notesSlide606.xml" ContentType="application/vnd.openxmlformats-officedocument.presentationml.notesSlide+xml"/>
  <Override PartName="/ppt/notesSlides/notesSlide607.xml" ContentType="application/vnd.openxmlformats-officedocument.presentationml.notesSlide+xml"/>
  <Override PartName="/ppt/notesSlides/notesSlide608.xml" ContentType="application/vnd.openxmlformats-officedocument.presentationml.notesSlide+xml"/>
  <Override PartName="/ppt/notesSlides/notesSlide609.xml" ContentType="application/vnd.openxmlformats-officedocument.presentationml.notesSlide+xml"/>
  <Override PartName="/ppt/notesSlides/notesSlide61.xml" ContentType="application/vnd.openxmlformats-officedocument.presentationml.notesSlide+xml"/>
  <Override PartName="/ppt/notesSlides/notesSlide610.xml" ContentType="application/vnd.openxmlformats-officedocument.presentationml.notesSlide+xml"/>
  <Override PartName="/ppt/notesSlides/notesSlide611.xml" ContentType="application/vnd.openxmlformats-officedocument.presentationml.notesSlide+xml"/>
  <Override PartName="/ppt/notesSlides/notesSlide612.xml" ContentType="application/vnd.openxmlformats-officedocument.presentationml.notesSlide+xml"/>
  <Override PartName="/ppt/notesSlides/notesSlide613.xml" ContentType="application/vnd.openxmlformats-officedocument.presentationml.notesSlide+xml"/>
  <Override PartName="/ppt/notesSlides/notesSlide614.xml" ContentType="application/vnd.openxmlformats-officedocument.presentationml.notesSlide+xml"/>
  <Override PartName="/ppt/notesSlides/notesSlide615.xml" ContentType="application/vnd.openxmlformats-officedocument.presentationml.notesSlide+xml"/>
  <Override PartName="/ppt/notesSlides/notesSlide616.xml" ContentType="application/vnd.openxmlformats-officedocument.presentationml.notesSlide+xml"/>
  <Override PartName="/ppt/notesSlides/notesSlide617.xml" ContentType="application/vnd.openxmlformats-officedocument.presentationml.notesSlide+xml"/>
  <Override PartName="/ppt/notesSlides/notesSlide618.xml" ContentType="application/vnd.openxmlformats-officedocument.presentationml.notesSlide+xml"/>
  <Override PartName="/ppt/notesSlides/notesSlide619.xml" ContentType="application/vnd.openxmlformats-officedocument.presentationml.notesSlide+xml"/>
  <Override PartName="/ppt/notesSlides/notesSlide62.xml" ContentType="application/vnd.openxmlformats-officedocument.presentationml.notesSlide+xml"/>
  <Override PartName="/ppt/notesSlides/notesSlide620.xml" ContentType="application/vnd.openxmlformats-officedocument.presentationml.notesSlide+xml"/>
  <Override PartName="/ppt/notesSlides/notesSlide621.xml" ContentType="application/vnd.openxmlformats-officedocument.presentationml.notesSlide+xml"/>
  <Override PartName="/ppt/notesSlides/notesSlide622.xml" ContentType="application/vnd.openxmlformats-officedocument.presentationml.notesSlide+xml"/>
  <Override PartName="/ppt/notesSlides/notesSlide623.xml" ContentType="application/vnd.openxmlformats-officedocument.presentationml.notesSlide+xml"/>
  <Override PartName="/ppt/notesSlides/notesSlide624.xml" ContentType="application/vnd.openxmlformats-officedocument.presentationml.notesSlide+xml"/>
  <Override PartName="/ppt/notesSlides/notesSlide625.xml" ContentType="application/vnd.openxmlformats-officedocument.presentationml.notesSlide+xml"/>
  <Override PartName="/ppt/notesSlides/notesSlide626.xml" ContentType="application/vnd.openxmlformats-officedocument.presentationml.notesSlide+xml"/>
  <Override PartName="/ppt/notesSlides/notesSlide627.xml" ContentType="application/vnd.openxmlformats-officedocument.presentationml.notesSlide+xml"/>
  <Override PartName="/ppt/notesSlides/notesSlide628.xml" ContentType="application/vnd.openxmlformats-officedocument.presentationml.notesSlide+xml"/>
  <Override PartName="/ppt/notesSlides/notesSlide629.xml" ContentType="application/vnd.openxmlformats-officedocument.presentationml.notesSlide+xml"/>
  <Override PartName="/ppt/notesSlides/notesSlide63.xml" ContentType="application/vnd.openxmlformats-officedocument.presentationml.notesSlide+xml"/>
  <Override PartName="/ppt/notesSlides/notesSlide630.xml" ContentType="application/vnd.openxmlformats-officedocument.presentationml.notesSlide+xml"/>
  <Override PartName="/ppt/notesSlides/notesSlide631.xml" ContentType="application/vnd.openxmlformats-officedocument.presentationml.notesSlide+xml"/>
  <Override PartName="/ppt/notesSlides/notesSlide632.xml" ContentType="application/vnd.openxmlformats-officedocument.presentationml.notesSlide+xml"/>
  <Override PartName="/ppt/notesSlides/notesSlide633.xml" ContentType="application/vnd.openxmlformats-officedocument.presentationml.notesSlide+xml"/>
  <Override PartName="/ppt/notesSlides/notesSlide634.xml" ContentType="application/vnd.openxmlformats-officedocument.presentationml.notesSlide+xml"/>
  <Override PartName="/ppt/notesSlides/notesSlide635.xml" ContentType="application/vnd.openxmlformats-officedocument.presentationml.notesSlide+xml"/>
  <Override PartName="/ppt/notesSlides/notesSlide636.xml" ContentType="application/vnd.openxmlformats-officedocument.presentationml.notesSlide+xml"/>
  <Override PartName="/ppt/notesSlides/notesSlide637.xml" ContentType="application/vnd.openxmlformats-officedocument.presentationml.notesSlide+xml"/>
  <Override PartName="/ppt/notesSlides/notesSlide638.xml" ContentType="application/vnd.openxmlformats-officedocument.presentationml.notesSlide+xml"/>
  <Override PartName="/ppt/notesSlides/notesSlide639.xml" ContentType="application/vnd.openxmlformats-officedocument.presentationml.notesSlide+xml"/>
  <Override PartName="/ppt/notesSlides/notesSlide64.xml" ContentType="application/vnd.openxmlformats-officedocument.presentationml.notesSlide+xml"/>
  <Override PartName="/ppt/notesSlides/notesSlide640.xml" ContentType="application/vnd.openxmlformats-officedocument.presentationml.notesSlide+xml"/>
  <Override PartName="/ppt/notesSlides/notesSlide641.xml" ContentType="application/vnd.openxmlformats-officedocument.presentationml.notesSlide+xml"/>
  <Override PartName="/ppt/notesSlides/notesSlide642.xml" ContentType="application/vnd.openxmlformats-officedocument.presentationml.notesSlide+xml"/>
  <Override PartName="/ppt/notesSlides/notesSlide643.xml" ContentType="application/vnd.openxmlformats-officedocument.presentationml.notesSlide+xml"/>
  <Override PartName="/ppt/notesSlides/notesSlide644.xml" ContentType="application/vnd.openxmlformats-officedocument.presentationml.notesSlide+xml"/>
  <Override PartName="/ppt/notesSlides/notesSlide645.xml" ContentType="application/vnd.openxmlformats-officedocument.presentationml.notesSlide+xml"/>
  <Override PartName="/ppt/notesSlides/notesSlide646.xml" ContentType="application/vnd.openxmlformats-officedocument.presentationml.notesSlide+xml"/>
  <Override PartName="/ppt/notesSlides/notesSlide647.xml" ContentType="application/vnd.openxmlformats-officedocument.presentationml.notesSlide+xml"/>
  <Override PartName="/ppt/notesSlides/notesSlide648.xml" ContentType="application/vnd.openxmlformats-officedocument.presentationml.notesSlide+xml"/>
  <Override PartName="/ppt/notesSlides/notesSlide649.xml" ContentType="application/vnd.openxmlformats-officedocument.presentationml.notesSlide+xml"/>
  <Override PartName="/ppt/notesSlides/notesSlide65.xml" ContentType="application/vnd.openxmlformats-officedocument.presentationml.notesSlide+xml"/>
  <Override PartName="/ppt/notesSlides/notesSlide650.xml" ContentType="application/vnd.openxmlformats-officedocument.presentationml.notesSlide+xml"/>
  <Override PartName="/ppt/notesSlides/notesSlide651.xml" ContentType="application/vnd.openxmlformats-officedocument.presentationml.notesSlide+xml"/>
  <Override PartName="/ppt/notesSlides/notesSlide652.xml" ContentType="application/vnd.openxmlformats-officedocument.presentationml.notesSlide+xml"/>
  <Override PartName="/ppt/notesSlides/notesSlide653.xml" ContentType="application/vnd.openxmlformats-officedocument.presentationml.notesSlide+xml"/>
  <Override PartName="/ppt/notesSlides/notesSlide654.xml" ContentType="application/vnd.openxmlformats-officedocument.presentationml.notesSlide+xml"/>
  <Override PartName="/ppt/notesSlides/notesSlide655.xml" ContentType="application/vnd.openxmlformats-officedocument.presentationml.notesSlide+xml"/>
  <Override PartName="/ppt/notesSlides/notesSlide656.xml" ContentType="application/vnd.openxmlformats-officedocument.presentationml.notesSlide+xml"/>
  <Override PartName="/ppt/notesSlides/notesSlide657.xml" ContentType="application/vnd.openxmlformats-officedocument.presentationml.notesSlide+xml"/>
  <Override PartName="/ppt/notesSlides/notesSlide658.xml" ContentType="application/vnd.openxmlformats-officedocument.presentationml.notesSlide+xml"/>
  <Override PartName="/ppt/notesSlides/notesSlide659.xml" ContentType="application/vnd.openxmlformats-officedocument.presentationml.notesSlide+xml"/>
  <Override PartName="/ppt/notesSlides/notesSlide66.xml" ContentType="application/vnd.openxmlformats-officedocument.presentationml.notesSlide+xml"/>
  <Override PartName="/ppt/notesSlides/notesSlide660.xml" ContentType="application/vnd.openxmlformats-officedocument.presentationml.notesSlide+xml"/>
  <Override PartName="/ppt/notesSlides/notesSlide661.xml" ContentType="application/vnd.openxmlformats-officedocument.presentationml.notesSlide+xml"/>
  <Override PartName="/ppt/notesSlides/notesSlide662.xml" ContentType="application/vnd.openxmlformats-officedocument.presentationml.notesSlide+xml"/>
  <Override PartName="/ppt/notesSlides/notesSlide663.xml" ContentType="application/vnd.openxmlformats-officedocument.presentationml.notesSlide+xml"/>
  <Override PartName="/ppt/notesSlides/notesSlide664.xml" ContentType="application/vnd.openxmlformats-officedocument.presentationml.notesSlide+xml"/>
  <Override PartName="/ppt/notesSlides/notesSlide665.xml" ContentType="application/vnd.openxmlformats-officedocument.presentationml.notesSlide+xml"/>
  <Override PartName="/ppt/notesSlides/notesSlide666.xml" ContentType="application/vnd.openxmlformats-officedocument.presentationml.notesSlide+xml"/>
  <Override PartName="/ppt/notesSlides/notesSlide667.xml" ContentType="application/vnd.openxmlformats-officedocument.presentationml.notesSlide+xml"/>
  <Override PartName="/ppt/notesSlides/notesSlide668.xml" ContentType="application/vnd.openxmlformats-officedocument.presentationml.notesSlide+xml"/>
  <Override PartName="/ppt/notesSlides/notesSlide669.xml" ContentType="application/vnd.openxmlformats-officedocument.presentationml.notesSlide+xml"/>
  <Override PartName="/ppt/notesSlides/notesSlide67.xml" ContentType="application/vnd.openxmlformats-officedocument.presentationml.notesSlide+xml"/>
  <Override PartName="/ppt/notesSlides/notesSlide670.xml" ContentType="application/vnd.openxmlformats-officedocument.presentationml.notesSlide+xml"/>
  <Override PartName="/ppt/notesSlides/notesSlide671.xml" ContentType="application/vnd.openxmlformats-officedocument.presentationml.notesSlide+xml"/>
  <Override PartName="/ppt/notesSlides/notesSlide672.xml" ContentType="application/vnd.openxmlformats-officedocument.presentationml.notesSlide+xml"/>
  <Override PartName="/ppt/notesSlides/notesSlide673.xml" ContentType="application/vnd.openxmlformats-officedocument.presentationml.notesSlide+xml"/>
  <Override PartName="/ppt/notesSlides/notesSlide674.xml" ContentType="application/vnd.openxmlformats-officedocument.presentationml.notesSlide+xml"/>
  <Override PartName="/ppt/notesSlides/notesSlide675.xml" ContentType="application/vnd.openxmlformats-officedocument.presentationml.notesSlide+xml"/>
  <Override PartName="/ppt/notesSlides/notesSlide676.xml" ContentType="application/vnd.openxmlformats-officedocument.presentationml.notesSlide+xml"/>
  <Override PartName="/ppt/notesSlides/notesSlide677.xml" ContentType="application/vnd.openxmlformats-officedocument.presentationml.notesSlide+xml"/>
  <Override PartName="/ppt/notesSlides/notesSlide678.xml" ContentType="application/vnd.openxmlformats-officedocument.presentationml.notesSlide+xml"/>
  <Override PartName="/ppt/notesSlides/notesSlide679.xml" ContentType="application/vnd.openxmlformats-officedocument.presentationml.notesSlide+xml"/>
  <Override PartName="/ppt/notesSlides/notesSlide68.xml" ContentType="application/vnd.openxmlformats-officedocument.presentationml.notesSlide+xml"/>
  <Override PartName="/ppt/notesSlides/notesSlide680.xml" ContentType="application/vnd.openxmlformats-officedocument.presentationml.notesSlide+xml"/>
  <Override PartName="/ppt/notesSlides/notesSlide681.xml" ContentType="application/vnd.openxmlformats-officedocument.presentationml.notesSlide+xml"/>
  <Override PartName="/ppt/notesSlides/notesSlide682.xml" ContentType="application/vnd.openxmlformats-officedocument.presentationml.notesSlide+xml"/>
  <Override PartName="/ppt/notesSlides/notesSlide683.xml" ContentType="application/vnd.openxmlformats-officedocument.presentationml.notesSlide+xml"/>
  <Override PartName="/ppt/notesSlides/notesSlide684.xml" ContentType="application/vnd.openxmlformats-officedocument.presentationml.notesSlide+xml"/>
  <Override PartName="/ppt/notesSlides/notesSlide685.xml" ContentType="application/vnd.openxmlformats-officedocument.presentationml.notesSlide+xml"/>
  <Override PartName="/ppt/notesSlides/notesSlide686.xml" ContentType="application/vnd.openxmlformats-officedocument.presentationml.notesSlide+xml"/>
  <Override PartName="/ppt/notesSlides/notesSlide687.xml" ContentType="application/vnd.openxmlformats-officedocument.presentationml.notesSlide+xml"/>
  <Override PartName="/ppt/notesSlides/notesSlide688.xml" ContentType="application/vnd.openxmlformats-officedocument.presentationml.notesSlide+xml"/>
  <Override PartName="/ppt/notesSlides/notesSlide689.xml" ContentType="application/vnd.openxmlformats-officedocument.presentationml.notesSlide+xml"/>
  <Override PartName="/ppt/notesSlides/notesSlide69.xml" ContentType="application/vnd.openxmlformats-officedocument.presentationml.notesSlide+xml"/>
  <Override PartName="/ppt/notesSlides/notesSlide690.xml" ContentType="application/vnd.openxmlformats-officedocument.presentationml.notesSlide+xml"/>
  <Override PartName="/ppt/notesSlides/notesSlide691.xml" ContentType="application/vnd.openxmlformats-officedocument.presentationml.notesSlide+xml"/>
  <Override PartName="/ppt/notesSlides/notesSlide692.xml" ContentType="application/vnd.openxmlformats-officedocument.presentationml.notesSlide+xml"/>
  <Override PartName="/ppt/notesSlides/notesSlide693.xml" ContentType="application/vnd.openxmlformats-officedocument.presentationml.notesSlide+xml"/>
  <Override PartName="/ppt/notesSlides/notesSlide694.xml" ContentType="application/vnd.openxmlformats-officedocument.presentationml.notesSlide+xml"/>
  <Override PartName="/ppt/notesSlides/notesSlide695.xml" ContentType="application/vnd.openxmlformats-officedocument.presentationml.notesSlide+xml"/>
  <Override PartName="/ppt/notesSlides/notesSlide696.xml" ContentType="application/vnd.openxmlformats-officedocument.presentationml.notesSlide+xml"/>
  <Override PartName="/ppt/notesSlides/notesSlide697.xml" ContentType="application/vnd.openxmlformats-officedocument.presentationml.notesSlide+xml"/>
  <Override PartName="/ppt/notesSlides/notesSlide698.xml" ContentType="application/vnd.openxmlformats-officedocument.presentationml.notesSlide+xml"/>
  <Override PartName="/ppt/notesSlides/notesSlide69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00.xml" ContentType="application/vnd.openxmlformats-officedocument.presentationml.notesSlide+xml"/>
  <Override PartName="/ppt/notesSlides/notesSlide701.xml" ContentType="application/vnd.openxmlformats-officedocument.presentationml.notesSlide+xml"/>
  <Override PartName="/ppt/notesSlides/notesSlide702.xml" ContentType="application/vnd.openxmlformats-officedocument.presentationml.notesSlide+xml"/>
  <Override PartName="/ppt/notesSlides/notesSlide703.xml" ContentType="application/vnd.openxmlformats-officedocument.presentationml.notesSlide+xml"/>
  <Override PartName="/ppt/notesSlides/notesSlide704.xml" ContentType="application/vnd.openxmlformats-officedocument.presentationml.notesSlide+xml"/>
  <Override PartName="/ppt/notesSlides/notesSlide705.xml" ContentType="application/vnd.openxmlformats-officedocument.presentationml.notesSlide+xml"/>
  <Override PartName="/ppt/notesSlides/notesSlide706.xml" ContentType="application/vnd.openxmlformats-officedocument.presentationml.notesSlide+xml"/>
  <Override PartName="/ppt/notesSlides/notesSlide707.xml" ContentType="application/vnd.openxmlformats-officedocument.presentationml.notesSlide+xml"/>
  <Override PartName="/ppt/notesSlides/notesSlide708.xml" ContentType="application/vnd.openxmlformats-officedocument.presentationml.notesSlide+xml"/>
  <Override PartName="/ppt/notesSlides/notesSlide709.xml" ContentType="application/vnd.openxmlformats-officedocument.presentationml.notesSlide+xml"/>
  <Override PartName="/ppt/notesSlides/notesSlide71.xml" ContentType="application/vnd.openxmlformats-officedocument.presentationml.notesSlide+xml"/>
  <Override PartName="/ppt/notesSlides/notesSlide710.xml" ContentType="application/vnd.openxmlformats-officedocument.presentationml.notesSlide+xml"/>
  <Override PartName="/ppt/notesSlides/notesSlide711.xml" ContentType="application/vnd.openxmlformats-officedocument.presentationml.notesSlide+xml"/>
  <Override PartName="/ppt/notesSlides/notesSlide712.xml" ContentType="application/vnd.openxmlformats-officedocument.presentationml.notesSlide+xml"/>
  <Override PartName="/ppt/notesSlides/notesSlide713.xml" ContentType="application/vnd.openxmlformats-officedocument.presentationml.notesSlide+xml"/>
  <Override PartName="/ppt/notesSlides/notesSlide714.xml" ContentType="application/vnd.openxmlformats-officedocument.presentationml.notesSlide+xml"/>
  <Override PartName="/ppt/notesSlides/notesSlide715.xml" ContentType="application/vnd.openxmlformats-officedocument.presentationml.notesSlide+xml"/>
  <Override PartName="/ppt/notesSlides/notesSlide716.xml" ContentType="application/vnd.openxmlformats-officedocument.presentationml.notesSlide+xml"/>
  <Override PartName="/ppt/notesSlides/notesSlide717.xml" ContentType="application/vnd.openxmlformats-officedocument.presentationml.notesSlide+xml"/>
  <Override PartName="/ppt/notesSlides/notesSlide718.xml" ContentType="application/vnd.openxmlformats-officedocument.presentationml.notesSlide+xml"/>
  <Override PartName="/ppt/notesSlides/notesSlide719.xml" ContentType="application/vnd.openxmlformats-officedocument.presentationml.notesSlide+xml"/>
  <Override PartName="/ppt/notesSlides/notesSlide72.xml" ContentType="application/vnd.openxmlformats-officedocument.presentationml.notesSlide+xml"/>
  <Override PartName="/ppt/notesSlides/notesSlide720.xml" ContentType="application/vnd.openxmlformats-officedocument.presentationml.notesSlide+xml"/>
  <Override PartName="/ppt/notesSlides/notesSlide721.xml" ContentType="application/vnd.openxmlformats-officedocument.presentationml.notesSlide+xml"/>
  <Override PartName="/ppt/notesSlides/notesSlide722.xml" ContentType="application/vnd.openxmlformats-officedocument.presentationml.notesSlide+xml"/>
  <Override PartName="/ppt/notesSlides/notesSlide723.xml" ContentType="application/vnd.openxmlformats-officedocument.presentationml.notesSlide+xml"/>
  <Override PartName="/ppt/notesSlides/notesSlide724.xml" ContentType="application/vnd.openxmlformats-officedocument.presentationml.notesSlide+xml"/>
  <Override PartName="/ppt/notesSlides/notesSlide725.xml" ContentType="application/vnd.openxmlformats-officedocument.presentationml.notesSlide+xml"/>
  <Override PartName="/ppt/notesSlides/notesSlide726.xml" ContentType="application/vnd.openxmlformats-officedocument.presentationml.notesSlide+xml"/>
  <Override PartName="/ppt/notesSlides/notesSlide727.xml" ContentType="application/vnd.openxmlformats-officedocument.presentationml.notesSlide+xml"/>
  <Override PartName="/ppt/notesSlides/notesSlide728.xml" ContentType="application/vnd.openxmlformats-officedocument.presentationml.notesSlide+xml"/>
  <Override PartName="/ppt/notesSlides/notesSlide729.xml" ContentType="application/vnd.openxmlformats-officedocument.presentationml.notesSlide+xml"/>
  <Override PartName="/ppt/notesSlides/notesSlide73.xml" ContentType="application/vnd.openxmlformats-officedocument.presentationml.notesSlide+xml"/>
  <Override PartName="/ppt/notesSlides/notesSlide730.xml" ContentType="application/vnd.openxmlformats-officedocument.presentationml.notesSlide+xml"/>
  <Override PartName="/ppt/notesSlides/notesSlide731.xml" ContentType="application/vnd.openxmlformats-officedocument.presentationml.notesSlide+xml"/>
  <Override PartName="/ppt/notesSlides/notesSlide732.xml" ContentType="application/vnd.openxmlformats-officedocument.presentationml.notesSlide+xml"/>
  <Override PartName="/ppt/notesSlides/notesSlide733.xml" ContentType="application/vnd.openxmlformats-officedocument.presentationml.notesSlide+xml"/>
  <Override PartName="/ppt/notesSlides/notesSlide734.xml" ContentType="application/vnd.openxmlformats-officedocument.presentationml.notesSlide+xml"/>
  <Override PartName="/ppt/notesSlides/notesSlide735.xml" ContentType="application/vnd.openxmlformats-officedocument.presentationml.notesSlide+xml"/>
  <Override PartName="/ppt/notesSlides/notesSlide736.xml" ContentType="application/vnd.openxmlformats-officedocument.presentationml.notesSlide+xml"/>
  <Override PartName="/ppt/notesSlides/notesSlide737.xml" ContentType="application/vnd.openxmlformats-officedocument.presentationml.notesSlide+xml"/>
  <Override PartName="/ppt/notesSlides/notesSlide738.xml" ContentType="application/vnd.openxmlformats-officedocument.presentationml.notesSlide+xml"/>
  <Override PartName="/ppt/notesSlides/notesSlide739.xml" ContentType="application/vnd.openxmlformats-officedocument.presentationml.notesSlide+xml"/>
  <Override PartName="/ppt/notesSlides/notesSlide74.xml" ContentType="application/vnd.openxmlformats-officedocument.presentationml.notesSlide+xml"/>
  <Override PartName="/ppt/notesSlides/notesSlide740.xml" ContentType="application/vnd.openxmlformats-officedocument.presentationml.notesSlide+xml"/>
  <Override PartName="/ppt/notesSlides/notesSlide741.xml" ContentType="application/vnd.openxmlformats-officedocument.presentationml.notesSlide+xml"/>
  <Override PartName="/ppt/notesSlides/notesSlide742.xml" ContentType="application/vnd.openxmlformats-officedocument.presentationml.notesSlide+xml"/>
  <Override PartName="/ppt/notesSlides/notesSlide743.xml" ContentType="application/vnd.openxmlformats-officedocument.presentationml.notesSlide+xml"/>
  <Override PartName="/ppt/notesSlides/notesSlide744.xml" ContentType="application/vnd.openxmlformats-officedocument.presentationml.notesSlide+xml"/>
  <Override PartName="/ppt/notesSlides/notesSlide745.xml" ContentType="application/vnd.openxmlformats-officedocument.presentationml.notesSlide+xml"/>
  <Override PartName="/ppt/notesSlides/notesSlide746.xml" ContentType="application/vnd.openxmlformats-officedocument.presentationml.notesSlide+xml"/>
  <Override PartName="/ppt/notesSlides/notesSlide747.xml" ContentType="application/vnd.openxmlformats-officedocument.presentationml.notesSlide+xml"/>
  <Override PartName="/ppt/notesSlides/notesSlide748.xml" ContentType="application/vnd.openxmlformats-officedocument.presentationml.notesSlide+xml"/>
  <Override PartName="/ppt/notesSlides/notesSlide749.xml" ContentType="application/vnd.openxmlformats-officedocument.presentationml.notesSlide+xml"/>
  <Override PartName="/ppt/notesSlides/notesSlide75.xml" ContentType="application/vnd.openxmlformats-officedocument.presentationml.notesSlide+xml"/>
  <Override PartName="/ppt/notesSlides/notesSlide750.xml" ContentType="application/vnd.openxmlformats-officedocument.presentationml.notesSlide+xml"/>
  <Override PartName="/ppt/notesSlides/notesSlide751.xml" ContentType="application/vnd.openxmlformats-officedocument.presentationml.notesSlide+xml"/>
  <Override PartName="/ppt/notesSlides/notesSlide752.xml" ContentType="application/vnd.openxmlformats-officedocument.presentationml.notesSlide+xml"/>
  <Override PartName="/ppt/notesSlides/notesSlide753.xml" ContentType="application/vnd.openxmlformats-officedocument.presentationml.notesSlide+xml"/>
  <Override PartName="/ppt/notesSlides/notesSlide754.xml" ContentType="application/vnd.openxmlformats-officedocument.presentationml.notesSlide+xml"/>
  <Override PartName="/ppt/notesSlides/notesSlide755.xml" ContentType="application/vnd.openxmlformats-officedocument.presentationml.notesSlide+xml"/>
  <Override PartName="/ppt/notesSlides/notesSlide756.xml" ContentType="application/vnd.openxmlformats-officedocument.presentationml.notesSlide+xml"/>
  <Override PartName="/ppt/notesSlides/notesSlide757.xml" ContentType="application/vnd.openxmlformats-officedocument.presentationml.notesSlide+xml"/>
  <Override PartName="/ppt/notesSlides/notesSlide758.xml" ContentType="application/vnd.openxmlformats-officedocument.presentationml.notesSlide+xml"/>
  <Override PartName="/ppt/notesSlides/notesSlide759.xml" ContentType="application/vnd.openxmlformats-officedocument.presentationml.notesSlide+xml"/>
  <Override PartName="/ppt/notesSlides/notesSlide76.xml" ContentType="application/vnd.openxmlformats-officedocument.presentationml.notesSlide+xml"/>
  <Override PartName="/ppt/notesSlides/notesSlide760.xml" ContentType="application/vnd.openxmlformats-officedocument.presentationml.notesSlide+xml"/>
  <Override PartName="/ppt/notesSlides/notesSlide761.xml" ContentType="application/vnd.openxmlformats-officedocument.presentationml.notesSlide+xml"/>
  <Override PartName="/ppt/notesSlides/notesSlide762.xml" ContentType="application/vnd.openxmlformats-officedocument.presentationml.notesSlide+xml"/>
  <Override PartName="/ppt/notesSlides/notesSlide763.xml" ContentType="application/vnd.openxmlformats-officedocument.presentationml.notesSlide+xml"/>
  <Override PartName="/ppt/notesSlides/notesSlide764.xml" ContentType="application/vnd.openxmlformats-officedocument.presentationml.notesSlide+xml"/>
  <Override PartName="/ppt/notesSlides/notesSlide765.xml" ContentType="application/vnd.openxmlformats-officedocument.presentationml.notesSlide+xml"/>
  <Override PartName="/ppt/notesSlides/notesSlide766.xml" ContentType="application/vnd.openxmlformats-officedocument.presentationml.notesSlide+xml"/>
  <Override PartName="/ppt/notesSlides/notesSlide767.xml" ContentType="application/vnd.openxmlformats-officedocument.presentationml.notesSlide+xml"/>
  <Override PartName="/ppt/notesSlides/notesSlide768.xml" ContentType="application/vnd.openxmlformats-officedocument.presentationml.notesSlide+xml"/>
  <Override PartName="/ppt/notesSlides/notesSlide769.xml" ContentType="application/vnd.openxmlformats-officedocument.presentationml.notesSlide+xml"/>
  <Override PartName="/ppt/notesSlides/notesSlide77.xml" ContentType="application/vnd.openxmlformats-officedocument.presentationml.notesSlide+xml"/>
  <Override PartName="/ppt/notesSlides/notesSlide770.xml" ContentType="application/vnd.openxmlformats-officedocument.presentationml.notesSlide+xml"/>
  <Override PartName="/ppt/notesSlides/notesSlide771.xml" ContentType="application/vnd.openxmlformats-officedocument.presentationml.notesSlide+xml"/>
  <Override PartName="/ppt/notesSlides/notesSlide772.xml" ContentType="application/vnd.openxmlformats-officedocument.presentationml.notesSlide+xml"/>
  <Override PartName="/ppt/notesSlides/notesSlide773.xml" ContentType="application/vnd.openxmlformats-officedocument.presentationml.notesSlide+xml"/>
  <Override PartName="/ppt/notesSlides/notesSlide774.xml" ContentType="application/vnd.openxmlformats-officedocument.presentationml.notesSlide+xml"/>
  <Override PartName="/ppt/notesSlides/notesSlide775.xml" ContentType="application/vnd.openxmlformats-officedocument.presentationml.notesSlide+xml"/>
  <Override PartName="/ppt/notesSlides/notesSlide776.xml" ContentType="application/vnd.openxmlformats-officedocument.presentationml.notesSlide+xml"/>
  <Override PartName="/ppt/notesSlides/notesSlide777.xml" ContentType="application/vnd.openxmlformats-officedocument.presentationml.notesSlide+xml"/>
  <Override PartName="/ppt/notesSlides/notesSlide778.xml" ContentType="application/vnd.openxmlformats-officedocument.presentationml.notesSlide+xml"/>
  <Override PartName="/ppt/notesSlides/notesSlide779.xml" ContentType="application/vnd.openxmlformats-officedocument.presentationml.notesSlide+xml"/>
  <Override PartName="/ppt/notesSlides/notesSlide78.xml" ContentType="application/vnd.openxmlformats-officedocument.presentationml.notesSlide+xml"/>
  <Override PartName="/ppt/notesSlides/notesSlide780.xml" ContentType="application/vnd.openxmlformats-officedocument.presentationml.notesSlide+xml"/>
  <Override PartName="/ppt/notesSlides/notesSlide781.xml" ContentType="application/vnd.openxmlformats-officedocument.presentationml.notesSlide+xml"/>
  <Override PartName="/ppt/notesSlides/notesSlide782.xml" ContentType="application/vnd.openxmlformats-officedocument.presentationml.notesSlide+xml"/>
  <Override PartName="/ppt/notesSlides/notesSlide783.xml" ContentType="application/vnd.openxmlformats-officedocument.presentationml.notesSlide+xml"/>
  <Override PartName="/ppt/notesSlides/notesSlide784.xml" ContentType="application/vnd.openxmlformats-officedocument.presentationml.notesSlide+xml"/>
  <Override PartName="/ppt/notesSlides/notesSlide785.xml" ContentType="application/vnd.openxmlformats-officedocument.presentationml.notesSlide+xml"/>
  <Override PartName="/ppt/notesSlides/notesSlide786.xml" ContentType="application/vnd.openxmlformats-officedocument.presentationml.notesSlide+xml"/>
  <Override PartName="/ppt/notesSlides/notesSlide787.xml" ContentType="application/vnd.openxmlformats-officedocument.presentationml.notesSlide+xml"/>
  <Override PartName="/ppt/notesSlides/notesSlide788.xml" ContentType="application/vnd.openxmlformats-officedocument.presentationml.notesSlide+xml"/>
  <Override PartName="/ppt/notesSlides/notesSlide789.xml" ContentType="application/vnd.openxmlformats-officedocument.presentationml.notesSlide+xml"/>
  <Override PartName="/ppt/notesSlides/notesSlide79.xml" ContentType="application/vnd.openxmlformats-officedocument.presentationml.notesSlide+xml"/>
  <Override PartName="/ppt/notesSlides/notesSlide790.xml" ContentType="application/vnd.openxmlformats-officedocument.presentationml.notesSlide+xml"/>
  <Override PartName="/ppt/notesSlides/notesSlide791.xml" ContentType="application/vnd.openxmlformats-officedocument.presentationml.notesSlide+xml"/>
  <Override PartName="/ppt/notesSlides/notesSlide792.xml" ContentType="application/vnd.openxmlformats-officedocument.presentationml.notesSlide+xml"/>
  <Override PartName="/ppt/notesSlides/notesSlide793.xml" ContentType="application/vnd.openxmlformats-officedocument.presentationml.notesSlide+xml"/>
  <Override PartName="/ppt/notesSlides/notesSlide794.xml" ContentType="application/vnd.openxmlformats-officedocument.presentationml.notesSlide+xml"/>
  <Override PartName="/ppt/notesSlides/notesSlide795.xml" ContentType="application/vnd.openxmlformats-officedocument.presentationml.notesSlide+xml"/>
  <Override PartName="/ppt/notesSlides/notesSlide796.xml" ContentType="application/vnd.openxmlformats-officedocument.presentationml.notesSlide+xml"/>
  <Override PartName="/ppt/notesSlides/notesSlide797.xml" ContentType="application/vnd.openxmlformats-officedocument.presentationml.notesSlide+xml"/>
  <Override PartName="/ppt/notesSlides/notesSlide798.xml" ContentType="application/vnd.openxmlformats-officedocument.presentationml.notesSlide+xml"/>
  <Override PartName="/ppt/notesSlides/notesSlide79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00.xml" ContentType="application/vnd.openxmlformats-officedocument.presentationml.notesSlide+xml"/>
  <Override PartName="/ppt/notesSlides/notesSlide801.xml" ContentType="application/vnd.openxmlformats-officedocument.presentationml.notesSlide+xml"/>
  <Override PartName="/ppt/notesSlides/notesSlide802.xml" ContentType="application/vnd.openxmlformats-officedocument.presentationml.notesSlide+xml"/>
  <Override PartName="/ppt/notesSlides/notesSlide803.xml" ContentType="application/vnd.openxmlformats-officedocument.presentationml.notesSlide+xml"/>
  <Override PartName="/ppt/notesSlides/notesSlide804.xml" ContentType="application/vnd.openxmlformats-officedocument.presentationml.notesSlide+xml"/>
  <Override PartName="/ppt/notesSlides/notesSlide805.xml" ContentType="application/vnd.openxmlformats-officedocument.presentationml.notesSlide+xml"/>
  <Override PartName="/ppt/notesSlides/notesSlide806.xml" ContentType="application/vnd.openxmlformats-officedocument.presentationml.notesSlide+xml"/>
  <Override PartName="/ppt/notesSlides/notesSlide807.xml" ContentType="application/vnd.openxmlformats-officedocument.presentationml.notesSlide+xml"/>
  <Override PartName="/ppt/notesSlides/notesSlide808.xml" ContentType="application/vnd.openxmlformats-officedocument.presentationml.notesSlide+xml"/>
  <Override PartName="/ppt/notesSlides/notesSlide809.xml" ContentType="application/vnd.openxmlformats-officedocument.presentationml.notesSlide+xml"/>
  <Override PartName="/ppt/notesSlides/notesSlide81.xml" ContentType="application/vnd.openxmlformats-officedocument.presentationml.notesSlide+xml"/>
  <Override PartName="/ppt/notesSlides/notesSlide810.xml" ContentType="application/vnd.openxmlformats-officedocument.presentationml.notesSlide+xml"/>
  <Override PartName="/ppt/notesSlides/notesSlide811.xml" ContentType="application/vnd.openxmlformats-officedocument.presentationml.notesSlide+xml"/>
  <Override PartName="/ppt/notesSlides/notesSlide812.xml" ContentType="application/vnd.openxmlformats-officedocument.presentationml.notesSlide+xml"/>
  <Override PartName="/ppt/notesSlides/notesSlide813.xml" ContentType="application/vnd.openxmlformats-officedocument.presentationml.notesSlide+xml"/>
  <Override PartName="/ppt/notesSlides/notesSlide814.xml" ContentType="application/vnd.openxmlformats-officedocument.presentationml.notesSlide+xml"/>
  <Override PartName="/ppt/notesSlides/notesSlide815.xml" ContentType="application/vnd.openxmlformats-officedocument.presentationml.notesSlide+xml"/>
  <Override PartName="/ppt/notesSlides/notesSlide816.xml" ContentType="application/vnd.openxmlformats-officedocument.presentationml.notesSlide+xml"/>
  <Override PartName="/ppt/notesSlides/notesSlide817.xml" ContentType="application/vnd.openxmlformats-officedocument.presentationml.notesSlide+xml"/>
  <Override PartName="/ppt/notesSlides/notesSlide818.xml" ContentType="application/vnd.openxmlformats-officedocument.presentationml.notesSlide+xml"/>
  <Override PartName="/ppt/notesSlides/notesSlide819.xml" ContentType="application/vnd.openxmlformats-officedocument.presentationml.notesSlide+xml"/>
  <Override PartName="/ppt/notesSlides/notesSlide82.xml" ContentType="application/vnd.openxmlformats-officedocument.presentationml.notesSlide+xml"/>
  <Override PartName="/ppt/notesSlides/notesSlide820.xml" ContentType="application/vnd.openxmlformats-officedocument.presentationml.notesSlide+xml"/>
  <Override PartName="/ppt/notesSlides/notesSlide821.xml" ContentType="application/vnd.openxmlformats-officedocument.presentationml.notesSlide+xml"/>
  <Override PartName="/ppt/notesSlides/notesSlide822.xml" ContentType="application/vnd.openxmlformats-officedocument.presentationml.notesSlide+xml"/>
  <Override PartName="/ppt/notesSlides/notesSlide823.xml" ContentType="application/vnd.openxmlformats-officedocument.presentationml.notesSlide+xml"/>
  <Override PartName="/ppt/notesSlides/notesSlide824.xml" ContentType="application/vnd.openxmlformats-officedocument.presentationml.notesSlide+xml"/>
  <Override PartName="/ppt/notesSlides/notesSlide825.xml" ContentType="application/vnd.openxmlformats-officedocument.presentationml.notesSlide+xml"/>
  <Override PartName="/ppt/notesSlides/notesSlide826.xml" ContentType="application/vnd.openxmlformats-officedocument.presentationml.notesSlide+xml"/>
  <Override PartName="/ppt/notesSlides/notesSlide827.xml" ContentType="application/vnd.openxmlformats-officedocument.presentationml.notesSlide+xml"/>
  <Override PartName="/ppt/notesSlides/notesSlide828.xml" ContentType="application/vnd.openxmlformats-officedocument.presentationml.notesSlide+xml"/>
  <Override PartName="/ppt/notesSlides/notesSlide829.xml" ContentType="application/vnd.openxmlformats-officedocument.presentationml.notesSlide+xml"/>
  <Override PartName="/ppt/notesSlides/notesSlide83.xml" ContentType="application/vnd.openxmlformats-officedocument.presentationml.notesSlide+xml"/>
  <Override PartName="/ppt/notesSlides/notesSlide830.xml" ContentType="application/vnd.openxmlformats-officedocument.presentationml.notesSlide+xml"/>
  <Override PartName="/ppt/notesSlides/notesSlide831.xml" ContentType="application/vnd.openxmlformats-officedocument.presentationml.notesSlide+xml"/>
  <Override PartName="/ppt/notesSlides/notesSlide832.xml" ContentType="application/vnd.openxmlformats-officedocument.presentationml.notesSlide+xml"/>
  <Override PartName="/ppt/notesSlides/notesSlide833.xml" ContentType="application/vnd.openxmlformats-officedocument.presentationml.notesSlide+xml"/>
  <Override PartName="/ppt/notesSlides/notesSlide834.xml" ContentType="application/vnd.openxmlformats-officedocument.presentationml.notesSlide+xml"/>
  <Override PartName="/ppt/notesSlides/notesSlide835.xml" ContentType="application/vnd.openxmlformats-officedocument.presentationml.notesSlide+xml"/>
  <Override PartName="/ppt/notesSlides/notesSlide836.xml" ContentType="application/vnd.openxmlformats-officedocument.presentationml.notesSlide+xml"/>
  <Override PartName="/ppt/notesSlides/notesSlide837.xml" ContentType="application/vnd.openxmlformats-officedocument.presentationml.notesSlide+xml"/>
  <Override PartName="/ppt/notesSlides/notesSlide838.xml" ContentType="application/vnd.openxmlformats-officedocument.presentationml.notesSlide+xml"/>
  <Override PartName="/ppt/notesSlides/notesSlide839.xml" ContentType="application/vnd.openxmlformats-officedocument.presentationml.notesSlide+xml"/>
  <Override PartName="/ppt/notesSlides/notesSlide84.xml" ContentType="application/vnd.openxmlformats-officedocument.presentationml.notesSlide+xml"/>
  <Override PartName="/ppt/notesSlides/notesSlide840.xml" ContentType="application/vnd.openxmlformats-officedocument.presentationml.notesSlide+xml"/>
  <Override PartName="/ppt/notesSlides/notesSlide841.xml" ContentType="application/vnd.openxmlformats-officedocument.presentationml.notesSlide+xml"/>
  <Override PartName="/ppt/notesSlides/notesSlide842.xml" ContentType="application/vnd.openxmlformats-officedocument.presentationml.notesSlide+xml"/>
  <Override PartName="/ppt/notesSlides/notesSlide843.xml" ContentType="application/vnd.openxmlformats-officedocument.presentationml.notesSlide+xml"/>
  <Override PartName="/ppt/notesSlides/notesSlide844.xml" ContentType="application/vnd.openxmlformats-officedocument.presentationml.notesSlide+xml"/>
  <Override PartName="/ppt/notesSlides/notesSlide845.xml" ContentType="application/vnd.openxmlformats-officedocument.presentationml.notesSlide+xml"/>
  <Override PartName="/ppt/notesSlides/notesSlide846.xml" ContentType="application/vnd.openxmlformats-officedocument.presentationml.notesSlide+xml"/>
  <Override PartName="/ppt/notesSlides/notesSlide847.xml" ContentType="application/vnd.openxmlformats-officedocument.presentationml.notesSlide+xml"/>
  <Override PartName="/ppt/notesSlides/notesSlide848.xml" ContentType="application/vnd.openxmlformats-officedocument.presentationml.notesSlide+xml"/>
  <Override PartName="/ppt/notesSlides/notesSlide849.xml" ContentType="application/vnd.openxmlformats-officedocument.presentationml.notesSlide+xml"/>
  <Override PartName="/ppt/notesSlides/notesSlide85.xml" ContentType="application/vnd.openxmlformats-officedocument.presentationml.notesSlide+xml"/>
  <Override PartName="/ppt/notesSlides/notesSlide850.xml" ContentType="application/vnd.openxmlformats-officedocument.presentationml.notesSlide+xml"/>
  <Override PartName="/ppt/notesSlides/notesSlide851.xml" ContentType="application/vnd.openxmlformats-officedocument.presentationml.notesSlide+xml"/>
  <Override PartName="/ppt/notesSlides/notesSlide852.xml" ContentType="application/vnd.openxmlformats-officedocument.presentationml.notesSlide+xml"/>
  <Override PartName="/ppt/notesSlides/notesSlide853.xml" ContentType="application/vnd.openxmlformats-officedocument.presentationml.notesSlide+xml"/>
  <Override PartName="/ppt/notesSlides/notesSlide854.xml" ContentType="application/vnd.openxmlformats-officedocument.presentationml.notesSlide+xml"/>
  <Override PartName="/ppt/notesSlides/notesSlide855.xml" ContentType="application/vnd.openxmlformats-officedocument.presentationml.notesSlide+xml"/>
  <Override PartName="/ppt/notesSlides/notesSlide856.xml" ContentType="application/vnd.openxmlformats-officedocument.presentationml.notesSlide+xml"/>
  <Override PartName="/ppt/notesSlides/notesSlide857.xml" ContentType="application/vnd.openxmlformats-officedocument.presentationml.notesSlide+xml"/>
  <Override PartName="/ppt/notesSlides/notesSlide858.xml" ContentType="application/vnd.openxmlformats-officedocument.presentationml.notesSlide+xml"/>
  <Override PartName="/ppt/notesSlides/notesSlide859.xml" ContentType="application/vnd.openxmlformats-officedocument.presentationml.notesSlide+xml"/>
  <Override PartName="/ppt/notesSlides/notesSlide86.xml" ContentType="application/vnd.openxmlformats-officedocument.presentationml.notesSlide+xml"/>
  <Override PartName="/ppt/notesSlides/notesSlide860.xml" ContentType="application/vnd.openxmlformats-officedocument.presentationml.notesSlide+xml"/>
  <Override PartName="/ppt/notesSlides/notesSlide861.xml" ContentType="application/vnd.openxmlformats-officedocument.presentationml.notesSlide+xml"/>
  <Override PartName="/ppt/notesSlides/notesSlide862.xml" ContentType="application/vnd.openxmlformats-officedocument.presentationml.notesSlide+xml"/>
  <Override PartName="/ppt/notesSlides/notesSlide863.xml" ContentType="application/vnd.openxmlformats-officedocument.presentationml.notesSlide+xml"/>
  <Override PartName="/ppt/notesSlides/notesSlide864.xml" ContentType="application/vnd.openxmlformats-officedocument.presentationml.notesSlide+xml"/>
  <Override PartName="/ppt/notesSlides/notesSlide865.xml" ContentType="application/vnd.openxmlformats-officedocument.presentationml.notesSlide+xml"/>
  <Override PartName="/ppt/notesSlides/notesSlide866.xml" ContentType="application/vnd.openxmlformats-officedocument.presentationml.notesSlide+xml"/>
  <Override PartName="/ppt/notesSlides/notesSlide867.xml" ContentType="application/vnd.openxmlformats-officedocument.presentationml.notesSlide+xml"/>
  <Override PartName="/ppt/notesSlides/notesSlide868.xml" ContentType="application/vnd.openxmlformats-officedocument.presentationml.notesSlide+xml"/>
  <Override PartName="/ppt/notesSlides/notesSlide869.xml" ContentType="application/vnd.openxmlformats-officedocument.presentationml.notesSlide+xml"/>
  <Override PartName="/ppt/notesSlides/notesSlide87.xml" ContentType="application/vnd.openxmlformats-officedocument.presentationml.notesSlide+xml"/>
  <Override PartName="/ppt/notesSlides/notesSlide870.xml" ContentType="application/vnd.openxmlformats-officedocument.presentationml.notesSlide+xml"/>
  <Override PartName="/ppt/notesSlides/notesSlide871.xml" ContentType="application/vnd.openxmlformats-officedocument.presentationml.notesSlide+xml"/>
  <Override PartName="/ppt/notesSlides/notesSlide872.xml" ContentType="application/vnd.openxmlformats-officedocument.presentationml.notesSlide+xml"/>
  <Override PartName="/ppt/notesSlides/notesSlide873.xml" ContentType="application/vnd.openxmlformats-officedocument.presentationml.notesSlide+xml"/>
  <Override PartName="/ppt/notesSlides/notesSlide874.xml" ContentType="application/vnd.openxmlformats-officedocument.presentationml.notesSlide+xml"/>
  <Override PartName="/ppt/notesSlides/notesSlide875.xml" ContentType="application/vnd.openxmlformats-officedocument.presentationml.notesSlide+xml"/>
  <Override PartName="/ppt/notesSlides/notesSlide876.xml" ContentType="application/vnd.openxmlformats-officedocument.presentationml.notesSlide+xml"/>
  <Override PartName="/ppt/notesSlides/notesSlide877.xml" ContentType="application/vnd.openxmlformats-officedocument.presentationml.notesSlide+xml"/>
  <Override PartName="/ppt/notesSlides/notesSlide878.xml" ContentType="application/vnd.openxmlformats-officedocument.presentationml.notesSlide+xml"/>
  <Override PartName="/ppt/notesSlides/notesSlide879.xml" ContentType="application/vnd.openxmlformats-officedocument.presentationml.notesSlide+xml"/>
  <Override PartName="/ppt/notesSlides/notesSlide88.xml" ContentType="application/vnd.openxmlformats-officedocument.presentationml.notesSlide+xml"/>
  <Override PartName="/ppt/notesSlides/notesSlide880.xml" ContentType="application/vnd.openxmlformats-officedocument.presentationml.notesSlide+xml"/>
  <Override PartName="/ppt/notesSlides/notesSlide881.xml" ContentType="application/vnd.openxmlformats-officedocument.presentationml.notesSlide+xml"/>
  <Override PartName="/ppt/notesSlides/notesSlide882.xml" ContentType="application/vnd.openxmlformats-officedocument.presentationml.notesSlide+xml"/>
  <Override PartName="/ppt/notesSlides/notesSlide883.xml" ContentType="application/vnd.openxmlformats-officedocument.presentationml.notesSlide+xml"/>
  <Override PartName="/ppt/notesSlides/notesSlide884.xml" ContentType="application/vnd.openxmlformats-officedocument.presentationml.notesSlide+xml"/>
  <Override PartName="/ppt/notesSlides/notesSlide885.xml" ContentType="application/vnd.openxmlformats-officedocument.presentationml.notesSlide+xml"/>
  <Override PartName="/ppt/notesSlides/notesSlide886.xml" ContentType="application/vnd.openxmlformats-officedocument.presentationml.notesSlide+xml"/>
  <Override PartName="/ppt/notesSlides/notesSlide887.xml" ContentType="application/vnd.openxmlformats-officedocument.presentationml.notesSlide+xml"/>
  <Override PartName="/ppt/notesSlides/notesSlide888.xml" ContentType="application/vnd.openxmlformats-officedocument.presentationml.notesSlide+xml"/>
  <Override PartName="/ppt/notesSlides/notesSlide889.xml" ContentType="application/vnd.openxmlformats-officedocument.presentationml.notesSlide+xml"/>
  <Override PartName="/ppt/notesSlides/notesSlide89.xml" ContentType="application/vnd.openxmlformats-officedocument.presentationml.notesSlide+xml"/>
  <Override PartName="/ppt/notesSlides/notesSlide890.xml" ContentType="application/vnd.openxmlformats-officedocument.presentationml.notesSlide+xml"/>
  <Override PartName="/ppt/notesSlides/notesSlide891.xml" ContentType="application/vnd.openxmlformats-officedocument.presentationml.notesSlide+xml"/>
  <Override PartName="/ppt/notesSlides/notesSlide892.xml" ContentType="application/vnd.openxmlformats-officedocument.presentationml.notesSlide+xml"/>
  <Override PartName="/ppt/notesSlides/notesSlide893.xml" ContentType="application/vnd.openxmlformats-officedocument.presentationml.notesSlide+xml"/>
  <Override PartName="/ppt/notesSlides/notesSlide894.xml" ContentType="application/vnd.openxmlformats-officedocument.presentationml.notesSlide+xml"/>
  <Override PartName="/ppt/notesSlides/notesSlide895.xml" ContentType="application/vnd.openxmlformats-officedocument.presentationml.notesSlide+xml"/>
  <Override PartName="/ppt/notesSlides/notesSlide896.xml" ContentType="application/vnd.openxmlformats-officedocument.presentationml.notesSlide+xml"/>
  <Override PartName="/ppt/notesSlides/notesSlide897.xml" ContentType="application/vnd.openxmlformats-officedocument.presentationml.notesSlide+xml"/>
  <Override PartName="/ppt/notesSlides/notesSlide898.xml" ContentType="application/vnd.openxmlformats-officedocument.presentationml.notesSlide+xml"/>
  <Override PartName="/ppt/notesSlides/notesSlide89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00.xml" ContentType="application/vnd.openxmlformats-officedocument.presentationml.notesSlide+xml"/>
  <Override PartName="/ppt/notesSlides/notesSlide901.xml" ContentType="application/vnd.openxmlformats-officedocument.presentationml.notesSlide+xml"/>
  <Override PartName="/ppt/notesSlides/notesSlide902.xml" ContentType="application/vnd.openxmlformats-officedocument.presentationml.notesSlide+xml"/>
  <Override PartName="/ppt/notesSlides/notesSlide903.xml" ContentType="application/vnd.openxmlformats-officedocument.presentationml.notesSlide+xml"/>
  <Override PartName="/ppt/notesSlides/notesSlide904.xml" ContentType="application/vnd.openxmlformats-officedocument.presentationml.notesSlide+xml"/>
  <Override PartName="/ppt/notesSlides/notesSlide905.xml" ContentType="application/vnd.openxmlformats-officedocument.presentationml.notesSlide+xml"/>
  <Override PartName="/ppt/notesSlides/notesSlide906.xml" ContentType="application/vnd.openxmlformats-officedocument.presentationml.notesSlide+xml"/>
  <Override PartName="/ppt/notesSlides/notesSlide907.xml" ContentType="application/vnd.openxmlformats-officedocument.presentationml.notesSlide+xml"/>
  <Override PartName="/ppt/notesSlides/notesSlide908.xml" ContentType="application/vnd.openxmlformats-officedocument.presentationml.notesSlide+xml"/>
  <Override PartName="/ppt/notesSlides/notesSlide909.xml" ContentType="application/vnd.openxmlformats-officedocument.presentationml.notesSlide+xml"/>
  <Override PartName="/ppt/notesSlides/notesSlide91.xml" ContentType="application/vnd.openxmlformats-officedocument.presentationml.notesSlide+xml"/>
  <Override PartName="/ppt/notesSlides/notesSlide910.xml" ContentType="application/vnd.openxmlformats-officedocument.presentationml.notesSlide+xml"/>
  <Override PartName="/ppt/notesSlides/notesSlide911.xml" ContentType="application/vnd.openxmlformats-officedocument.presentationml.notesSlide+xml"/>
  <Override PartName="/ppt/notesSlides/notesSlide912.xml" ContentType="application/vnd.openxmlformats-officedocument.presentationml.notesSlide+xml"/>
  <Override PartName="/ppt/notesSlides/notesSlide913.xml" ContentType="application/vnd.openxmlformats-officedocument.presentationml.notesSlide+xml"/>
  <Override PartName="/ppt/notesSlides/notesSlide914.xml" ContentType="application/vnd.openxmlformats-officedocument.presentationml.notesSlide+xml"/>
  <Override PartName="/ppt/notesSlides/notesSlide915.xml" ContentType="application/vnd.openxmlformats-officedocument.presentationml.notesSlide+xml"/>
  <Override PartName="/ppt/notesSlides/notesSlide916.xml" ContentType="application/vnd.openxmlformats-officedocument.presentationml.notesSlide+xml"/>
  <Override PartName="/ppt/notesSlides/notesSlide917.xml" ContentType="application/vnd.openxmlformats-officedocument.presentationml.notesSlide+xml"/>
  <Override PartName="/ppt/notesSlides/notesSlide918.xml" ContentType="application/vnd.openxmlformats-officedocument.presentationml.notesSlide+xml"/>
  <Override PartName="/ppt/notesSlides/notesSlide919.xml" ContentType="application/vnd.openxmlformats-officedocument.presentationml.notesSlide+xml"/>
  <Override PartName="/ppt/notesSlides/notesSlide92.xml" ContentType="application/vnd.openxmlformats-officedocument.presentationml.notesSlide+xml"/>
  <Override PartName="/ppt/notesSlides/notesSlide920.xml" ContentType="application/vnd.openxmlformats-officedocument.presentationml.notesSlide+xml"/>
  <Override PartName="/ppt/notesSlides/notesSlide921.xml" ContentType="application/vnd.openxmlformats-officedocument.presentationml.notesSlide+xml"/>
  <Override PartName="/ppt/notesSlides/notesSlide922.xml" ContentType="application/vnd.openxmlformats-officedocument.presentationml.notesSlide+xml"/>
  <Override PartName="/ppt/notesSlides/notesSlide923.xml" ContentType="application/vnd.openxmlformats-officedocument.presentationml.notesSlide+xml"/>
  <Override PartName="/ppt/notesSlides/notesSlide924.xml" ContentType="application/vnd.openxmlformats-officedocument.presentationml.notesSlide+xml"/>
  <Override PartName="/ppt/notesSlides/notesSlide925.xml" ContentType="application/vnd.openxmlformats-officedocument.presentationml.notesSlide+xml"/>
  <Override PartName="/ppt/notesSlides/notesSlide926.xml" ContentType="application/vnd.openxmlformats-officedocument.presentationml.notesSlide+xml"/>
  <Override PartName="/ppt/notesSlides/notesSlide927.xml" ContentType="application/vnd.openxmlformats-officedocument.presentationml.notesSlide+xml"/>
  <Override PartName="/ppt/notesSlides/notesSlide928.xml" ContentType="application/vnd.openxmlformats-officedocument.presentationml.notesSlide+xml"/>
  <Override PartName="/ppt/notesSlides/notesSlide929.xml" ContentType="application/vnd.openxmlformats-officedocument.presentationml.notesSlide+xml"/>
  <Override PartName="/ppt/notesSlides/notesSlide93.xml" ContentType="application/vnd.openxmlformats-officedocument.presentationml.notesSlide+xml"/>
  <Override PartName="/ppt/notesSlides/notesSlide930.xml" ContentType="application/vnd.openxmlformats-officedocument.presentationml.notesSlide+xml"/>
  <Override PartName="/ppt/notesSlides/notesSlide931.xml" ContentType="application/vnd.openxmlformats-officedocument.presentationml.notesSlide+xml"/>
  <Override PartName="/ppt/notesSlides/notesSlide932.xml" ContentType="application/vnd.openxmlformats-officedocument.presentationml.notesSlide+xml"/>
  <Override PartName="/ppt/notesSlides/notesSlide933.xml" ContentType="application/vnd.openxmlformats-officedocument.presentationml.notesSlide+xml"/>
  <Override PartName="/ppt/notesSlides/notesSlide934.xml" ContentType="application/vnd.openxmlformats-officedocument.presentationml.notesSlide+xml"/>
  <Override PartName="/ppt/notesSlides/notesSlide935.xml" ContentType="application/vnd.openxmlformats-officedocument.presentationml.notesSlide+xml"/>
  <Override PartName="/ppt/notesSlides/notesSlide936.xml" ContentType="application/vnd.openxmlformats-officedocument.presentationml.notesSlide+xml"/>
  <Override PartName="/ppt/notesSlides/notesSlide937.xml" ContentType="application/vnd.openxmlformats-officedocument.presentationml.notesSlide+xml"/>
  <Override PartName="/ppt/notesSlides/notesSlide938.xml" ContentType="application/vnd.openxmlformats-officedocument.presentationml.notesSlide+xml"/>
  <Override PartName="/ppt/notesSlides/notesSlide939.xml" ContentType="application/vnd.openxmlformats-officedocument.presentationml.notesSlide+xml"/>
  <Override PartName="/ppt/notesSlides/notesSlide94.xml" ContentType="application/vnd.openxmlformats-officedocument.presentationml.notesSlide+xml"/>
  <Override PartName="/ppt/notesSlides/notesSlide940.xml" ContentType="application/vnd.openxmlformats-officedocument.presentationml.notesSlide+xml"/>
  <Override PartName="/ppt/notesSlides/notesSlide941.xml" ContentType="application/vnd.openxmlformats-officedocument.presentationml.notesSlide+xml"/>
  <Override PartName="/ppt/notesSlides/notesSlide942.xml" ContentType="application/vnd.openxmlformats-officedocument.presentationml.notesSlide+xml"/>
  <Override PartName="/ppt/notesSlides/notesSlide943.xml" ContentType="application/vnd.openxmlformats-officedocument.presentationml.notesSlide+xml"/>
  <Override PartName="/ppt/notesSlides/notesSlide944.xml" ContentType="application/vnd.openxmlformats-officedocument.presentationml.notesSlide+xml"/>
  <Override PartName="/ppt/notesSlides/notesSlide945.xml" ContentType="application/vnd.openxmlformats-officedocument.presentationml.notesSlide+xml"/>
  <Override PartName="/ppt/notesSlides/notesSlide946.xml" ContentType="application/vnd.openxmlformats-officedocument.presentationml.notesSlide+xml"/>
  <Override PartName="/ppt/notesSlides/notesSlide947.xml" ContentType="application/vnd.openxmlformats-officedocument.presentationml.notesSlide+xml"/>
  <Override PartName="/ppt/notesSlides/notesSlide948.xml" ContentType="application/vnd.openxmlformats-officedocument.presentationml.notesSlide+xml"/>
  <Override PartName="/ppt/notesSlides/notesSlide949.xml" ContentType="application/vnd.openxmlformats-officedocument.presentationml.notesSlide+xml"/>
  <Override PartName="/ppt/notesSlides/notesSlide95.xml" ContentType="application/vnd.openxmlformats-officedocument.presentationml.notesSlide+xml"/>
  <Override PartName="/ppt/notesSlides/notesSlide950.xml" ContentType="application/vnd.openxmlformats-officedocument.presentationml.notesSlide+xml"/>
  <Override PartName="/ppt/notesSlides/notesSlide951.xml" ContentType="application/vnd.openxmlformats-officedocument.presentationml.notesSlide+xml"/>
  <Override PartName="/ppt/notesSlides/notesSlide952.xml" ContentType="application/vnd.openxmlformats-officedocument.presentationml.notesSlide+xml"/>
  <Override PartName="/ppt/notesSlides/notesSlide953.xml" ContentType="application/vnd.openxmlformats-officedocument.presentationml.notesSlide+xml"/>
  <Override PartName="/ppt/notesSlides/notesSlide954.xml" ContentType="application/vnd.openxmlformats-officedocument.presentationml.notesSlide+xml"/>
  <Override PartName="/ppt/notesSlides/notesSlide955.xml" ContentType="application/vnd.openxmlformats-officedocument.presentationml.notesSlide+xml"/>
  <Override PartName="/ppt/notesSlides/notesSlide956.xml" ContentType="application/vnd.openxmlformats-officedocument.presentationml.notesSlide+xml"/>
  <Override PartName="/ppt/notesSlides/notesSlide957.xml" ContentType="application/vnd.openxmlformats-officedocument.presentationml.notesSlide+xml"/>
  <Override PartName="/ppt/notesSlides/notesSlide958.xml" ContentType="application/vnd.openxmlformats-officedocument.presentationml.notesSlide+xml"/>
  <Override PartName="/ppt/notesSlides/notesSlide959.xml" ContentType="application/vnd.openxmlformats-officedocument.presentationml.notesSlide+xml"/>
  <Override PartName="/ppt/notesSlides/notesSlide96.xml" ContentType="application/vnd.openxmlformats-officedocument.presentationml.notesSlide+xml"/>
  <Override PartName="/ppt/notesSlides/notesSlide960.xml" ContentType="application/vnd.openxmlformats-officedocument.presentationml.notesSlide+xml"/>
  <Override PartName="/ppt/notesSlides/notesSlide961.xml" ContentType="application/vnd.openxmlformats-officedocument.presentationml.notesSlide+xml"/>
  <Override PartName="/ppt/notesSlides/notesSlide962.xml" ContentType="application/vnd.openxmlformats-officedocument.presentationml.notesSlide+xml"/>
  <Override PartName="/ppt/notesSlides/notesSlide963.xml" ContentType="application/vnd.openxmlformats-officedocument.presentationml.notesSlide+xml"/>
  <Override PartName="/ppt/notesSlides/notesSlide964.xml" ContentType="application/vnd.openxmlformats-officedocument.presentationml.notesSlide+xml"/>
  <Override PartName="/ppt/notesSlides/notesSlide965.xml" ContentType="application/vnd.openxmlformats-officedocument.presentationml.notesSlide+xml"/>
  <Override PartName="/ppt/notesSlides/notesSlide966.xml" ContentType="application/vnd.openxmlformats-officedocument.presentationml.notesSlide+xml"/>
  <Override PartName="/ppt/notesSlides/notesSlide967.xml" ContentType="application/vnd.openxmlformats-officedocument.presentationml.notesSlide+xml"/>
  <Override PartName="/ppt/notesSlides/notesSlide968.xml" ContentType="application/vnd.openxmlformats-officedocument.presentationml.notesSlide+xml"/>
  <Override PartName="/ppt/notesSlides/notesSlide969.xml" ContentType="application/vnd.openxmlformats-officedocument.presentationml.notesSlide+xml"/>
  <Override PartName="/ppt/notesSlides/notesSlide97.xml" ContentType="application/vnd.openxmlformats-officedocument.presentationml.notesSlide+xml"/>
  <Override PartName="/ppt/notesSlides/notesSlide970.xml" ContentType="application/vnd.openxmlformats-officedocument.presentationml.notesSlide+xml"/>
  <Override PartName="/ppt/notesSlides/notesSlide971.xml" ContentType="application/vnd.openxmlformats-officedocument.presentationml.notesSlide+xml"/>
  <Override PartName="/ppt/notesSlides/notesSlide972.xml" ContentType="application/vnd.openxmlformats-officedocument.presentationml.notesSlide+xml"/>
  <Override PartName="/ppt/notesSlides/notesSlide973.xml" ContentType="application/vnd.openxmlformats-officedocument.presentationml.notesSlide+xml"/>
  <Override PartName="/ppt/notesSlides/notesSlide974.xml" ContentType="application/vnd.openxmlformats-officedocument.presentationml.notesSlide+xml"/>
  <Override PartName="/ppt/notesSlides/notesSlide975.xml" ContentType="application/vnd.openxmlformats-officedocument.presentationml.notesSlide+xml"/>
  <Override PartName="/ppt/notesSlides/notesSlide976.xml" ContentType="application/vnd.openxmlformats-officedocument.presentationml.notesSlide+xml"/>
  <Override PartName="/ppt/notesSlides/notesSlide977.xml" ContentType="application/vnd.openxmlformats-officedocument.presentationml.notesSlide+xml"/>
  <Override PartName="/ppt/notesSlides/notesSlide978.xml" ContentType="application/vnd.openxmlformats-officedocument.presentationml.notesSlide+xml"/>
  <Override PartName="/ppt/notesSlides/notesSlide979.xml" ContentType="application/vnd.openxmlformats-officedocument.presentationml.notesSlide+xml"/>
  <Override PartName="/ppt/notesSlides/notesSlide98.xml" ContentType="application/vnd.openxmlformats-officedocument.presentationml.notesSlide+xml"/>
  <Override PartName="/ppt/notesSlides/notesSlide980.xml" ContentType="application/vnd.openxmlformats-officedocument.presentationml.notesSlide+xml"/>
  <Override PartName="/ppt/notesSlides/notesSlide981.xml" ContentType="application/vnd.openxmlformats-officedocument.presentationml.notesSlide+xml"/>
  <Override PartName="/ppt/notesSlides/notesSlide982.xml" ContentType="application/vnd.openxmlformats-officedocument.presentationml.notesSlide+xml"/>
  <Override PartName="/ppt/notesSlides/notesSlide983.xml" ContentType="application/vnd.openxmlformats-officedocument.presentationml.notesSlide+xml"/>
  <Override PartName="/ppt/notesSlides/notesSlide984.xml" ContentType="application/vnd.openxmlformats-officedocument.presentationml.notesSlide+xml"/>
  <Override PartName="/ppt/notesSlides/notesSlide985.xml" ContentType="application/vnd.openxmlformats-officedocument.presentationml.notesSlide+xml"/>
  <Override PartName="/ppt/notesSlides/notesSlide986.xml" ContentType="application/vnd.openxmlformats-officedocument.presentationml.notesSlide+xml"/>
  <Override PartName="/ppt/notesSlides/notesSlide987.xml" ContentType="application/vnd.openxmlformats-officedocument.presentationml.notesSlide+xml"/>
  <Override PartName="/ppt/notesSlides/notesSlide988.xml" ContentType="application/vnd.openxmlformats-officedocument.presentationml.notesSlide+xml"/>
  <Override PartName="/ppt/notesSlides/notesSlide989.xml" ContentType="application/vnd.openxmlformats-officedocument.presentationml.notesSlide+xml"/>
  <Override PartName="/ppt/notesSlides/notesSlide99.xml" ContentType="application/vnd.openxmlformats-officedocument.presentationml.notesSlide+xml"/>
  <Override PartName="/ppt/notesSlides/notesSlide990.xml" ContentType="application/vnd.openxmlformats-officedocument.presentationml.notesSlide+xml"/>
  <Override PartName="/ppt/notesSlides/notesSlide991.xml" ContentType="application/vnd.openxmlformats-officedocument.presentationml.notesSlide+xml"/>
  <Override PartName="/ppt/notesSlides/notesSlide992.xml" ContentType="application/vnd.openxmlformats-officedocument.presentationml.notesSlide+xml"/>
  <Override PartName="/ppt/notesSlides/notesSlide993.xml" ContentType="application/vnd.openxmlformats-officedocument.presentationml.notesSlide+xml"/>
  <Override PartName="/ppt/notesSlides/notesSlide994.xml" ContentType="application/vnd.openxmlformats-officedocument.presentationml.notesSlide+xml"/>
  <Override PartName="/ppt/notesSlides/notesSlide995.xml" ContentType="application/vnd.openxmlformats-officedocument.presentationml.notesSlide+xml"/>
  <Override PartName="/ppt/notesSlides/notesSlide996.xml" ContentType="application/vnd.openxmlformats-officedocument.presentationml.notesSlide+xml"/>
  <Override PartName="/ppt/notesSlides/notesSlide997.xml" ContentType="application/vnd.openxmlformats-officedocument.presentationml.notesSlide+xml"/>
  <Override PartName="/ppt/notesSlides/notesSlide998.xml" ContentType="application/vnd.openxmlformats-officedocument.presentationml.notesSlide+xml"/>
  <Override PartName="/ppt/notesSlides/notesSlide9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slides/slide1616.xml" ContentType="application/vnd.openxmlformats-officedocument.presentationml.slide+xml"/>
  <Override PartName="/ppt/slides/slide1617.xml" ContentType="application/vnd.openxmlformats-officedocument.presentationml.slide+xml"/>
  <Override PartName="/ppt/slides/slide1618.xml" ContentType="application/vnd.openxmlformats-officedocument.presentationml.slide+xml"/>
  <Override PartName="/ppt/slides/slide1619.xml" ContentType="application/vnd.openxmlformats-officedocument.presentationml.slide+xml"/>
  <Override PartName="/ppt/slides/slide162.xml" ContentType="application/vnd.openxmlformats-officedocument.presentationml.slide+xml"/>
  <Override PartName="/ppt/slides/slide1620.xml" ContentType="application/vnd.openxmlformats-officedocument.presentationml.slide+xml"/>
  <Override PartName="/ppt/slides/slide1621.xml" ContentType="application/vnd.openxmlformats-officedocument.presentationml.slide+xml"/>
  <Override PartName="/ppt/slides/slide1622.xml" ContentType="application/vnd.openxmlformats-officedocument.presentationml.slide+xml"/>
  <Override PartName="/ppt/slides/slide1623.xml" ContentType="application/vnd.openxmlformats-officedocument.presentationml.slide+xml"/>
  <Override PartName="/ppt/slides/slide1624.xml" ContentType="application/vnd.openxmlformats-officedocument.presentationml.slide+xml"/>
  <Override PartName="/ppt/slides/slide1625.xml" ContentType="application/vnd.openxmlformats-officedocument.presentationml.slide+xml"/>
  <Override PartName="/ppt/slides/slide1626.xml" ContentType="application/vnd.openxmlformats-officedocument.presentationml.slide+xml"/>
  <Override PartName="/ppt/slides/slide1627.xml" ContentType="application/vnd.openxmlformats-officedocument.presentationml.slide+xml"/>
  <Override PartName="/ppt/slides/slide1628.xml" ContentType="application/vnd.openxmlformats-officedocument.presentationml.slide+xml"/>
  <Override PartName="/ppt/slides/slide1629.xml" ContentType="application/vnd.openxmlformats-officedocument.presentationml.slide+xml"/>
  <Override PartName="/ppt/slides/slide163.xml" ContentType="application/vnd.openxmlformats-officedocument.presentationml.slide+xml"/>
  <Override PartName="/ppt/slides/slide1630.xml" ContentType="application/vnd.openxmlformats-officedocument.presentationml.slide+xml"/>
  <Override PartName="/ppt/slides/slide1631.xml" ContentType="application/vnd.openxmlformats-officedocument.presentationml.slide+xml"/>
  <Override PartName="/ppt/slides/slide1632.xml" ContentType="application/vnd.openxmlformats-officedocument.presentationml.slide+xml"/>
  <Override PartName="/ppt/slides/slide1633.xml" ContentType="application/vnd.openxmlformats-officedocument.presentationml.slide+xml"/>
  <Override PartName="/ppt/slides/slide1634.xml" ContentType="application/vnd.openxmlformats-officedocument.presentationml.slide+xml"/>
  <Override PartName="/ppt/slides/slide1635.xml" ContentType="application/vnd.openxmlformats-officedocument.presentationml.slide+xml"/>
  <Override PartName="/ppt/slides/slide1636.xml" ContentType="application/vnd.openxmlformats-officedocument.presentationml.slide+xml"/>
  <Override PartName="/ppt/slides/slide1637.xml" ContentType="application/vnd.openxmlformats-officedocument.presentationml.slide+xml"/>
  <Override PartName="/ppt/slides/slide1638.xml" ContentType="application/vnd.openxmlformats-officedocument.presentationml.slide+xml"/>
  <Override PartName="/ppt/slides/slide1639.xml" ContentType="application/vnd.openxmlformats-officedocument.presentationml.slide+xml"/>
  <Override PartName="/ppt/slides/slide164.xml" ContentType="application/vnd.openxmlformats-officedocument.presentationml.slide+xml"/>
  <Override PartName="/ppt/slides/slide1640.xml" ContentType="application/vnd.openxmlformats-officedocument.presentationml.slide+xml"/>
  <Override PartName="/ppt/slides/slide1641.xml" ContentType="application/vnd.openxmlformats-officedocument.presentationml.slide+xml"/>
  <Override PartName="/ppt/slides/slide1642.xml" ContentType="application/vnd.openxmlformats-officedocument.presentationml.slide+xml"/>
  <Override PartName="/ppt/slides/slide1643.xml" ContentType="application/vnd.openxmlformats-officedocument.presentationml.slide+xml"/>
  <Override PartName="/ppt/slides/slide1644.xml" ContentType="application/vnd.openxmlformats-officedocument.presentationml.slide+xml"/>
  <Override PartName="/ppt/slides/slide1645.xml" ContentType="application/vnd.openxmlformats-officedocument.presentationml.slide+xml"/>
  <Override PartName="/ppt/slides/slide1646.xml" ContentType="application/vnd.openxmlformats-officedocument.presentationml.slide+xml"/>
  <Override PartName="/ppt/slides/slide1647.xml" ContentType="application/vnd.openxmlformats-officedocument.presentationml.slide+xml"/>
  <Override PartName="/ppt/slides/slide1648.xml" ContentType="application/vnd.openxmlformats-officedocument.presentationml.slide+xml"/>
  <Override PartName="/ppt/slides/slide1649.xml" ContentType="application/vnd.openxmlformats-officedocument.presentationml.slide+xml"/>
  <Override PartName="/ppt/slides/slide165.xml" ContentType="application/vnd.openxmlformats-officedocument.presentationml.slide+xml"/>
  <Override PartName="/ppt/slides/slide1650.xml" ContentType="application/vnd.openxmlformats-officedocument.presentationml.slide+xml"/>
  <Override PartName="/ppt/slides/slide1651.xml" ContentType="application/vnd.openxmlformats-officedocument.presentationml.slide+xml"/>
  <Override PartName="/ppt/slides/slide1652.xml" ContentType="application/vnd.openxmlformats-officedocument.presentationml.slide+xml"/>
  <Override PartName="/ppt/slides/slide1653.xml" ContentType="application/vnd.openxmlformats-officedocument.presentationml.slide+xml"/>
  <Override PartName="/ppt/slides/slide1654.xml" ContentType="application/vnd.openxmlformats-officedocument.presentationml.slide+xml"/>
  <Override PartName="/ppt/slides/slide1655.xml" ContentType="application/vnd.openxmlformats-officedocument.presentationml.slide+xml"/>
  <Override PartName="/ppt/slides/slide1656.xml" ContentType="application/vnd.openxmlformats-officedocument.presentationml.slide+xml"/>
  <Override PartName="/ppt/slides/slide1657.xml" ContentType="application/vnd.openxmlformats-officedocument.presentationml.slide+xml"/>
  <Override PartName="/ppt/slides/slide1658.xml" ContentType="application/vnd.openxmlformats-officedocument.presentationml.slide+xml"/>
  <Override PartName="/ppt/slides/slide1659.xml" ContentType="application/vnd.openxmlformats-officedocument.presentationml.slide+xml"/>
  <Override PartName="/ppt/slides/slide166.xml" ContentType="application/vnd.openxmlformats-officedocument.presentationml.slide+xml"/>
  <Override PartName="/ppt/slides/slide1660.xml" ContentType="application/vnd.openxmlformats-officedocument.presentationml.slide+xml"/>
  <Override PartName="/ppt/slides/slide1661.xml" ContentType="application/vnd.openxmlformats-officedocument.presentationml.slide+xml"/>
  <Override PartName="/ppt/slides/slide1662.xml" ContentType="application/vnd.openxmlformats-officedocument.presentationml.slide+xml"/>
  <Override PartName="/ppt/slides/slide1663.xml" ContentType="application/vnd.openxmlformats-officedocument.presentationml.slide+xml"/>
  <Override PartName="/ppt/slides/slide1664.xml" ContentType="application/vnd.openxmlformats-officedocument.presentationml.slide+xml"/>
  <Override PartName="/ppt/slides/slide1665.xml" ContentType="application/vnd.openxmlformats-officedocument.presentationml.slide+xml"/>
  <Override PartName="/ppt/slides/slide1666.xml" ContentType="application/vnd.openxmlformats-officedocument.presentationml.slide+xml"/>
  <Override PartName="/ppt/slides/slide1667.xml" ContentType="application/vnd.openxmlformats-officedocument.presentationml.slide+xml"/>
  <Override PartName="/ppt/slides/slide1668.xml" ContentType="application/vnd.openxmlformats-officedocument.presentationml.slide+xml"/>
  <Override PartName="/ppt/slides/slide1669.xml" ContentType="application/vnd.openxmlformats-officedocument.presentationml.slide+xml"/>
  <Override PartName="/ppt/slides/slide167.xml" ContentType="application/vnd.openxmlformats-officedocument.presentationml.slide+xml"/>
  <Override PartName="/ppt/slides/slide1670.xml" ContentType="application/vnd.openxmlformats-officedocument.presentationml.slide+xml"/>
  <Override PartName="/ppt/slides/slide1671.xml" ContentType="application/vnd.openxmlformats-officedocument.presentationml.slide+xml"/>
  <Override PartName="/ppt/slides/slide1672.xml" ContentType="application/vnd.openxmlformats-officedocument.presentationml.slide+xml"/>
  <Override PartName="/ppt/slides/slide1673.xml" ContentType="application/vnd.openxmlformats-officedocument.presentationml.slide+xml"/>
  <Override PartName="/ppt/slides/slide1674.xml" ContentType="application/vnd.openxmlformats-officedocument.presentationml.slide+xml"/>
  <Override PartName="/ppt/slides/slide1675.xml" ContentType="application/vnd.openxmlformats-officedocument.presentationml.slide+xml"/>
  <Override PartName="/ppt/slides/slide1676.xml" ContentType="application/vnd.openxmlformats-officedocument.presentationml.slide+xml"/>
  <Override PartName="/ppt/slides/slide1677.xml" ContentType="application/vnd.openxmlformats-officedocument.presentationml.slide+xml"/>
  <Override PartName="/ppt/slides/slide1678.xml" ContentType="application/vnd.openxmlformats-officedocument.presentationml.slide+xml"/>
  <Override PartName="/ppt/slides/slide1679.xml" ContentType="application/vnd.openxmlformats-officedocument.presentationml.slide+xml"/>
  <Override PartName="/ppt/slides/slide168.xml" ContentType="application/vnd.openxmlformats-officedocument.presentationml.slide+xml"/>
  <Override PartName="/ppt/slides/slide1680.xml" ContentType="application/vnd.openxmlformats-officedocument.presentationml.slide+xml"/>
  <Override PartName="/ppt/slides/slide1681.xml" ContentType="application/vnd.openxmlformats-officedocument.presentationml.slide+xml"/>
  <Override PartName="/ppt/slides/slide1682.xml" ContentType="application/vnd.openxmlformats-officedocument.presentationml.slide+xml"/>
  <Override PartName="/ppt/slides/slide1683.xml" ContentType="application/vnd.openxmlformats-officedocument.presentationml.slide+xml"/>
  <Override PartName="/ppt/slides/slide1684.xml" ContentType="application/vnd.openxmlformats-officedocument.presentationml.slide+xml"/>
  <Override PartName="/ppt/slides/slide1685.xml" ContentType="application/vnd.openxmlformats-officedocument.presentationml.slide+xml"/>
  <Override PartName="/ppt/slides/slide1686.xml" ContentType="application/vnd.openxmlformats-officedocument.presentationml.slide+xml"/>
  <Override PartName="/ppt/slides/slide1687.xml" ContentType="application/vnd.openxmlformats-officedocument.presentationml.slide+xml"/>
  <Override PartName="/ppt/slides/slide1688.xml" ContentType="application/vnd.openxmlformats-officedocument.presentationml.slide+xml"/>
  <Override PartName="/ppt/slides/slide1689.xml" ContentType="application/vnd.openxmlformats-officedocument.presentationml.slide+xml"/>
  <Override PartName="/ppt/slides/slide169.xml" ContentType="application/vnd.openxmlformats-officedocument.presentationml.slide+xml"/>
  <Override PartName="/ppt/slides/slide1690.xml" ContentType="application/vnd.openxmlformats-officedocument.presentationml.slide+xml"/>
  <Override PartName="/ppt/slides/slide1691.xml" ContentType="application/vnd.openxmlformats-officedocument.presentationml.slide+xml"/>
  <Override PartName="/ppt/slides/slide1692.xml" ContentType="application/vnd.openxmlformats-officedocument.presentationml.slide+xml"/>
  <Override PartName="/ppt/slides/slide1693.xml" ContentType="application/vnd.openxmlformats-officedocument.presentationml.slide+xml"/>
  <Override PartName="/ppt/slides/slide1694.xml" ContentType="application/vnd.openxmlformats-officedocument.presentationml.slide+xml"/>
  <Override PartName="/ppt/slides/slide1695.xml" ContentType="application/vnd.openxmlformats-officedocument.presentationml.slide+xml"/>
  <Override PartName="/ppt/slides/slide1696.xml" ContentType="application/vnd.openxmlformats-officedocument.presentationml.slide+xml"/>
  <Override PartName="/ppt/slides/slide1697.xml" ContentType="application/vnd.openxmlformats-officedocument.presentationml.slide+xml"/>
  <Override PartName="/ppt/slides/slide1698.xml" ContentType="application/vnd.openxmlformats-officedocument.presentationml.slide+xml"/>
  <Override PartName="/ppt/slides/slide169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00.xml" ContentType="application/vnd.openxmlformats-officedocument.presentationml.slide+xml"/>
  <Override PartName="/ppt/slides/slide1701.xml" ContentType="application/vnd.openxmlformats-officedocument.presentationml.slide+xml"/>
  <Override PartName="/ppt/slides/slide1702.xml" ContentType="application/vnd.openxmlformats-officedocument.presentationml.slide+xml"/>
  <Override PartName="/ppt/slides/slide1703.xml" ContentType="application/vnd.openxmlformats-officedocument.presentationml.slide+xml"/>
  <Override PartName="/ppt/slides/slide1704.xml" ContentType="application/vnd.openxmlformats-officedocument.presentationml.slide+xml"/>
  <Override PartName="/ppt/slides/slide1705.xml" ContentType="application/vnd.openxmlformats-officedocument.presentationml.slide+xml"/>
  <Override PartName="/ppt/slides/slide1706.xml" ContentType="application/vnd.openxmlformats-officedocument.presentationml.slide+xml"/>
  <Override PartName="/ppt/slides/slide1707.xml" ContentType="application/vnd.openxmlformats-officedocument.presentationml.slide+xml"/>
  <Override PartName="/ppt/slides/slide1708.xml" ContentType="application/vnd.openxmlformats-officedocument.presentationml.slide+xml"/>
  <Override PartName="/ppt/slides/slide1709.xml" ContentType="application/vnd.openxmlformats-officedocument.presentationml.slide+xml"/>
  <Override PartName="/ppt/slides/slide171.xml" ContentType="application/vnd.openxmlformats-officedocument.presentationml.slide+xml"/>
  <Override PartName="/ppt/slides/slide1710.xml" ContentType="application/vnd.openxmlformats-officedocument.presentationml.slide+xml"/>
  <Override PartName="/ppt/slides/slide1711.xml" ContentType="application/vnd.openxmlformats-officedocument.presentationml.slide+xml"/>
  <Override PartName="/ppt/slides/slide1712.xml" ContentType="application/vnd.openxmlformats-officedocument.presentationml.slide+xml"/>
  <Override PartName="/ppt/slides/slide1713.xml" ContentType="application/vnd.openxmlformats-officedocument.presentationml.slide+xml"/>
  <Override PartName="/ppt/slides/slide1714.xml" ContentType="application/vnd.openxmlformats-officedocument.presentationml.slide+xml"/>
  <Override PartName="/ppt/slides/slide1715.xml" ContentType="application/vnd.openxmlformats-officedocument.presentationml.slide+xml"/>
  <Override PartName="/ppt/slides/slide1716.xml" ContentType="application/vnd.openxmlformats-officedocument.presentationml.slide+xml"/>
  <Override PartName="/ppt/slides/slide1717.xml" ContentType="application/vnd.openxmlformats-officedocument.presentationml.slide+xml"/>
  <Override PartName="/ppt/slides/slide1718.xml" ContentType="application/vnd.openxmlformats-officedocument.presentationml.slide+xml"/>
  <Override PartName="/ppt/slides/slide1719.xml" ContentType="application/vnd.openxmlformats-officedocument.presentationml.slide+xml"/>
  <Override PartName="/ppt/slides/slide172.xml" ContentType="application/vnd.openxmlformats-officedocument.presentationml.slide+xml"/>
  <Override PartName="/ppt/slides/slide1720.xml" ContentType="application/vnd.openxmlformats-officedocument.presentationml.slide+xml"/>
  <Override PartName="/ppt/slides/slide1721.xml" ContentType="application/vnd.openxmlformats-officedocument.presentationml.slide+xml"/>
  <Override PartName="/ppt/slides/slide1722.xml" ContentType="application/vnd.openxmlformats-officedocument.presentationml.slide+xml"/>
  <Override PartName="/ppt/slides/slide1723.xml" ContentType="application/vnd.openxmlformats-officedocument.presentationml.slide+xml"/>
  <Override PartName="/ppt/slides/slide1724.xml" ContentType="application/vnd.openxmlformats-officedocument.presentationml.slide+xml"/>
  <Override PartName="/ppt/slides/slide1725.xml" ContentType="application/vnd.openxmlformats-officedocument.presentationml.slide+xml"/>
  <Override PartName="/ppt/slides/slide1726.xml" ContentType="application/vnd.openxmlformats-officedocument.presentationml.slide+xml"/>
  <Override PartName="/ppt/slides/slide1727.xml" ContentType="application/vnd.openxmlformats-officedocument.presentationml.slide+xml"/>
  <Override PartName="/ppt/slides/slide1728.xml" ContentType="application/vnd.openxmlformats-officedocument.presentationml.slide+xml"/>
  <Override PartName="/ppt/slides/slide1729.xml" ContentType="application/vnd.openxmlformats-officedocument.presentationml.slide+xml"/>
  <Override PartName="/ppt/slides/slide173.xml" ContentType="application/vnd.openxmlformats-officedocument.presentationml.slide+xml"/>
  <Override PartName="/ppt/slides/slide1730.xml" ContentType="application/vnd.openxmlformats-officedocument.presentationml.slide+xml"/>
  <Override PartName="/ppt/slides/slide1731.xml" ContentType="application/vnd.openxmlformats-officedocument.presentationml.slide+xml"/>
  <Override PartName="/ppt/slides/slide1732.xml" ContentType="application/vnd.openxmlformats-officedocument.presentationml.slide+xml"/>
  <Override PartName="/ppt/slides/slide1733.xml" ContentType="application/vnd.openxmlformats-officedocument.presentationml.slide+xml"/>
  <Override PartName="/ppt/slides/slide1734.xml" ContentType="application/vnd.openxmlformats-officedocument.presentationml.slide+xml"/>
  <Override PartName="/ppt/slides/slide1735.xml" ContentType="application/vnd.openxmlformats-officedocument.presentationml.slide+xml"/>
  <Override PartName="/ppt/slides/slide1736.xml" ContentType="application/vnd.openxmlformats-officedocument.presentationml.slide+xml"/>
  <Override PartName="/ppt/slides/slide1737.xml" ContentType="application/vnd.openxmlformats-officedocument.presentationml.slide+xml"/>
  <Override PartName="/ppt/slides/slide1738.xml" ContentType="application/vnd.openxmlformats-officedocument.presentationml.slide+xml"/>
  <Override PartName="/ppt/slides/slide1739.xml" ContentType="application/vnd.openxmlformats-officedocument.presentationml.slide+xml"/>
  <Override PartName="/ppt/slides/slide174.xml" ContentType="application/vnd.openxmlformats-officedocument.presentationml.slide+xml"/>
  <Override PartName="/ppt/slides/slide1740.xml" ContentType="application/vnd.openxmlformats-officedocument.presentationml.slide+xml"/>
  <Override PartName="/ppt/slides/slide1741.xml" ContentType="application/vnd.openxmlformats-officedocument.presentationml.slide+xml"/>
  <Override PartName="/ppt/slides/slide1742.xml" ContentType="application/vnd.openxmlformats-officedocument.presentationml.slide+xml"/>
  <Override PartName="/ppt/slides/slide1743.xml" ContentType="application/vnd.openxmlformats-officedocument.presentationml.slide+xml"/>
  <Override PartName="/ppt/slides/slide1744.xml" ContentType="application/vnd.openxmlformats-officedocument.presentationml.slide+xml"/>
  <Override PartName="/ppt/slides/slide1745.xml" ContentType="application/vnd.openxmlformats-officedocument.presentationml.slide+xml"/>
  <Override PartName="/ppt/slides/slide1746.xml" ContentType="application/vnd.openxmlformats-officedocument.presentationml.slide+xml"/>
  <Override PartName="/ppt/slides/slide1747.xml" ContentType="application/vnd.openxmlformats-officedocument.presentationml.slide+xml"/>
  <Override PartName="/ppt/slides/slide1748.xml" ContentType="application/vnd.openxmlformats-officedocument.presentationml.slide+xml"/>
  <Override PartName="/ppt/slides/slide1749.xml" ContentType="application/vnd.openxmlformats-officedocument.presentationml.slide+xml"/>
  <Override PartName="/ppt/slides/slide175.xml" ContentType="application/vnd.openxmlformats-officedocument.presentationml.slide+xml"/>
  <Override PartName="/ppt/slides/slide1750.xml" ContentType="application/vnd.openxmlformats-officedocument.presentationml.slide+xml"/>
  <Override PartName="/ppt/slides/slide1751.xml" ContentType="application/vnd.openxmlformats-officedocument.presentationml.slide+xml"/>
  <Override PartName="/ppt/slides/slide1752.xml" ContentType="application/vnd.openxmlformats-officedocument.presentationml.slide+xml"/>
  <Override PartName="/ppt/slides/slide1753.xml" ContentType="application/vnd.openxmlformats-officedocument.presentationml.slide+xml"/>
  <Override PartName="/ppt/slides/slide1754.xml" ContentType="application/vnd.openxmlformats-officedocument.presentationml.slide+xml"/>
  <Override PartName="/ppt/slides/slide1755.xml" ContentType="application/vnd.openxmlformats-officedocument.presentationml.slide+xml"/>
  <Override PartName="/ppt/slides/slide1756.xml" ContentType="application/vnd.openxmlformats-officedocument.presentationml.slide+xml"/>
  <Override PartName="/ppt/slides/slide1757.xml" ContentType="application/vnd.openxmlformats-officedocument.presentationml.slide+xml"/>
  <Override PartName="/ppt/slides/slide1758.xml" ContentType="application/vnd.openxmlformats-officedocument.presentationml.slide+xml"/>
  <Override PartName="/ppt/slides/slide1759.xml" ContentType="application/vnd.openxmlformats-officedocument.presentationml.slide+xml"/>
  <Override PartName="/ppt/slides/slide176.xml" ContentType="application/vnd.openxmlformats-officedocument.presentationml.slide+xml"/>
  <Override PartName="/ppt/slides/slide1760.xml" ContentType="application/vnd.openxmlformats-officedocument.presentationml.slide+xml"/>
  <Override PartName="/ppt/slides/slide1761.xml" ContentType="application/vnd.openxmlformats-officedocument.presentationml.slide+xml"/>
  <Override PartName="/ppt/slides/slide1762.xml" ContentType="application/vnd.openxmlformats-officedocument.presentationml.slide+xml"/>
  <Override PartName="/ppt/slides/slide1763.xml" ContentType="application/vnd.openxmlformats-officedocument.presentationml.slide+xml"/>
  <Override PartName="/ppt/slides/slide1764.xml" ContentType="application/vnd.openxmlformats-officedocument.presentationml.slide+xml"/>
  <Override PartName="/ppt/slides/slide1765.xml" ContentType="application/vnd.openxmlformats-officedocument.presentationml.slide+xml"/>
  <Override PartName="/ppt/slides/slide1766.xml" ContentType="application/vnd.openxmlformats-officedocument.presentationml.slide+xml"/>
  <Override PartName="/ppt/slides/slide1767.xml" ContentType="application/vnd.openxmlformats-officedocument.presentationml.slide+xml"/>
  <Override PartName="/ppt/slides/slide1768.xml" ContentType="application/vnd.openxmlformats-officedocument.presentationml.slide+xml"/>
  <Override PartName="/ppt/slides/slide1769.xml" ContentType="application/vnd.openxmlformats-officedocument.presentationml.slide+xml"/>
  <Override PartName="/ppt/slides/slide177.xml" ContentType="application/vnd.openxmlformats-officedocument.presentationml.slide+xml"/>
  <Override PartName="/ppt/slides/slide1770.xml" ContentType="application/vnd.openxmlformats-officedocument.presentationml.slide+xml"/>
  <Override PartName="/ppt/slides/slide1771.xml" ContentType="application/vnd.openxmlformats-officedocument.presentationml.slide+xml"/>
  <Override PartName="/ppt/slides/slide1772.xml" ContentType="application/vnd.openxmlformats-officedocument.presentationml.slide+xml"/>
  <Override PartName="/ppt/slides/slide1773.xml" ContentType="application/vnd.openxmlformats-officedocument.presentationml.slide+xml"/>
  <Override PartName="/ppt/slides/slide1774.xml" ContentType="application/vnd.openxmlformats-officedocument.presentationml.slide+xml"/>
  <Override PartName="/ppt/slides/slide1775.xml" ContentType="application/vnd.openxmlformats-officedocument.presentationml.slide+xml"/>
  <Override PartName="/ppt/slides/slide1776.xml" ContentType="application/vnd.openxmlformats-officedocument.presentationml.slide+xml"/>
  <Override PartName="/ppt/slides/slide1777.xml" ContentType="application/vnd.openxmlformats-officedocument.presentationml.slide+xml"/>
  <Override PartName="/ppt/slides/slide1778.xml" ContentType="application/vnd.openxmlformats-officedocument.presentationml.slide+xml"/>
  <Override PartName="/ppt/slides/slide1779.xml" ContentType="application/vnd.openxmlformats-officedocument.presentationml.slide+xml"/>
  <Override PartName="/ppt/slides/slide178.xml" ContentType="application/vnd.openxmlformats-officedocument.presentationml.slide+xml"/>
  <Override PartName="/ppt/slides/slide1780.xml" ContentType="application/vnd.openxmlformats-officedocument.presentationml.slide+xml"/>
  <Override PartName="/ppt/slides/slide1781.xml" ContentType="application/vnd.openxmlformats-officedocument.presentationml.slide+xml"/>
  <Override PartName="/ppt/slides/slide1782.xml" ContentType="application/vnd.openxmlformats-officedocument.presentationml.slide+xml"/>
  <Override PartName="/ppt/slides/slide1783.xml" ContentType="application/vnd.openxmlformats-officedocument.presentationml.slide+xml"/>
  <Override PartName="/ppt/slides/slide1784.xml" ContentType="application/vnd.openxmlformats-officedocument.presentationml.slide+xml"/>
  <Override PartName="/ppt/slides/slide1785.xml" ContentType="application/vnd.openxmlformats-officedocument.presentationml.slide+xml"/>
  <Override PartName="/ppt/slides/slide1786.xml" ContentType="application/vnd.openxmlformats-officedocument.presentationml.slide+xml"/>
  <Override PartName="/ppt/slides/slide1787.xml" ContentType="application/vnd.openxmlformats-officedocument.presentationml.slide+xml"/>
  <Override PartName="/ppt/slides/slide1788.xml" ContentType="application/vnd.openxmlformats-officedocument.presentationml.slide+xml"/>
  <Override PartName="/ppt/slides/slide1789.xml" ContentType="application/vnd.openxmlformats-officedocument.presentationml.slide+xml"/>
  <Override PartName="/ppt/slides/slide179.xml" ContentType="application/vnd.openxmlformats-officedocument.presentationml.slide+xml"/>
  <Override PartName="/ppt/slides/slide1790.xml" ContentType="application/vnd.openxmlformats-officedocument.presentationml.slide+xml"/>
  <Override PartName="/ppt/slides/slide1791.xml" ContentType="application/vnd.openxmlformats-officedocument.presentationml.slide+xml"/>
  <Override PartName="/ppt/slides/slide1792.xml" ContentType="application/vnd.openxmlformats-officedocument.presentationml.slide+xml"/>
  <Override PartName="/ppt/slides/slide1793.xml" ContentType="application/vnd.openxmlformats-officedocument.presentationml.slide+xml"/>
  <Override PartName="/ppt/slides/slide1794.xml" ContentType="application/vnd.openxmlformats-officedocument.presentationml.slide+xml"/>
  <Override PartName="/ppt/slides/slide1795.xml" ContentType="application/vnd.openxmlformats-officedocument.presentationml.slide+xml"/>
  <Override PartName="/ppt/slides/slide1796.xml" ContentType="application/vnd.openxmlformats-officedocument.presentationml.slide+xml"/>
  <Override PartName="/ppt/slides/slide1797.xml" ContentType="application/vnd.openxmlformats-officedocument.presentationml.slide+xml"/>
  <Override PartName="/ppt/slides/slide1798.xml" ContentType="application/vnd.openxmlformats-officedocument.presentationml.slide+xml"/>
  <Override PartName="/ppt/slides/slide179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00.xml" ContentType="application/vnd.openxmlformats-officedocument.presentationml.slide+xml"/>
  <Override PartName="/ppt/slides/slide1801.xml" ContentType="application/vnd.openxmlformats-officedocument.presentationml.slide+xml"/>
  <Override PartName="/ppt/slides/slide1802.xml" ContentType="application/vnd.openxmlformats-officedocument.presentationml.slide+xml"/>
  <Override PartName="/ppt/slides/slide1803.xml" ContentType="application/vnd.openxmlformats-officedocument.presentationml.slide+xml"/>
  <Override PartName="/ppt/slides/slide1804.xml" ContentType="application/vnd.openxmlformats-officedocument.presentationml.slide+xml"/>
  <Override PartName="/ppt/slides/slide1805.xml" ContentType="application/vnd.openxmlformats-officedocument.presentationml.slide+xml"/>
  <Override PartName="/ppt/slides/slide1806.xml" ContentType="application/vnd.openxmlformats-officedocument.presentationml.slide+xml"/>
  <Override PartName="/ppt/slides/slide1807.xml" ContentType="application/vnd.openxmlformats-officedocument.presentationml.slide+xml"/>
  <Override PartName="/ppt/slides/slide1808.xml" ContentType="application/vnd.openxmlformats-officedocument.presentationml.slide+xml"/>
  <Override PartName="/ppt/slides/slide1809.xml" ContentType="application/vnd.openxmlformats-officedocument.presentationml.slide+xml"/>
  <Override PartName="/ppt/slides/slide181.xml" ContentType="application/vnd.openxmlformats-officedocument.presentationml.slide+xml"/>
  <Override PartName="/ppt/slides/slide1810.xml" ContentType="application/vnd.openxmlformats-officedocument.presentationml.slide+xml"/>
  <Override PartName="/ppt/slides/slide1811.xml" ContentType="application/vnd.openxmlformats-officedocument.presentationml.slide+xml"/>
  <Override PartName="/ppt/slides/slide1812.xml" ContentType="application/vnd.openxmlformats-officedocument.presentationml.slide+xml"/>
  <Override PartName="/ppt/slides/slide1813.xml" ContentType="application/vnd.openxmlformats-officedocument.presentationml.slide+xml"/>
  <Override PartName="/ppt/slides/slide1814.xml" ContentType="application/vnd.openxmlformats-officedocument.presentationml.slide+xml"/>
  <Override PartName="/ppt/slides/slide1815.xml" ContentType="application/vnd.openxmlformats-officedocument.presentationml.slide+xml"/>
  <Override PartName="/ppt/slides/slide1816.xml" ContentType="application/vnd.openxmlformats-officedocument.presentationml.slide+xml"/>
  <Override PartName="/ppt/slides/slide1817.xml" ContentType="application/vnd.openxmlformats-officedocument.presentationml.slide+xml"/>
  <Override PartName="/ppt/slides/slide1818.xml" ContentType="application/vnd.openxmlformats-officedocument.presentationml.slide+xml"/>
  <Override PartName="/ppt/slides/slide1819.xml" ContentType="application/vnd.openxmlformats-officedocument.presentationml.slide+xml"/>
  <Override PartName="/ppt/slides/slide182.xml" ContentType="application/vnd.openxmlformats-officedocument.presentationml.slide+xml"/>
  <Override PartName="/ppt/slides/slide1820.xml" ContentType="application/vnd.openxmlformats-officedocument.presentationml.slide+xml"/>
  <Override PartName="/ppt/slides/slide1821.xml" ContentType="application/vnd.openxmlformats-officedocument.presentationml.slide+xml"/>
  <Override PartName="/ppt/slides/slide1822.xml" ContentType="application/vnd.openxmlformats-officedocument.presentationml.slide+xml"/>
  <Override PartName="/ppt/slides/slide1823.xml" ContentType="application/vnd.openxmlformats-officedocument.presentationml.slide+xml"/>
  <Override PartName="/ppt/slides/slide1824.xml" ContentType="application/vnd.openxmlformats-officedocument.presentationml.slide+xml"/>
  <Override PartName="/ppt/slides/slide1825.xml" ContentType="application/vnd.openxmlformats-officedocument.presentationml.slide+xml"/>
  <Override PartName="/ppt/slides/slide1826.xml" ContentType="application/vnd.openxmlformats-officedocument.presentationml.slide+xml"/>
  <Override PartName="/ppt/slides/slide1827.xml" ContentType="application/vnd.openxmlformats-officedocument.presentationml.slide+xml"/>
  <Override PartName="/ppt/slides/slide1828.xml" ContentType="application/vnd.openxmlformats-officedocument.presentationml.slide+xml"/>
  <Override PartName="/ppt/slides/slide1829.xml" ContentType="application/vnd.openxmlformats-officedocument.presentationml.slide+xml"/>
  <Override PartName="/ppt/slides/slide183.xml" ContentType="application/vnd.openxmlformats-officedocument.presentationml.slide+xml"/>
  <Override PartName="/ppt/slides/slide1830.xml" ContentType="application/vnd.openxmlformats-officedocument.presentationml.slide+xml"/>
  <Override PartName="/ppt/slides/slide1831.xml" ContentType="application/vnd.openxmlformats-officedocument.presentationml.slide+xml"/>
  <Override PartName="/ppt/slides/slide1832.xml" ContentType="application/vnd.openxmlformats-officedocument.presentationml.slide+xml"/>
  <Override PartName="/ppt/slides/slide1833.xml" ContentType="application/vnd.openxmlformats-officedocument.presentationml.slide+xml"/>
  <Override PartName="/ppt/slides/slide1834.xml" ContentType="application/vnd.openxmlformats-officedocument.presentationml.slide+xml"/>
  <Override PartName="/ppt/slides/slide1835.xml" ContentType="application/vnd.openxmlformats-officedocument.presentationml.slide+xml"/>
  <Override PartName="/ppt/slides/slide1836.xml" ContentType="application/vnd.openxmlformats-officedocument.presentationml.slide+xml"/>
  <Override PartName="/ppt/slides/slide1837.xml" ContentType="application/vnd.openxmlformats-officedocument.presentationml.slide+xml"/>
  <Override PartName="/ppt/slides/slide1838.xml" ContentType="application/vnd.openxmlformats-officedocument.presentationml.slide+xml"/>
  <Override PartName="/ppt/slides/slide1839.xml" ContentType="application/vnd.openxmlformats-officedocument.presentationml.slide+xml"/>
  <Override PartName="/ppt/slides/slide184.xml" ContentType="application/vnd.openxmlformats-officedocument.presentationml.slide+xml"/>
  <Override PartName="/ppt/slides/slide1840.xml" ContentType="application/vnd.openxmlformats-officedocument.presentationml.slide+xml"/>
  <Override PartName="/ppt/slides/slide1841.xml" ContentType="application/vnd.openxmlformats-officedocument.presentationml.slide+xml"/>
  <Override PartName="/ppt/slides/slide1842.xml" ContentType="application/vnd.openxmlformats-officedocument.presentationml.slide+xml"/>
  <Override PartName="/ppt/slides/slide1843.xml" ContentType="application/vnd.openxmlformats-officedocument.presentationml.slide+xml"/>
  <Override PartName="/ppt/slides/slide1844.xml" ContentType="application/vnd.openxmlformats-officedocument.presentationml.slide+xml"/>
  <Override PartName="/ppt/slides/slide1845.xml" ContentType="application/vnd.openxmlformats-officedocument.presentationml.slide+xml"/>
  <Override PartName="/ppt/slides/slide1846.xml" ContentType="application/vnd.openxmlformats-officedocument.presentationml.slide+xml"/>
  <Override PartName="/ppt/slides/slide1847.xml" ContentType="application/vnd.openxmlformats-officedocument.presentationml.slide+xml"/>
  <Override PartName="/ppt/slides/slide1848.xml" ContentType="application/vnd.openxmlformats-officedocument.presentationml.slide+xml"/>
  <Override PartName="/ppt/slides/slide1849.xml" ContentType="application/vnd.openxmlformats-officedocument.presentationml.slide+xml"/>
  <Override PartName="/ppt/slides/slide185.xml" ContentType="application/vnd.openxmlformats-officedocument.presentationml.slide+xml"/>
  <Override PartName="/ppt/slides/slide1850.xml" ContentType="application/vnd.openxmlformats-officedocument.presentationml.slide+xml"/>
  <Override PartName="/ppt/slides/slide1851.xml" ContentType="application/vnd.openxmlformats-officedocument.presentationml.slide+xml"/>
  <Override PartName="/ppt/slides/slide1852.xml" ContentType="application/vnd.openxmlformats-officedocument.presentationml.slide+xml"/>
  <Override PartName="/ppt/slides/slide1853.xml" ContentType="application/vnd.openxmlformats-officedocument.presentationml.slide+xml"/>
  <Override PartName="/ppt/slides/slide1854.xml" ContentType="application/vnd.openxmlformats-officedocument.presentationml.slide+xml"/>
  <Override PartName="/ppt/slides/slide1855.xml" ContentType="application/vnd.openxmlformats-officedocument.presentationml.slide+xml"/>
  <Override PartName="/ppt/slides/slide1856.xml" ContentType="application/vnd.openxmlformats-officedocument.presentationml.slide+xml"/>
  <Override PartName="/ppt/slides/slide1857.xml" ContentType="application/vnd.openxmlformats-officedocument.presentationml.slide+xml"/>
  <Override PartName="/ppt/slides/slide1858.xml" ContentType="application/vnd.openxmlformats-officedocument.presentationml.slide+xml"/>
  <Override PartName="/ppt/slides/slide1859.xml" ContentType="application/vnd.openxmlformats-officedocument.presentationml.slide+xml"/>
  <Override PartName="/ppt/slides/slide186.xml" ContentType="application/vnd.openxmlformats-officedocument.presentationml.slide+xml"/>
  <Override PartName="/ppt/slides/slide1860.xml" ContentType="application/vnd.openxmlformats-officedocument.presentationml.slide+xml"/>
  <Override PartName="/ppt/slides/slide1861.xml" ContentType="application/vnd.openxmlformats-officedocument.presentationml.slide+xml"/>
  <Override PartName="/ppt/slides/slide1862.xml" ContentType="application/vnd.openxmlformats-officedocument.presentationml.slide+xml"/>
  <Override PartName="/ppt/slides/slide1863.xml" ContentType="application/vnd.openxmlformats-officedocument.presentationml.slide+xml"/>
  <Override PartName="/ppt/slides/slide1864.xml" ContentType="application/vnd.openxmlformats-officedocument.presentationml.slide+xml"/>
  <Override PartName="/ppt/slides/slide1865.xml" ContentType="application/vnd.openxmlformats-officedocument.presentationml.slide+xml"/>
  <Override PartName="/ppt/slides/slide1866.xml" ContentType="application/vnd.openxmlformats-officedocument.presentationml.slide+xml"/>
  <Override PartName="/ppt/slides/slide1867.xml" ContentType="application/vnd.openxmlformats-officedocument.presentationml.slide+xml"/>
  <Override PartName="/ppt/slides/slide1868.xml" ContentType="application/vnd.openxmlformats-officedocument.presentationml.slide+xml"/>
  <Override PartName="/ppt/slides/slide1869.xml" ContentType="application/vnd.openxmlformats-officedocument.presentationml.slide+xml"/>
  <Override PartName="/ppt/slides/slide187.xml" ContentType="application/vnd.openxmlformats-officedocument.presentationml.slide+xml"/>
  <Override PartName="/ppt/slides/slide1870.xml" ContentType="application/vnd.openxmlformats-officedocument.presentationml.slide+xml"/>
  <Override PartName="/ppt/slides/slide1871.xml" ContentType="application/vnd.openxmlformats-officedocument.presentationml.slide+xml"/>
  <Override PartName="/ppt/slides/slide1872.xml" ContentType="application/vnd.openxmlformats-officedocument.presentationml.slide+xml"/>
  <Override PartName="/ppt/slides/slide1873.xml" ContentType="application/vnd.openxmlformats-officedocument.presentationml.slide+xml"/>
  <Override PartName="/ppt/slides/slide1874.xml" ContentType="application/vnd.openxmlformats-officedocument.presentationml.slide+xml"/>
  <Override PartName="/ppt/slides/slide1875.xml" ContentType="application/vnd.openxmlformats-officedocument.presentationml.slide+xml"/>
  <Override PartName="/ppt/slides/slide1876.xml" ContentType="application/vnd.openxmlformats-officedocument.presentationml.slide+xml"/>
  <Override PartName="/ppt/slides/slide1877.xml" ContentType="application/vnd.openxmlformats-officedocument.presentationml.slide+xml"/>
  <Override PartName="/ppt/slides/slide1878.xml" ContentType="application/vnd.openxmlformats-officedocument.presentationml.slide+xml"/>
  <Override PartName="/ppt/slides/slide1879.xml" ContentType="application/vnd.openxmlformats-officedocument.presentationml.slide+xml"/>
  <Override PartName="/ppt/slides/slide188.xml" ContentType="application/vnd.openxmlformats-officedocument.presentationml.slide+xml"/>
  <Override PartName="/ppt/slides/slide1880.xml" ContentType="application/vnd.openxmlformats-officedocument.presentationml.slide+xml"/>
  <Override PartName="/ppt/slides/slide1881.xml" ContentType="application/vnd.openxmlformats-officedocument.presentationml.slide+xml"/>
  <Override PartName="/ppt/slides/slide1882.xml" ContentType="application/vnd.openxmlformats-officedocument.presentationml.slide+xml"/>
  <Override PartName="/ppt/slides/slide1883.xml" ContentType="application/vnd.openxmlformats-officedocument.presentationml.slide+xml"/>
  <Override PartName="/ppt/slides/slide1884.xml" ContentType="application/vnd.openxmlformats-officedocument.presentationml.slide+xml"/>
  <Override PartName="/ppt/slides/slide1885.xml" ContentType="application/vnd.openxmlformats-officedocument.presentationml.slide+xml"/>
  <Override PartName="/ppt/slides/slide1886.xml" ContentType="application/vnd.openxmlformats-officedocument.presentationml.slide+xml"/>
  <Override PartName="/ppt/slides/slide1887.xml" ContentType="application/vnd.openxmlformats-officedocument.presentationml.slide+xml"/>
  <Override PartName="/ppt/slides/slide1888.xml" ContentType="application/vnd.openxmlformats-officedocument.presentationml.slide+xml"/>
  <Override PartName="/ppt/slides/slide1889.xml" ContentType="application/vnd.openxmlformats-officedocument.presentationml.slide+xml"/>
  <Override PartName="/ppt/slides/slide189.xml" ContentType="application/vnd.openxmlformats-officedocument.presentationml.slide+xml"/>
  <Override PartName="/ppt/slides/slide1890.xml" ContentType="application/vnd.openxmlformats-officedocument.presentationml.slide+xml"/>
  <Override PartName="/ppt/slides/slide1891.xml" ContentType="application/vnd.openxmlformats-officedocument.presentationml.slide+xml"/>
  <Override PartName="/ppt/slides/slide1892.xml" ContentType="application/vnd.openxmlformats-officedocument.presentationml.slide+xml"/>
  <Override PartName="/ppt/slides/slide1893.xml" ContentType="application/vnd.openxmlformats-officedocument.presentationml.slide+xml"/>
  <Override PartName="/ppt/slides/slide1894.xml" ContentType="application/vnd.openxmlformats-officedocument.presentationml.slide+xml"/>
  <Override PartName="/ppt/slides/slide1895.xml" ContentType="application/vnd.openxmlformats-officedocument.presentationml.slide+xml"/>
  <Override PartName="/ppt/slides/slide1896.xml" ContentType="application/vnd.openxmlformats-officedocument.presentationml.slide+xml"/>
  <Override PartName="/ppt/slides/slide1897.xml" ContentType="application/vnd.openxmlformats-officedocument.presentationml.slide+xml"/>
  <Override PartName="/ppt/slides/slide1898.xml" ContentType="application/vnd.openxmlformats-officedocument.presentationml.slide+xml"/>
  <Override PartName="/ppt/slides/slide189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00.xml" ContentType="application/vnd.openxmlformats-officedocument.presentationml.slide+xml"/>
  <Override PartName="/ppt/slides/slide1901.xml" ContentType="application/vnd.openxmlformats-officedocument.presentationml.slide+xml"/>
  <Override PartName="/ppt/slides/slide1902.xml" ContentType="application/vnd.openxmlformats-officedocument.presentationml.slide+xml"/>
  <Override PartName="/ppt/slides/slide1903.xml" ContentType="application/vnd.openxmlformats-officedocument.presentationml.slide+xml"/>
  <Override PartName="/ppt/slides/slide1904.xml" ContentType="application/vnd.openxmlformats-officedocument.presentationml.slide+xml"/>
  <Override PartName="/ppt/slides/slide1905.xml" ContentType="application/vnd.openxmlformats-officedocument.presentationml.slide+xml"/>
  <Override PartName="/ppt/slides/slide1906.xml" ContentType="application/vnd.openxmlformats-officedocument.presentationml.slide+xml"/>
  <Override PartName="/ppt/slides/slide1907.xml" ContentType="application/vnd.openxmlformats-officedocument.presentationml.slide+xml"/>
  <Override PartName="/ppt/slides/slide1908.xml" ContentType="application/vnd.openxmlformats-officedocument.presentationml.slide+xml"/>
  <Override PartName="/ppt/slides/slide1909.xml" ContentType="application/vnd.openxmlformats-officedocument.presentationml.slide+xml"/>
  <Override PartName="/ppt/slides/slide191.xml" ContentType="application/vnd.openxmlformats-officedocument.presentationml.slide+xml"/>
  <Override PartName="/ppt/slides/slide1910.xml" ContentType="application/vnd.openxmlformats-officedocument.presentationml.slide+xml"/>
  <Override PartName="/ppt/slides/slide1911.xml" ContentType="application/vnd.openxmlformats-officedocument.presentationml.slide+xml"/>
  <Override PartName="/ppt/slides/slide1912.xml" ContentType="application/vnd.openxmlformats-officedocument.presentationml.slide+xml"/>
  <Override PartName="/ppt/slides/slide1913.xml" ContentType="application/vnd.openxmlformats-officedocument.presentationml.slide+xml"/>
  <Override PartName="/ppt/slides/slide1914.xml" ContentType="application/vnd.openxmlformats-officedocument.presentationml.slide+xml"/>
  <Override PartName="/ppt/slides/slide1915.xml" ContentType="application/vnd.openxmlformats-officedocument.presentationml.slide+xml"/>
  <Override PartName="/ppt/slides/slide1916.xml" ContentType="application/vnd.openxmlformats-officedocument.presentationml.slide+xml"/>
  <Override PartName="/ppt/slides/slide1917.xml" ContentType="application/vnd.openxmlformats-officedocument.presentationml.slide+xml"/>
  <Override PartName="/ppt/slides/slide1918.xml" ContentType="application/vnd.openxmlformats-officedocument.presentationml.slide+xml"/>
  <Override PartName="/ppt/slides/slide1919.xml" ContentType="application/vnd.openxmlformats-officedocument.presentationml.slide+xml"/>
  <Override PartName="/ppt/slides/slide192.xml" ContentType="application/vnd.openxmlformats-officedocument.presentationml.slide+xml"/>
  <Override PartName="/ppt/slides/slide1920.xml" ContentType="application/vnd.openxmlformats-officedocument.presentationml.slide+xml"/>
  <Override PartName="/ppt/slides/slide1921.xml" ContentType="application/vnd.openxmlformats-officedocument.presentationml.slide+xml"/>
  <Override PartName="/ppt/slides/slide1922.xml" ContentType="application/vnd.openxmlformats-officedocument.presentationml.slide+xml"/>
  <Override PartName="/ppt/slides/slide1923.xml" ContentType="application/vnd.openxmlformats-officedocument.presentationml.slide+xml"/>
  <Override PartName="/ppt/slides/slide1924.xml" ContentType="application/vnd.openxmlformats-officedocument.presentationml.slide+xml"/>
  <Override PartName="/ppt/slides/slide1925.xml" ContentType="application/vnd.openxmlformats-officedocument.presentationml.slide+xml"/>
  <Override PartName="/ppt/slides/slide1926.xml" ContentType="application/vnd.openxmlformats-officedocument.presentationml.slide+xml"/>
  <Override PartName="/ppt/slides/slide1927.xml" ContentType="application/vnd.openxmlformats-officedocument.presentationml.slide+xml"/>
  <Override PartName="/ppt/slides/slide1928.xml" ContentType="application/vnd.openxmlformats-officedocument.presentationml.slide+xml"/>
  <Override PartName="/ppt/slides/slide1929.xml" ContentType="application/vnd.openxmlformats-officedocument.presentationml.slide+xml"/>
  <Override PartName="/ppt/slides/slide193.xml" ContentType="application/vnd.openxmlformats-officedocument.presentationml.slide+xml"/>
  <Override PartName="/ppt/slides/slide1930.xml" ContentType="application/vnd.openxmlformats-officedocument.presentationml.slide+xml"/>
  <Override PartName="/ppt/slides/slide1931.xml" ContentType="application/vnd.openxmlformats-officedocument.presentationml.slide+xml"/>
  <Override PartName="/ppt/slides/slide1932.xml" ContentType="application/vnd.openxmlformats-officedocument.presentationml.slide+xml"/>
  <Override PartName="/ppt/slides/slide1933.xml" ContentType="application/vnd.openxmlformats-officedocument.presentationml.slide+xml"/>
  <Override PartName="/ppt/slides/slide1934.xml" ContentType="application/vnd.openxmlformats-officedocument.presentationml.slide+xml"/>
  <Override PartName="/ppt/slides/slide1935.xml" ContentType="application/vnd.openxmlformats-officedocument.presentationml.slide+xml"/>
  <Override PartName="/ppt/slides/slide1936.xml" ContentType="application/vnd.openxmlformats-officedocument.presentationml.slide+xml"/>
  <Override PartName="/ppt/slides/slide1937.xml" ContentType="application/vnd.openxmlformats-officedocument.presentationml.slide+xml"/>
  <Override PartName="/ppt/slides/slide1938.xml" ContentType="application/vnd.openxmlformats-officedocument.presentationml.slide+xml"/>
  <Override PartName="/ppt/slides/slide1939.xml" ContentType="application/vnd.openxmlformats-officedocument.presentationml.slide+xml"/>
  <Override PartName="/ppt/slides/slide194.xml" ContentType="application/vnd.openxmlformats-officedocument.presentationml.slide+xml"/>
  <Override PartName="/ppt/slides/slide1940.xml" ContentType="application/vnd.openxmlformats-officedocument.presentationml.slide+xml"/>
  <Override PartName="/ppt/slides/slide1941.xml" ContentType="application/vnd.openxmlformats-officedocument.presentationml.slide+xml"/>
  <Override PartName="/ppt/slides/slide1942.xml" ContentType="application/vnd.openxmlformats-officedocument.presentationml.slide+xml"/>
  <Override PartName="/ppt/slides/slide1943.xml" ContentType="application/vnd.openxmlformats-officedocument.presentationml.slide+xml"/>
  <Override PartName="/ppt/slides/slide1944.xml" ContentType="application/vnd.openxmlformats-officedocument.presentationml.slide+xml"/>
  <Override PartName="/ppt/slides/slide1945.xml" ContentType="application/vnd.openxmlformats-officedocument.presentationml.slide+xml"/>
  <Override PartName="/ppt/slides/slide1946.xml" ContentType="application/vnd.openxmlformats-officedocument.presentationml.slide+xml"/>
  <Override PartName="/ppt/slides/slide1947.xml" ContentType="application/vnd.openxmlformats-officedocument.presentationml.slide+xml"/>
  <Override PartName="/ppt/slides/slide1948.xml" ContentType="application/vnd.openxmlformats-officedocument.presentationml.slide+xml"/>
  <Override PartName="/ppt/slides/slide1949.xml" ContentType="application/vnd.openxmlformats-officedocument.presentationml.slide+xml"/>
  <Override PartName="/ppt/slides/slide195.xml" ContentType="application/vnd.openxmlformats-officedocument.presentationml.slide+xml"/>
  <Override PartName="/ppt/slides/slide1950.xml" ContentType="application/vnd.openxmlformats-officedocument.presentationml.slide+xml"/>
  <Override PartName="/ppt/slides/slide1951.xml" ContentType="application/vnd.openxmlformats-officedocument.presentationml.slide+xml"/>
  <Override PartName="/ppt/slides/slide1952.xml" ContentType="application/vnd.openxmlformats-officedocument.presentationml.slide+xml"/>
  <Override PartName="/ppt/slides/slide1953.xml" ContentType="application/vnd.openxmlformats-officedocument.presentationml.slide+xml"/>
  <Override PartName="/ppt/slides/slide1954.xml" ContentType="application/vnd.openxmlformats-officedocument.presentationml.slide+xml"/>
  <Override PartName="/ppt/slides/slide1955.xml" ContentType="application/vnd.openxmlformats-officedocument.presentationml.slide+xml"/>
  <Override PartName="/ppt/slides/slide1956.xml" ContentType="application/vnd.openxmlformats-officedocument.presentationml.slide+xml"/>
  <Override PartName="/ppt/slides/slide1957.xml" ContentType="application/vnd.openxmlformats-officedocument.presentationml.slide+xml"/>
  <Override PartName="/ppt/slides/slide1958.xml" ContentType="application/vnd.openxmlformats-officedocument.presentationml.slide+xml"/>
  <Override PartName="/ppt/slides/slide1959.xml" ContentType="application/vnd.openxmlformats-officedocument.presentationml.slide+xml"/>
  <Override PartName="/ppt/slides/slide196.xml" ContentType="application/vnd.openxmlformats-officedocument.presentationml.slide+xml"/>
  <Override PartName="/ppt/slides/slide1960.xml" ContentType="application/vnd.openxmlformats-officedocument.presentationml.slide+xml"/>
  <Override PartName="/ppt/slides/slide1961.xml" ContentType="application/vnd.openxmlformats-officedocument.presentationml.slide+xml"/>
  <Override PartName="/ppt/slides/slide1962.xml" ContentType="application/vnd.openxmlformats-officedocument.presentationml.slide+xml"/>
  <Override PartName="/ppt/slides/slide1963.xml" ContentType="application/vnd.openxmlformats-officedocument.presentationml.slide+xml"/>
  <Override PartName="/ppt/slides/slide1964.xml" ContentType="application/vnd.openxmlformats-officedocument.presentationml.slide+xml"/>
  <Override PartName="/ppt/slides/slide1965.xml" ContentType="application/vnd.openxmlformats-officedocument.presentationml.slide+xml"/>
  <Override PartName="/ppt/slides/slide1966.xml" ContentType="application/vnd.openxmlformats-officedocument.presentationml.slide+xml"/>
  <Override PartName="/ppt/slides/slide1967.xml" ContentType="application/vnd.openxmlformats-officedocument.presentationml.slide+xml"/>
  <Override PartName="/ppt/slides/slide1968.xml" ContentType="application/vnd.openxmlformats-officedocument.presentationml.slide+xml"/>
  <Override PartName="/ppt/slides/slide1969.xml" ContentType="application/vnd.openxmlformats-officedocument.presentationml.slide+xml"/>
  <Override PartName="/ppt/slides/slide197.xml" ContentType="application/vnd.openxmlformats-officedocument.presentationml.slide+xml"/>
  <Override PartName="/ppt/slides/slide1970.xml" ContentType="application/vnd.openxmlformats-officedocument.presentationml.slide+xml"/>
  <Override PartName="/ppt/slides/slide1971.xml" ContentType="application/vnd.openxmlformats-officedocument.presentationml.slide+xml"/>
  <Override PartName="/ppt/slides/slide1972.xml" ContentType="application/vnd.openxmlformats-officedocument.presentationml.slide+xml"/>
  <Override PartName="/ppt/slides/slide1973.xml" ContentType="application/vnd.openxmlformats-officedocument.presentationml.slide+xml"/>
  <Override PartName="/ppt/slides/slide1974.xml" ContentType="application/vnd.openxmlformats-officedocument.presentationml.slide+xml"/>
  <Override PartName="/ppt/slides/slide1975.xml" ContentType="application/vnd.openxmlformats-officedocument.presentationml.slide+xml"/>
  <Override PartName="/ppt/slides/slide1976.xml" ContentType="application/vnd.openxmlformats-officedocument.presentationml.slide+xml"/>
  <Override PartName="/ppt/slides/slide1977.xml" ContentType="application/vnd.openxmlformats-officedocument.presentationml.slide+xml"/>
  <Override PartName="/ppt/slides/slide1978.xml" ContentType="application/vnd.openxmlformats-officedocument.presentationml.slide+xml"/>
  <Override PartName="/ppt/slides/slide1979.xml" ContentType="application/vnd.openxmlformats-officedocument.presentationml.slide+xml"/>
  <Override PartName="/ppt/slides/slide198.xml" ContentType="application/vnd.openxmlformats-officedocument.presentationml.slide+xml"/>
  <Override PartName="/ppt/slides/slide1980.xml" ContentType="application/vnd.openxmlformats-officedocument.presentationml.slide+xml"/>
  <Override PartName="/ppt/slides/slide1981.xml" ContentType="application/vnd.openxmlformats-officedocument.presentationml.slide+xml"/>
  <Override PartName="/ppt/slides/slide1982.xml" ContentType="application/vnd.openxmlformats-officedocument.presentationml.slide+xml"/>
  <Override PartName="/ppt/slides/slide1983.xml" ContentType="application/vnd.openxmlformats-officedocument.presentationml.slide+xml"/>
  <Override PartName="/ppt/slides/slide1984.xml" ContentType="application/vnd.openxmlformats-officedocument.presentationml.slide+xml"/>
  <Override PartName="/ppt/slides/slide1985.xml" ContentType="application/vnd.openxmlformats-officedocument.presentationml.slide+xml"/>
  <Override PartName="/ppt/slides/slide1986.xml" ContentType="application/vnd.openxmlformats-officedocument.presentationml.slide+xml"/>
  <Override PartName="/ppt/slides/slide1987.xml" ContentType="application/vnd.openxmlformats-officedocument.presentationml.slide+xml"/>
  <Override PartName="/ppt/slides/slide1988.xml" ContentType="application/vnd.openxmlformats-officedocument.presentationml.slide+xml"/>
  <Override PartName="/ppt/slides/slide1989.xml" ContentType="application/vnd.openxmlformats-officedocument.presentationml.slide+xml"/>
  <Override PartName="/ppt/slides/slide199.xml" ContentType="application/vnd.openxmlformats-officedocument.presentationml.slide+xml"/>
  <Override PartName="/ppt/slides/slide1990.xml" ContentType="application/vnd.openxmlformats-officedocument.presentationml.slide+xml"/>
  <Override PartName="/ppt/slides/slide1991.xml" ContentType="application/vnd.openxmlformats-officedocument.presentationml.slide+xml"/>
  <Override PartName="/ppt/slides/slide1992.xml" ContentType="application/vnd.openxmlformats-officedocument.presentationml.slide+xml"/>
  <Override PartName="/ppt/slides/slide1993.xml" ContentType="application/vnd.openxmlformats-officedocument.presentationml.slide+xml"/>
  <Override PartName="/ppt/slides/slide1994.xml" ContentType="application/vnd.openxmlformats-officedocument.presentationml.slide+xml"/>
  <Override PartName="/ppt/slides/slide1995.xml" ContentType="application/vnd.openxmlformats-officedocument.presentationml.slide+xml"/>
  <Override PartName="/ppt/slides/slide1996.xml" ContentType="application/vnd.openxmlformats-officedocument.presentationml.slide+xml"/>
  <Override PartName="/ppt/slides/slide1997.xml" ContentType="application/vnd.openxmlformats-officedocument.presentationml.slide+xml"/>
  <Override PartName="/ppt/slides/slide1998.xml" ContentType="application/vnd.openxmlformats-officedocument.presentationml.slide+xml"/>
  <Override PartName="/ppt/slides/slide19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00.xml" ContentType="application/vnd.openxmlformats-officedocument.presentationml.slide+xml"/>
  <Override PartName="/ppt/slides/slide2001.xml" ContentType="application/vnd.openxmlformats-officedocument.presentationml.slide+xml"/>
  <Override PartName="/ppt/slides/slide2002.xml" ContentType="application/vnd.openxmlformats-officedocument.presentationml.slide+xml"/>
  <Override PartName="/ppt/slides/slide2003.xml" ContentType="application/vnd.openxmlformats-officedocument.presentationml.slide+xml"/>
  <Override PartName="/ppt/slides/slide2004.xml" ContentType="application/vnd.openxmlformats-officedocument.presentationml.slide+xml"/>
  <Override PartName="/ppt/slides/slide2005.xml" ContentType="application/vnd.openxmlformats-officedocument.presentationml.slide+xml"/>
  <Override PartName="/ppt/slides/slide2006.xml" ContentType="application/vnd.openxmlformats-officedocument.presentationml.slide+xml"/>
  <Override PartName="/ppt/slides/slide2007.xml" ContentType="application/vnd.openxmlformats-officedocument.presentationml.slide+xml"/>
  <Override PartName="/ppt/slides/slide2008.xml" ContentType="application/vnd.openxmlformats-officedocument.presentationml.slide+xml"/>
  <Override PartName="/ppt/slides/slide2009.xml" ContentType="application/vnd.openxmlformats-officedocument.presentationml.slide+xml"/>
  <Override PartName="/ppt/slides/slide201.xml" ContentType="application/vnd.openxmlformats-officedocument.presentationml.slide+xml"/>
  <Override PartName="/ppt/slides/slide2010.xml" ContentType="application/vnd.openxmlformats-officedocument.presentationml.slide+xml"/>
  <Override PartName="/ppt/slides/slide2011.xml" ContentType="application/vnd.openxmlformats-officedocument.presentationml.slide+xml"/>
  <Override PartName="/ppt/slides/slide2012.xml" ContentType="application/vnd.openxmlformats-officedocument.presentationml.slide+xml"/>
  <Override PartName="/ppt/slides/slide2013.xml" ContentType="application/vnd.openxmlformats-officedocument.presentationml.slide+xml"/>
  <Override PartName="/ppt/slides/slide2014.xml" ContentType="application/vnd.openxmlformats-officedocument.presentationml.slide+xml"/>
  <Override PartName="/ppt/slides/slide2015.xml" ContentType="application/vnd.openxmlformats-officedocument.presentationml.slide+xml"/>
  <Override PartName="/ppt/slides/slide2016.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2021"/>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 id="2147475274" r:id="rId109"/>
    <p:sldId id="2147475275" r:id="rId110"/>
    <p:sldId id="2147475276" r:id="rId111"/>
    <p:sldId id="2147475277" r:id="rId112"/>
    <p:sldId id="2147475278" r:id="rId113"/>
    <p:sldId id="2147475279" r:id="rId114"/>
    <p:sldId id="2147475280" r:id="rId115"/>
    <p:sldId id="2147475281" r:id="rId116"/>
    <p:sldId id="2147475282" r:id="rId117"/>
    <p:sldId id="2147475283" r:id="rId118"/>
    <p:sldId id="2147475284" r:id="rId119"/>
    <p:sldId id="2147475285" r:id="rId120"/>
    <p:sldId id="2147475286" r:id="rId121"/>
    <p:sldId id="2147475287" r:id="rId122"/>
    <p:sldId id="2147475288" r:id="rId123"/>
    <p:sldId id="2147475289" r:id="rId124"/>
    <p:sldId id="2147475290" r:id="rId125"/>
    <p:sldId id="2147475291" r:id="rId126"/>
    <p:sldId id="2147475292" r:id="rId127"/>
    <p:sldId id="2147475293" r:id="rId128"/>
    <p:sldId id="2147475294" r:id="rId129"/>
    <p:sldId id="2147475295" r:id="rId130"/>
    <p:sldId id="2147475296" r:id="rId131"/>
    <p:sldId id="2147475297" r:id="rId132"/>
    <p:sldId id="2147475298" r:id="rId133"/>
    <p:sldId id="2147475299" r:id="rId134"/>
    <p:sldId id="2147475300" r:id="rId135"/>
    <p:sldId id="2147475301" r:id="rId136"/>
    <p:sldId id="2147475302" r:id="rId137"/>
    <p:sldId id="2147475303" r:id="rId138"/>
    <p:sldId id="2147475304" r:id="rId139"/>
    <p:sldId id="2147475305" r:id="rId140"/>
    <p:sldId id="2147475306" r:id="rId141"/>
    <p:sldId id="2147475307" r:id="rId142"/>
    <p:sldId id="2147475308" r:id="rId143"/>
    <p:sldId id="2147475309" r:id="rId144"/>
    <p:sldId id="2147475310" r:id="rId145"/>
    <p:sldId id="2147475311" r:id="rId146"/>
    <p:sldId id="2147475312" r:id="rId147"/>
    <p:sldId id="2147475313" r:id="rId148"/>
    <p:sldId id="2147475314" r:id="rId149"/>
    <p:sldId id="2147475315" r:id="rId150"/>
    <p:sldId id="2147475316" r:id="rId151"/>
    <p:sldId id="2147475317" r:id="rId152"/>
    <p:sldId id="2147475318" r:id="rId153"/>
    <p:sldId id="2147475319" r:id="rId154"/>
    <p:sldId id="2147475320" r:id="rId155"/>
    <p:sldId id="2147475321" r:id="rId156"/>
    <p:sldId id="2147475322" r:id="rId157"/>
    <p:sldId id="2147475323" r:id="rId158"/>
    <p:sldId id="2147475324" r:id="rId159"/>
    <p:sldId id="2147475325" r:id="rId160"/>
    <p:sldId id="2147475326" r:id="rId161"/>
    <p:sldId id="2147475327" r:id="rId162"/>
    <p:sldId id="2147475328" r:id="rId163"/>
    <p:sldId id="2147475329" r:id="rId164"/>
    <p:sldId id="2147475330" r:id="rId165"/>
    <p:sldId id="2147475331" r:id="rId166"/>
    <p:sldId id="2147475332" r:id="rId167"/>
    <p:sldId id="2147475333" r:id="rId168"/>
    <p:sldId id="2147475334" r:id="rId169"/>
    <p:sldId id="2147475335" r:id="rId170"/>
    <p:sldId id="2147475336" r:id="rId171"/>
    <p:sldId id="2147475337" r:id="rId172"/>
    <p:sldId id="2147475338" r:id="rId173"/>
    <p:sldId id="2147475339" r:id="rId174"/>
    <p:sldId id="2147475340" r:id="rId175"/>
    <p:sldId id="2147475341" r:id="rId176"/>
    <p:sldId id="2147475342" r:id="rId177"/>
    <p:sldId id="2147475343" r:id="rId178"/>
    <p:sldId id="2147475344" r:id="rId179"/>
    <p:sldId id="2147475345" r:id="rId180"/>
    <p:sldId id="2147475346" r:id="rId181"/>
    <p:sldId id="2147475347" r:id="rId182"/>
    <p:sldId id="2147475348" r:id="rId183"/>
    <p:sldId id="2147475349" r:id="rId184"/>
    <p:sldId id="2147475350" r:id="rId185"/>
    <p:sldId id="2147475351" r:id="rId186"/>
    <p:sldId id="2147475352" r:id="rId187"/>
    <p:sldId id="2147475353" r:id="rId188"/>
    <p:sldId id="2147475354" r:id="rId189"/>
    <p:sldId id="2147475355" r:id="rId190"/>
    <p:sldId id="2147475356" r:id="rId191"/>
    <p:sldId id="2147475357" r:id="rId192"/>
    <p:sldId id="2147475358" r:id="rId193"/>
    <p:sldId id="2147475359" r:id="rId194"/>
    <p:sldId id="2147475360" r:id="rId195"/>
    <p:sldId id="2147475361" r:id="rId196"/>
    <p:sldId id="2147475362" r:id="rId197"/>
    <p:sldId id="2147475363" r:id="rId198"/>
    <p:sldId id="2147475364" r:id="rId199"/>
    <p:sldId id="2147475365" r:id="rId200"/>
    <p:sldId id="2147475366" r:id="rId201"/>
    <p:sldId id="2147475367" r:id="rId202"/>
    <p:sldId id="2147475368" r:id="rId203"/>
    <p:sldId id="2147475369" r:id="rId204"/>
    <p:sldId id="2147475370" r:id="rId205"/>
    <p:sldId id="2147475371" r:id="rId206"/>
    <p:sldId id="2147475372" r:id="rId207"/>
    <p:sldId id="2147475373" r:id="rId208"/>
    <p:sldId id="2147475374" r:id="rId209"/>
    <p:sldId id="2147475375" r:id="rId210"/>
    <p:sldId id="2147475376" r:id="rId211"/>
    <p:sldId id="2147475377" r:id="rId212"/>
    <p:sldId id="2147475378" r:id="rId213"/>
    <p:sldId id="2147475379" r:id="rId214"/>
    <p:sldId id="2147475380" r:id="rId215"/>
    <p:sldId id="2147475381" r:id="rId216"/>
    <p:sldId id="2147475382" r:id="rId217"/>
    <p:sldId id="2147475383" r:id="rId218"/>
    <p:sldId id="2147475384" r:id="rId219"/>
    <p:sldId id="2147475385" r:id="rId220"/>
    <p:sldId id="2147475386" r:id="rId221"/>
    <p:sldId id="2147475387" r:id="rId222"/>
    <p:sldId id="2147475388" r:id="rId223"/>
    <p:sldId id="2147475389" r:id="rId224"/>
    <p:sldId id="2147475390" r:id="rId225"/>
    <p:sldId id="2147475391" r:id="rId226"/>
    <p:sldId id="2147475392" r:id="rId227"/>
    <p:sldId id="2147475393" r:id="rId228"/>
    <p:sldId id="2147475394" r:id="rId229"/>
    <p:sldId id="2147475395" r:id="rId230"/>
    <p:sldId id="2147475396" r:id="rId231"/>
    <p:sldId id="2147475397" r:id="rId232"/>
    <p:sldId id="2147475398" r:id="rId233"/>
    <p:sldId id="2147475399" r:id="rId234"/>
    <p:sldId id="2147475400" r:id="rId235"/>
    <p:sldId id="2147475401" r:id="rId236"/>
    <p:sldId id="2147475402" r:id="rId237"/>
    <p:sldId id="2147475403" r:id="rId238"/>
    <p:sldId id="2147475404" r:id="rId239"/>
    <p:sldId id="2147475405" r:id="rId240"/>
    <p:sldId id="2147475406" r:id="rId241"/>
    <p:sldId id="2147475407" r:id="rId242"/>
    <p:sldId id="2147475408" r:id="rId243"/>
    <p:sldId id="2147475409" r:id="rId244"/>
    <p:sldId id="2147475410" r:id="rId245"/>
    <p:sldId id="2147475411" r:id="rId246"/>
    <p:sldId id="2147475412" r:id="rId247"/>
    <p:sldId id="2147475413" r:id="rId248"/>
    <p:sldId id="2147475414" r:id="rId249"/>
    <p:sldId id="2147475415" r:id="rId250"/>
    <p:sldId id="2147475416" r:id="rId251"/>
    <p:sldId id="2147475417" r:id="rId252"/>
    <p:sldId id="2147475418" r:id="rId253"/>
    <p:sldId id="2147475419" r:id="rId254"/>
    <p:sldId id="2147475420" r:id="rId255"/>
    <p:sldId id="2147475421" r:id="rId256"/>
    <p:sldId id="2147475422" r:id="rId257"/>
    <p:sldId id="2147475423" r:id="rId258"/>
    <p:sldId id="2147475424" r:id="rId259"/>
    <p:sldId id="2147475425" r:id="rId260"/>
    <p:sldId id="2147475426" r:id="rId261"/>
    <p:sldId id="2147475427" r:id="rId262"/>
    <p:sldId id="2147475428" r:id="rId263"/>
    <p:sldId id="2147475429" r:id="rId264"/>
    <p:sldId id="2147475430" r:id="rId265"/>
    <p:sldId id="2147475431" r:id="rId266"/>
    <p:sldId id="2147475432" r:id="rId267"/>
    <p:sldId id="2147475433" r:id="rId268"/>
    <p:sldId id="2147475434" r:id="rId269"/>
    <p:sldId id="2147475435" r:id="rId270"/>
    <p:sldId id="2147475436" r:id="rId271"/>
    <p:sldId id="2147475437" r:id="rId272"/>
    <p:sldId id="2147475438" r:id="rId273"/>
    <p:sldId id="2147475439" r:id="rId274"/>
    <p:sldId id="2147475440" r:id="rId275"/>
    <p:sldId id="2147475441" r:id="rId276"/>
    <p:sldId id="2147475442" r:id="rId277"/>
    <p:sldId id="2147475443" r:id="rId278"/>
    <p:sldId id="2147475444" r:id="rId279"/>
    <p:sldId id="2147475445" r:id="rId280"/>
    <p:sldId id="2147475446" r:id="rId281"/>
    <p:sldId id="2147475447" r:id="rId282"/>
    <p:sldId id="2147475448" r:id="rId283"/>
    <p:sldId id="2147475449" r:id="rId284"/>
    <p:sldId id="2147475450" r:id="rId285"/>
    <p:sldId id="2147475451" r:id="rId286"/>
    <p:sldId id="2147475452" r:id="rId287"/>
    <p:sldId id="2147475453" r:id="rId288"/>
    <p:sldId id="2147475454" r:id="rId289"/>
    <p:sldId id="2147475455" r:id="rId290"/>
    <p:sldId id="2147475456" r:id="rId291"/>
    <p:sldId id="2147475457" r:id="rId292"/>
    <p:sldId id="2147475458" r:id="rId293"/>
    <p:sldId id="2147475459" r:id="rId294"/>
    <p:sldId id="2147475460" r:id="rId295"/>
    <p:sldId id="2147475461" r:id="rId296"/>
    <p:sldId id="2147475462" r:id="rId297"/>
    <p:sldId id="2147475463" r:id="rId298"/>
    <p:sldId id="2147475464" r:id="rId299"/>
    <p:sldId id="2147475465" r:id="rId300"/>
    <p:sldId id="2147475466" r:id="rId301"/>
    <p:sldId id="2147475467" r:id="rId302"/>
    <p:sldId id="2147475468" r:id="rId303"/>
    <p:sldId id="2147475469" r:id="rId304"/>
    <p:sldId id="2147475470" r:id="rId305"/>
    <p:sldId id="2147475471" r:id="rId306"/>
    <p:sldId id="2147475472" r:id="rId307"/>
    <p:sldId id="2147475473" r:id="rId308"/>
    <p:sldId id="2147475474" r:id="rId309"/>
    <p:sldId id="2147475475" r:id="rId310"/>
    <p:sldId id="2147475476" r:id="rId311"/>
    <p:sldId id="2147475477" r:id="rId312"/>
    <p:sldId id="2147475478" r:id="rId313"/>
    <p:sldId id="2147475479" r:id="rId314"/>
    <p:sldId id="2147475480" r:id="rId315"/>
    <p:sldId id="2147475481" r:id="rId316"/>
    <p:sldId id="2147475482" r:id="rId317"/>
    <p:sldId id="2147475483" r:id="rId318"/>
    <p:sldId id="2147475484" r:id="rId319"/>
    <p:sldId id="2147475485" r:id="rId320"/>
    <p:sldId id="2147475486" r:id="rId321"/>
    <p:sldId id="2147475487" r:id="rId322"/>
    <p:sldId id="2147475488" r:id="rId323"/>
    <p:sldId id="2147475489" r:id="rId324"/>
    <p:sldId id="2147475490" r:id="rId325"/>
    <p:sldId id="2147475491" r:id="rId326"/>
    <p:sldId id="2147475492" r:id="rId327"/>
    <p:sldId id="2147475493" r:id="rId328"/>
    <p:sldId id="2147475494" r:id="rId329"/>
    <p:sldId id="2147475495" r:id="rId330"/>
    <p:sldId id="2147475496" r:id="rId331"/>
    <p:sldId id="2147475497" r:id="rId332"/>
    <p:sldId id="2147475498" r:id="rId333"/>
    <p:sldId id="2147475499" r:id="rId334"/>
    <p:sldId id="2147475500" r:id="rId335"/>
    <p:sldId id="2147475501" r:id="rId336"/>
    <p:sldId id="2147475502" r:id="rId337"/>
    <p:sldId id="2147475503" r:id="rId338"/>
    <p:sldId id="2147475504" r:id="rId339"/>
    <p:sldId id="2147475505" r:id="rId340"/>
    <p:sldId id="2147475506" r:id="rId341"/>
    <p:sldId id="2147475507" r:id="rId342"/>
    <p:sldId id="2147475508" r:id="rId343"/>
    <p:sldId id="2147475509" r:id="rId344"/>
    <p:sldId id="2147475510" r:id="rId345"/>
    <p:sldId id="2147475511" r:id="rId346"/>
    <p:sldId id="2147475512" r:id="rId347"/>
    <p:sldId id="2147475513" r:id="rId348"/>
    <p:sldId id="2147475514" r:id="rId349"/>
    <p:sldId id="2147475515" r:id="rId350"/>
    <p:sldId id="2147475516" r:id="rId351"/>
    <p:sldId id="2147475517" r:id="rId352"/>
    <p:sldId id="2147475518" r:id="rId353"/>
    <p:sldId id="2147475519" r:id="rId354"/>
    <p:sldId id="2147475520" r:id="rId355"/>
    <p:sldId id="2147475521" r:id="rId356"/>
    <p:sldId id="2147475522" r:id="rId357"/>
    <p:sldId id="2147475523" r:id="rId358"/>
    <p:sldId id="2147475524" r:id="rId359"/>
    <p:sldId id="2147475525" r:id="rId360"/>
    <p:sldId id="2147475526" r:id="rId361"/>
    <p:sldId id="2147475527" r:id="rId362"/>
    <p:sldId id="2147475528" r:id="rId363"/>
    <p:sldId id="2147475529" r:id="rId364"/>
    <p:sldId id="2147475530" r:id="rId365"/>
    <p:sldId id="2147475531" r:id="rId366"/>
    <p:sldId id="2147475532" r:id="rId367"/>
    <p:sldId id="2147475533" r:id="rId368"/>
    <p:sldId id="2147475534" r:id="rId369"/>
    <p:sldId id="2147475535" r:id="rId370"/>
    <p:sldId id="2147475536" r:id="rId371"/>
    <p:sldId id="2147475537" r:id="rId372"/>
    <p:sldId id="2147475538" r:id="rId373"/>
    <p:sldId id="2147475539" r:id="rId374"/>
    <p:sldId id="2147475540" r:id="rId375"/>
    <p:sldId id="2147475541" r:id="rId376"/>
    <p:sldId id="2147475542" r:id="rId377"/>
    <p:sldId id="2147475543" r:id="rId378"/>
    <p:sldId id="2147475544" r:id="rId379"/>
    <p:sldId id="2147475545" r:id="rId380"/>
    <p:sldId id="2147475546" r:id="rId381"/>
    <p:sldId id="2147475547" r:id="rId382"/>
    <p:sldId id="2147475548" r:id="rId383"/>
    <p:sldId id="2147475549" r:id="rId384"/>
    <p:sldId id="2147475550" r:id="rId385"/>
    <p:sldId id="2147475551" r:id="rId386"/>
    <p:sldId id="2147475552" r:id="rId387"/>
    <p:sldId id="2147475553" r:id="rId388"/>
    <p:sldId id="2147475554" r:id="rId389"/>
    <p:sldId id="2147475555" r:id="rId390"/>
    <p:sldId id="2147475556" r:id="rId391"/>
    <p:sldId id="2147475557" r:id="rId392"/>
    <p:sldId id="2147475558" r:id="rId393"/>
    <p:sldId id="2147475559" r:id="rId394"/>
    <p:sldId id="2147475560" r:id="rId395"/>
    <p:sldId id="2147475561" r:id="rId396"/>
    <p:sldId id="2147475562" r:id="rId397"/>
    <p:sldId id="2147475563" r:id="rId398"/>
    <p:sldId id="2147475564" r:id="rId399"/>
    <p:sldId id="2147475565" r:id="rId400"/>
    <p:sldId id="2147475566" r:id="rId401"/>
    <p:sldId id="2147475567" r:id="rId402"/>
    <p:sldId id="2147475568" r:id="rId403"/>
    <p:sldId id="2147475569" r:id="rId404"/>
    <p:sldId id="2147475570" r:id="rId405"/>
    <p:sldId id="2147475571" r:id="rId406"/>
    <p:sldId id="2147475572" r:id="rId407"/>
    <p:sldId id="2147475573" r:id="rId408"/>
    <p:sldId id="2147475574" r:id="rId409"/>
    <p:sldId id="2147475575" r:id="rId410"/>
    <p:sldId id="2147475576" r:id="rId411"/>
    <p:sldId id="2147475577" r:id="rId412"/>
    <p:sldId id="2147475578" r:id="rId413"/>
    <p:sldId id="2147475579" r:id="rId414"/>
    <p:sldId id="2147475580" r:id="rId415"/>
    <p:sldId id="2147475581" r:id="rId416"/>
    <p:sldId id="2147475582" r:id="rId417"/>
    <p:sldId id="2147475583" r:id="rId418"/>
    <p:sldId id="2147475584" r:id="rId419"/>
    <p:sldId id="2147475585" r:id="rId420"/>
    <p:sldId id="2147475586" r:id="rId421"/>
    <p:sldId id="2147475587" r:id="rId422"/>
    <p:sldId id="2147475588" r:id="rId423"/>
    <p:sldId id="2147475589" r:id="rId424"/>
    <p:sldId id="2147475590" r:id="rId425"/>
    <p:sldId id="2147475591" r:id="rId426"/>
    <p:sldId id="2147475592" r:id="rId427"/>
    <p:sldId id="2147475593" r:id="rId428"/>
    <p:sldId id="2147475594" r:id="rId429"/>
    <p:sldId id="2147475595" r:id="rId430"/>
    <p:sldId id="2147475596" r:id="rId431"/>
    <p:sldId id="2147475597" r:id="rId432"/>
    <p:sldId id="2147475598" r:id="rId433"/>
    <p:sldId id="2147475599" r:id="rId434"/>
    <p:sldId id="2147475600" r:id="rId435"/>
    <p:sldId id="2147475601" r:id="rId436"/>
    <p:sldId id="2147475602" r:id="rId437"/>
    <p:sldId id="2147475603" r:id="rId438"/>
    <p:sldId id="2147475604" r:id="rId439"/>
    <p:sldId id="2147475605" r:id="rId440"/>
    <p:sldId id="2147475606" r:id="rId441"/>
    <p:sldId id="2147475607" r:id="rId442"/>
    <p:sldId id="2147475608" r:id="rId443"/>
    <p:sldId id="2147475609" r:id="rId444"/>
    <p:sldId id="2147475610" r:id="rId445"/>
    <p:sldId id="2147475611" r:id="rId446"/>
    <p:sldId id="2147475612" r:id="rId447"/>
    <p:sldId id="2147475613" r:id="rId448"/>
    <p:sldId id="2147475614" r:id="rId449"/>
    <p:sldId id="2147475615" r:id="rId450"/>
    <p:sldId id="2147475616" r:id="rId451"/>
    <p:sldId id="2147475617" r:id="rId452"/>
    <p:sldId id="2147475618" r:id="rId453"/>
    <p:sldId id="2147475619" r:id="rId454"/>
    <p:sldId id="2147475620" r:id="rId455"/>
    <p:sldId id="2147475621" r:id="rId456"/>
    <p:sldId id="2147475622" r:id="rId457"/>
    <p:sldId id="2147475623" r:id="rId458"/>
    <p:sldId id="2147475624" r:id="rId459"/>
    <p:sldId id="2147475625" r:id="rId460"/>
    <p:sldId id="2147475626" r:id="rId461"/>
    <p:sldId id="2147475627" r:id="rId462"/>
    <p:sldId id="2147475628" r:id="rId463"/>
    <p:sldId id="2147475629" r:id="rId464"/>
    <p:sldId id="2147475630" r:id="rId465"/>
    <p:sldId id="2147475631" r:id="rId466"/>
    <p:sldId id="2147475632" r:id="rId467"/>
    <p:sldId id="2147475633" r:id="rId468"/>
    <p:sldId id="2147475634" r:id="rId469"/>
    <p:sldId id="2147475635" r:id="rId470"/>
    <p:sldId id="2147475636" r:id="rId471"/>
    <p:sldId id="2147475637" r:id="rId472"/>
    <p:sldId id="2147475638" r:id="rId473"/>
    <p:sldId id="2147475639" r:id="rId474"/>
    <p:sldId id="2147475640" r:id="rId475"/>
    <p:sldId id="2147475641" r:id="rId476"/>
    <p:sldId id="2147475642" r:id="rId477"/>
    <p:sldId id="2147475643" r:id="rId478"/>
    <p:sldId id="2147475644" r:id="rId479"/>
    <p:sldId id="2147475645" r:id="rId480"/>
    <p:sldId id="2147475646" r:id="rId481"/>
    <p:sldId id="2147475647" r:id="rId482"/>
    <p:sldId id="2147475648" r:id="rId483"/>
    <p:sldId id="2147475649" r:id="rId484"/>
    <p:sldId id="2147475650" r:id="rId485"/>
    <p:sldId id="2147475651" r:id="rId486"/>
    <p:sldId id="2147475652" r:id="rId487"/>
    <p:sldId id="2147475653" r:id="rId488"/>
    <p:sldId id="2147475654" r:id="rId489"/>
    <p:sldId id="2147475655" r:id="rId490"/>
    <p:sldId id="2147475656" r:id="rId491"/>
    <p:sldId id="2147475657" r:id="rId492"/>
    <p:sldId id="2147475658" r:id="rId493"/>
    <p:sldId id="2147475659" r:id="rId494"/>
    <p:sldId id="2147475660" r:id="rId495"/>
    <p:sldId id="2147475661" r:id="rId496"/>
    <p:sldId id="2147475662" r:id="rId497"/>
    <p:sldId id="2147475663" r:id="rId498"/>
    <p:sldId id="2147475664" r:id="rId499"/>
    <p:sldId id="2147475665" r:id="rId500"/>
    <p:sldId id="2147475666" r:id="rId501"/>
    <p:sldId id="2147475667" r:id="rId502"/>
    <p:sldId id="2147475668" r:id="rId503"/>
    <p:sldId id="2147475669" r:id="rId504"/>
    <p:sldId id="2147475670" r:id="rId505"/>
    <p:sldId id="2147475671" r:id="rId506"/>
    <p:sldId id="2147475672" r:id="rId507"/>
    <p:sldId id="2147475673" r:id="rId508"/>
    <p:sldId id="2147475674" r:id="rId509"/>
    <p:sldId id="2147475675" r:id="rId510"/>
    <p:sldId id="2147475676" r:id="rId511"/>
    <p:sldId id="2147475677" r:id="rId512"/>
    <p:sldId id="2147475678" r:id="rId513"/>
    <p:sldId id="2147475679" r:id="rId514"/>
    <p:sldId id="2147475680" r:id="rId515"/>
    <p:sldId id="2147475681" r:id="rId516"/>
    <p:sldId id="2147475682" r:id="rId517"/>
    <p:sldId id="2147475683" r:id="rId518"/>
    <p:sldId id="2147475684" r:id="rId519"/>
    <p:sldId id="2147475685" r:id="rId520"/>
    <p:sldId id="2147475686" r:id="rId521"/>
    <p:sldId id="2147475687" r:id="rId522"/>
    <p:sldId id="2147475688" r:id="rId523"/>
    <p:sldId id="2147475689" r:id="rId524"/>
    <p:sldId id="2147475690" r:id="rId525"/>
    <p:sldId id="2147475691" r:id="rId526"/>
    <p:sldId id="2147475692" r:id="rId527"/>
    <p:sldId id="2147475693" r:id="rId528"/>
    <p:sldId id="2147475694" r:id="rId529"/>
    <p:sldId id="2147475695" r:id="rId530"/>
    <p:sldId id="2147475696" r:id="rId531"/>
    <p:sldId id="2147475697" r:id="rId532"/>
    <p:sldId id="2147475698" r:id="rId533"/>
    <p:sldId id="2147475699" r:id="rId534"/>
    <p:sldId id="2147475700" r:id="rId535"/>
    <p:sldId id="2147475701" r:id="rId536"/>
    <p:sldId id="2147475702" r:id="rId537"/>
    <p:sldId id="2147475703" r:id="rId538"/>
    <p:sldId id="2147475704" r:id="rId539"/>
    <p:sldId id="2147475705" r:id="rId540"/>
    <p:sldId id="2147475706" r:id="rId541"/>
    <p:sldId id="2147475707" r:id="rId542"/>
    <p:sldId id="2147475708" r:id="rId543"/>
    <p:sldId id="2147475709" r:id="rId544"/>
    <p:sldId id="2147475710" r:id="rId545"/>
    <p:sldId id="2147475711" r:id="rId546"/>
    <p:sldId id="2147475712" r:id="rId547"/>
    <p:sldId id="2147475713" r:id="rId548"/>
    <p:sldId id="2147475714" r:id="rId549"/>
    <p:sldId id="2147475715" r:id="rId550"/>
    <p:sldId id="2147475716" r:id="rId551"/>
    <p:sldId id="2147475717" r:id="rId552"/>
    <p:sldId id="2147475718" r:id="rId553"/>
    <p:sldId id="2147475719" r:id="rId554"/>
    <p:sldId id="2147475720" r:id="rId555"/>
    <p:sldId id="2147475721" r:id="rId556"/>
    <p:sldId id="2147475722" r:id="rId557"/>
    <p:sldId id="2147475723" r:id="rId558"/>
    <p:sldId id="2147475724" r:id="rId559"/>
    <p:sldId id="2147475725" r:id="rId560"/>
    <p:sldId id="2147475726" r:id="rId561"/>
    <p:sldId id="2147475727" r:id="rId562"/>
    <p:sldId id="2147475728" r:id="rId563"/>
    <p:sldId id="2147475729" r:id="rId564"/>
    <p:sldId id="2147475730" r:id="rId565"/>
    <p:sldId id="2147475731" r:id="rId566"/>
    <p:sldId id="2147475732" r:id="rId567"/>
    <p:sldId id="2147475733" r:id="rId568"/>
    <p:sldId id="2147475734" r:id="rId569"/>
    <p:sldId id="2147475735" r:id="rId570"/>
    <p:sldId id="2147475736" r:id="rId571"/>
    <p:sldId id="2147475737" r:id="rId572"/>
    <p:sldId id="2147475738" r:id="rId573"/>
    <p:sldId id="2147475739" r:id="rId574"/>
    <p:sldId id="2147475740" r:id="rId575"/>
    <p:sldId id="2147475741" r:id="rId576"/>
    <p:sldId id="2147475742" r:id="rId577"/>
    <p:sldId id="2147475743" r:id="rId578"/>
    <p:sldId id="2147475744" r:id="rId579"/>
    <p:sldId id="2147475745" r:id="rId580"/>
    <p:sldId id="2147475746" r:id="rId581"/>
    <p:sldId id="2147475747" r:id="rId582"/>
    <p:sldId id="2147475748" r:id="rId583"/>
    <p:sldId id="2147475749" r:id="rId584"/>
    <p:sldId id="2147475750" r:id="rId585"/>
    <p:sldId id="2147475751" r:id="rId586"/>
    <p:sldId id="2147475752" r:id="rId587"/>
    <p:sldId id="2147475753" r:id="rId588"/>
    <p:sldId id="2147475754" r:id="rId589"/>
    <p:sldId id="2147475755" r:id="rId590"/>
    <p:sldId id="2147475756" r:id="rId591"/>
    <p:sldId id="2147475757" r:id="rId592"/>
    <p:sldId id="2147475758" r:id="rId593"/>
    <p:sldId id="2147475759" r:id="rId594"/>
    <p:sldId id="2147475760" r:id="rId595"/>
    <p:sldId id="2147475761" r:id="rId596"/>
    <p:sldId id="2147475762" r:id="rId597"/>
    <p:sldId id="2147475763" r:id="rId598"/>
    <p:sldId id="2147475764" r:id="rId599"/>
    <p:sldId id="2147475765" r:id="rId600"/>
    <p:sldId id="2147475766" r:id="rId601"/>
    <p:sldId id="2147475767" r:id="rId602"/>
    <p:sldId id="2147475768" r:id="rId603"/>
    <p:sldId id="2147475769" r:id="rId604"/>
    <p:sldId id="2147475770" r:id="rId605"/>
    <p:sldId id="2147475771" r:id="rId606"/>
    <p:sldId id="2147475772" r:id="rId607"/>
    <p:sldId id="2147475773" r:id="rId608"/>
    <p:sldId id="2147475774" r:id="rId609"/>
    <p:sldId id="2147475775" r:id="rId610"/>
    <p:sldId id="2147475776" r:id="rId611"/>
    <p:sldId id="2147475777" r:id="rId612"/>
    <p:sldId id="2147475778" r:id="rId613"/>
    <p:sldId id="2147475779" r:id="rId614"/>
    <p:sldId id="2147475780" r:id="rId615"/>
    <p:sldId id="2147475781" r:id="rId616"/>
    <p:sldId id="2147475782" r:id="rId617"/>
    <p:sldId id="2147475783" r:id="rId618"/>
    <p:sldId id="2147475784" r:id="rId619"/>
    <p:sldId id="2147475785" r:id="rId620"/>
    <p:sldId id="2147475786" r:id="rId621"/>
    <p:sldId id="2147475787" r:id="rId622"/>
    <p:sldId id="2147475788" r:id="rId623"/>
    <p:sldId id="2147475789" r:id="rId624"/>
    <p:sldId id="2147475790" r:id="rId625"/>
    <p:sldId id="2147475791" r:id="rId626"/>
    <p:sldId id="2147475792" r:id="rId627"/>
    <p:sldId id="2147475793" r:id="rId628"/>
    <p:sldId id="2147475794" r:id="rId629"/>
    <p:sldId id="2147475795" r:id="rId630"/>
    <p:sldId id="2147475796" r:id="rId631"/>
    <p:sldId id="2147475797" r:id="rId632"/>
    <p:sldId id="2147475798" r:id="rId633"/>
    <p:sldId id="2147475799" r:id="rId634"/>
    <p:sldId id="2147475800" r:id="rId635"/>
    <p:sldId id="2147475801" r:id="rId636"/>
    <p:sldId id="2147475802" r:id="rId637"/>
    <p:sldId id="2147475803" r:id="rId638"/>
    <p:sldId id="2147475804" r:id="rId639"/>
    <p:sldId id="2147475805" r:id="rId640"/>
    <p:sldId id="2147475806" r:id="rId641"/>
    <p:sldId id="2147475807" r:id="rId642"/>
    <p:sldId id="2147475808" r:id="rId643"/>
    <p:sldId id="2147475809" r:id="rId644"/>
    <p:sldId id="2147475810" r:id="rId645"/>
    <p:sldId id="2147475811" r:id="rId646"/>
    <p:sldId id="2147475812" r:id="rId647"/>
    <p:sldId id="2147475813" r:id="rId648"/>
    <p:sldId id="2147475814" r:id="rId649"/>
    <p:sldId id="2147475815" r:id="rId650"/>
    <p:sldId id="2147475816" r:id="rId651"/>
    <p:sldId id="2147475817" r:id="rId652"/>
    <p:sldId id="2147475818" r:id="rId653"/>
    <p:sldId id="2147475819" r:id="rId654"/>
    <p:sldId id="2147475820" r:id="rId655"/>
    <p:sldId id="2147475821" r:id="rId656"/>
    <p:sldId id="2147475822" r:id="rId657"/>
    <p:sldId id="2147475823" r:id="rId658"/>
    <p:sldId id="2147475824" r:id="rId659"/>
    <p:sldId id="2147475825" r:id="rId660"/>
    <p:sldId id="2147475826" r:id="rId661"/>
    <p:sldId id="2147475827" r:id="rId662"/>
    <p:sldId id="2147475828" r:id="rId663"/>
    <p:sldId id="2147475829" r:id="rId664"/>
    <p:sldId id="2147475830" r:id="rId665"/>
    <p:sldId id="2147475831" r:id="rId666"/>
    <p:sldId id="2147475832" r:id="rId667"/>
    <p:sldId id="2147475833" r:id="rId668"/>
    <p:sldId id="2147475834" r:id="rId669"/>
    <p:sldId id="2147475835" r:id="rId670"/>
    <p:sldId id="2147475836" r:id="rId671"/>
    <p:sldId id="2147475837" r:id="rId672"/>
    <p:sldId id="2147475838" r:id="rId673"/>
    <p:sldId id="2147475839" r:id="rId674"/>
    <p:sldId id="2147475840" r:id="rId675"/>
    <p:sldId id="2147475841" r:id="rId676"/>
    <p:sldId id="2147475842" r:id="rId677"/>
    <p:sldId id="2147475843" r:id="rId678"/>
    <p:sldId id="2147475844" r:id="rId679"/>
    <p:sldId id="2147475845" r:id="rId680"/>
    <p:sldId id="2147475846" r:id="rId681"/>
    <p:sldId id="2147475847" r:id="rId682"/>
    <p:sldId id="2147475848" r:id="rId683"/>
    <p:sldId id="2147475849" r:id="rId684"/>
    <p:sldId id="2147475850" r:id="rId685"/>
    <p:sldId id="2147475851" r:id="rId686"/>
    <p:sldId id="2147475852" r:id="rId687"/>
    <p:sldId id="2147475853" r:id="rId688"/>
    <p:sldId id="2147475854" r:id="rId689"/>
    <p:sldId id="2147475855" r:id="rId690"/>
    <p:sldId id="2147475856" r:id="rId691"/>
    <p:sldId id="2147475857" r:id="rId692"/>
    <p:sldId id="2147475858" r:id="rId693"/>
    <p:sldId id="2147475859" r:id="rId694"/>
    <p:sldId id="2147475860" r:id="rId695"/>
    <p:sldId id="2147475861" r:id="rId696"/>
    <p:sldId id="2147475862" r:id="rId697"/>
    <p:sldId id="2147475863" r:id="rId698"/>
    <p:sldId id="2147475864" r:id="rId699"/>
    <p:sldId id="2147475865" r:id="rId700"/>
    <p:sldId id="2147475866" r:id="rId701"/>
    <p:sldId id="2147475867" r:id="rId702"/>
    <p:sldId id="2147475868" r:id="rId703"/>
    <p:sldId id="2147475869" r:id="rId704"/>
    <p:sldId id="2147475870" r:id="rId705"/>
    <p:sldId id="2147475871" r:id="rId706"/>
    <p:sldId id="2147475872" r:id="rId707"/>
    <p:sldId id="2147475873" r:id="rId708"/>
    <p:sldId id="2147475874" r:id="rId709"/>
    <p:sldId id="2147475875" r:id="rId710"/>
    <p:sldId id="2147475876" r:id="rId711"/>
    <p:sldId id="2147475877" r:id="rId712"/>
    <p:sldId id="2147475878" r:id="rId713"/>
    <p:sldId id="2147475879" r:id="rId714"/>
    <p:sldId id="2147475880" r:id="rId715"/>
    <p:sldId id="2147475881" r:id="rId716"/>
    <p:sldId id="2147475882" r:id="rId717"/>
    <p:sldId id="2147475883" r:id="rId718"/>
    <p:sldId id="2147475884" r:id="rId719"/>
    <p:sldId id="2147475885" r:id="rId720"/>
    <p:sldId id="2147475886" r:id="rId721"/>
    <p:sldId id="2147475887" r:id="rId722"/>
    <p:sldId id="2147475888" r:id="rId723"/>
    <p:sldId id="2147475889" r:id="rId724"/>
    <p:sldId id="2147475890" r:id="rId725"/>
    <p:sldId id="2147475891" r:id="rId726"/>
    <p:sldId id="2147475892" r:id="rId727"/>
    <p:sldId id="2147475893" r:id="rId728"/>
    <p:sldId id="2147475894" r:id="rId729"/>
    <p:sldId id="2147475895" r:id="rId730"/>
    <p:sldId id="2147475896" r:id="rId731"/>
    <p:sldId id="2147475897" r:id="rId732"/>
    <p:sldId id="2147475898" r:id="rId733"/>
    <p:sldId id="2147475899" r:id="rId734"/>
    <p:sldId id="2147475900" r:id="rId735"/>
    <p:sldId id="2147475901" r:id="rId736"/>
    <p:sldId id="2147475902" r:id="rId737"/>
    <p:sldId id="2147475903" r:id="rId738"/>
    <p:sldId id="2147475904" r:id="rId739"/>
    <p:sldId id="2147475905" r:id="rId740"/>
    <p:sldId id="2147475906" r:id="rId741"/>
    <p:sldId id="2147475907" r:id="rId742"/>
    <p:sldId id="2147475908" r:id="rId743"/>
    <p:sldId id="2147475909" r:id="rId744"/>
    <p:sldId id="2147475910" r:id="rId745"/>
    <p:sldId id="2147475911" r:id="rId746"/>
    <p:sldId id="2147475912" r:id="rId747"/>
    <p:sldId id="2147475913" r:id="rId748"/>
    <p:sldId id="2147475914" r:id="rId749"/>
    <p:sldId id="2147475915" r:id="rId750"/>
    <p:sldId id="2147475916" r:id="rId751"/>
    <p:sldId id="2147475917" r:id="rId752"/>
    <p:sldId id="2147475918" r:id="rId753"/>
    <p:sldId id="2147475919" r:id="rId754"/>
    <p:sldId id="2147475920" r:id="rId755"/>
    <p:sldId id="2147475921" r:id="rId756"/>
    <p:sldId id="2147475922" r:id="rId757"/>
    <p:sldId id="2147475923" r:id="rId758"/>
    <p:sldId id="2147475924" r:id="rId759"/>
    <p:sldId id="2147475925" r:id="rId760"/>
    <p:sldId id="2147475926" r:id="rId761"/>
    <p:sldId id="2147475927" r:id="rId762"/>
    <p:sldId id="2147475928" r:id="rId763"/>
    <p:sldId id="2147475929" r:id="rId764"/>
    <p:sldId id="2147475930" r:id="rId765"/>
    <p:sldId id="2147475931" r:id="rId766"/>
    <p:sldId id="2147475932" r:id="rId767"/>
    <p:sldId id="2147475933" r:id="rId768"/>
    <p:sldId id="2147475934" r:id="rId769"/>
    <p:sldId id="2147475935" r:id="rId770"/>
    <p:sldId id="2147475936" r:id="rId771"/>
    <p:sldId id="2147475937" r:id="rId772"/>
    <p:sldId id="2147475938" r:id="rId773"/>
    <p:sldId id="2147475939" r:id="rId774"/>
    <p:sldId id="2147475940" r:id="rId775"/>
    <p:sldId id="2147475941" r:id="rId776"/>
    <p:sldId id="2147475942" r:id="rId777"/>
    <p:sldId id="2147475943" r:id="rId778"/>
    <p:sldId id="2147475944" r:id="rId779"/>
    <p:sldId id="2147475945" r:id="rId780"/>
    <p:sldId id="2147475946" r:id="rId781"/>
    <p:sldId id="2147475947" r:id="rId782"/>
    <p:sldId id="2147475948" r:id="rId783"/>
    <p:sldId id="2147475949" r:id="rId784"/>
    <p:sldId id="2147475950" r:id="rId785"/>
    <p:sldId id="2147475951" r:id="rId786"/>
    <p:sldId id="2147475952" r:id="rId787"/>
    <p:sldId id="2147475953" r:id="rId788"/>
    <p:sldId id="2147475954" r:id="rId789"/>
    <p:sldId id="2147475955" r:id="rId790"/>
    <p:sldId id="2147475956" r:id="rId791"/>
    <p:sldId id="2147475957" r:id="rId792"/>
    <p:sldId id="2147475958" r:id="rId793"/>
    <p:sldId id="2147475959" r:id="rId794"/>
    <p:sldId id="2147475960" r:id="rId795"/>
    <p:sldId id="2147475961" r:id="rId796"/>
    <p:sldId id="2147475962" r:id="rId797"/>
    <p:sldId id="2147475963" r:id="rId798"/>
    <p:sldId id="2147475964" r:id="rId799"/>
    <p:sldId id="2147475965" r:id="rId800"/>
    <p:sldId id="2147475966" r:id="rId801"/>
    <p:sldId id="2147475967" r:id="rId802"/>
    <p:sldId id="2147475968" r:id="rId803"/>
    <p:sldId id="2147475969" r:id="rId804"/>
    <p:sldId id="2147475970" r:id="rId805"/>
    <p:sldId id="2147475971" r:id="rId806"/>
    <p:sldId id="2147475972" r:id="rId807"/>
    <p:sldId id="2147475973" r:id="rId808"/>
    <p:sldId id="2147475974" r:id="rId809"/>
    <p:sldId id="2147475975" r:id="rId810"/>
    <p:sldId id="2147475976" r:id="rId811"/>
    <p:sldId id="2147475977" r:id="rId812"/>
    <p:sldId id="2147475978" r:id="rId813"/>
    <p:sldId id="2147475979" r:id="rId814"/>
    <p:sldId id="2147475980" r:id="rId815"/>
    <p:sldId id="2147475981" r:id="rId816"/>
    <p:sldId id="2147475982" r:id="rId817"/>
    <p:sldId id="2147475983" r:id="rId818"/>
    <p:sldId id="2147475984" r:id="rId819"/>
    <p:sldId id="2147475985" r:id="rId820"/>
    <p:sldId id="2147475986" r:id="rId821"/>
    <p:sldId id="2147475987" r:id="rId822"/>
    <p:sldId id="2147475988" r:id="rId823"/>
    <p:sldId id="2147475989" r:id="rId824"/>
    <p:sldId id="2147475990" r:id="rId825"/>
    <p:sldId id="2147475991" r:id="rId826"/>
    <p:sldId id="2147475992" r:id="rId827"/>
    <p:sldId id="2147475993" r:id="rId828"/>
    <p:sldId id="2147475994" r:id="rId829"/>
    <p:sldId id="2147475995" r:id="rId830"/>
    <p:sldId id="2147475996" r:id="rId831"/>
    <p:sldId id="2147475997" r:id="rId832"/>
    <p:sldId id="2147475998" r:id="rId833"/>
    <p:sldId id="2147475999" r:id="rId834"/>
    <p:sldId id="2147476000" r:id="rId835"/>
    <p:sldId id="2147476001" r:id="rId836"/>
    <p:sldId id="2147476002" r:id="rId837"/>
    <p:sldId id="2147476003" r:id="rId838"/>
    <p:sldId id="2147476004" r:id="rId839"/>
    <p:sldId id="2147476005" r:id="rId840"/>
    <p:sldId id="2147476006" r:id="rId841"/>
    <p:sldId id="2147476007" r:id="rId842"/>
    <p:sldId id="2147476008" r:id="rId843"/>
    <p:sldId id="2147476009" r:id="rId844"/>
    <p:sldId id="2147476010" r:id="rId845"/>
    <p:sldId id="2147476011" r:id="rId846"/>
    <p:sldId id="2147476012" r:id="rId847"/>
    <p:sldId id="2147476013" r:id="rId848"/>
    <p:sldId id="2147476014" r:id="rId849"/>
    <p:sldId id="2147476015" r:id="rId850"/>
    <p:sldId id="2147476016" r:id="rId851"/>
    <p:sldId id="2147476017" r:id="rId852"/>
    <p:sldId id="2147476018" r:id="rId853"/>
    <p:sldId id="2147476019" r:id="rId854"/>
    <p:sldId id="2147476020" r:id="rId855"/>
    <p:sldId id="2147476021" r:id="rId856"/>
    <p:sldId id="2147476022" r:id="rId857"/>
    <p:sldId id="2147476023" r:id="rId858"/>
    <p:sldId id="2147476024" r:id="rId859"/>
    <p:sldId id="2147476025" r:id="rId860"/>
    <p:sldId id="2147476026" r:id="rId861"/>
    <p:sldId id="2147476027" r:id="rId862"/>
    <p:sldId id="2147476028" r:id="rId863"/>
    <p:sldId id="2147476029" r:id="rId864"/>
    <p:sldId id="2147476030" r:id="rId865"/>
    <p:sldId id="2147476031" r:id="rId866"/>
    <p:sldId id="2147476032" r:id="rId867"/>
    <p:sldId id="2147476033" r:id="rId868"/>
    <p:sldId id="2147476034" r:id="rId869"/>
    <p:sldId id="2147476035" r:id="rId870"/>
    <p:sldId id="2147476036" r:id="rId871"/>
    <p:sldId id="2147476037" r:id="rId872"/>
    <p:sldId id="2147476038" r:id="rId873"/>
    <p:sldId id="2147476039" r:id="rId874"/>
    <p:sldId id="2147476040" r:id="rId875"/>
    <p:sldId id="2147476041" r:id="rId876"/>
    <p:sldId id="2147476042" r:id="rId877"/>
    <p:sldId id="2147476043" r:id="rId878"/>
    <p:sldId id="2147476044" r:id="rId879"/>
    <p:sldId id="2147476045" r:id="rId880"/>
    <p:sldId id="2147476046" r:id="rId881"/>
    <p:sldId id="2147476047" r:id="rId882"/>
    <p:sldId id="2147476048" r:id="rId883"/>
    <p:sldId id="2147476049" r:id="rId884"/>
    <p:sldId id="2147476050" r:id="rId885"/>
    <p:sldId id="2147476051" r:id="rId886"/>
    <p:sldId id="2147476052" r:id="rId887"/>
    <p:sldId id="2147476053" r:id="rId888"/>
    <p:sldId id="2147476054" r:id="rId889"/>
    <p:sldId id="2147476055" r:id="rId890"/>
    <p:sldId id="2147476056" r:id="rId891"/>
    <p:sldId id="2147476057" r:id="rId892"/>
    <p:sldId id="2147476058" r:id="rId893"/>
    <p:sldId id="2147476059" r:id="rId894"/>
    <p:sldId id="2147476060" r:id="rId895"/>
    <p:sldId id="2147476061" r:id="rId896"/>
    <p:sldId id="2147476062" r:id="rId897"/>
    <p:sldId id="2147476063" r:id="rId898"/>
    <p:sldId id="2147476064" r:id="rId899"/>
    <p:sldId id="2147476065" r:id="rId900"/>
    <p:sldId id="2147476066" r:id="rId901"/>
    <p:sldId id="2147476067" r:id="rId902"/>
    <p:sldId id="2147476068" r:id="rId903"/>
    <p:sldId id="2147476069" r:id="rId904"/>
    <p:sldId id="2147476070" r:id="rId905"/>
    <p:sldId id="2147476071" r:id="rId906"/>
    <p:sldId id="2147476072" r:id="rId907"/>
    <p:sldId id="2147476073" r:id="rId908"/>
    <p:sldId id="2147476074" r:id="rId909"/>
    <p:sldId id="2147476075" r:id="rId910"/>
    <p:sldId id="2147476076" r:id="rId911"/>
    <p:sldId id="2147476077" r:id="rId912"/>
    <p:sldId id="2147476078" r:id="rId913"/>
    <p:sldId id="2147476079" r:id="rId914"/>
    <p:sldId id="2147476080" r:id="rId915"/>
    <p:sldId id="2147476081" r:id="rId916"/>
    <p:sldId id="2147476082" r:id="rId917"/>
    <p:sldId id="2147476083" r:id="rId918"/>
    <p:sldId id="2147476084" r:id="rId919"/>
    <p:sldId id="2147476085" r:id="rId920"/>
    <p:sldId id="2147476086" r:id="rId921"/>
    <p:sldId id="2147476087" r:id="rId922"/>
    <p:sldId id="2147476088" r:id="rId923"/>
    <p:sldId id="2147476089" r:id="rId924"/>
    <p:sldId id="2147476090" r:id="rId925"/>
    <p:sldId id="2147476091" r:id="rId926"/>
    <p:sldId id="2147476092" r:id="rId927"/>
    <p:sldId id="2147476093" r:id="rId928"/>
    <p:sldId id="2147476094" r:id="rId929"/>
    <p:sldId id="2147476095" r:id="rId930"/>
    <p:sldId id="2147476096" r:id="rId931"/>
    <p:sldId id="2147476097" r:id="rId932"/>
    <p:sldId id="2147476098" r:id="rId933"/>
    <p:sldId id="2147476099" r:id="rId934"/>
    <p:sldId id="2147476100" r:id="rId935"/>
    <p:sldId id="2147476101" r:id="rId936"/>
    <p:sldId id="2147476102" r:id="rId937"/>
    <p:sldId id="2147476103" r:id="rId938"/>
    <p:sldId id="2147476104" r:id="rId939"/>
    <p:sldId id="2147476105" r:id="rId940"/>
    <p:sldId id="2147476106" r:id="rId941"/>
    <p:sldId id="2147476107" r:id="rId942"/>
    <p:sldId id="2147476108" r:id="rId943"/>
    <p:sldId id="2147476109" r:id="rId944"/>
    <p:sldId id="2147476110" r:id="rId945"/>
    <p:sldId id="2147476111" r:id="rId946"/>
    <p:sldId id="2147476112" r:id="rId947"/>
    <p:sldId id="2147476113" r:id="rId948"/>
    <p:sldId id="2147476114" r:id="rId949"/>
    <p:sldId id="2147476115" r:id="rId950"/>
    <p:sldId id="2147476116" r:id="rId951"/>
    <p:sldId id="2147476117" r:id="rId952"/>
    <p:sldId id="2147476118" r:id="rId953"/>
    <p:sldId id="2147476119" r:id="rId954"/>
    <p:sldId id="2147476120" r:id="rId955"/>
    <p:sldId id="2147476121" r:id="rId956"/>
    <p:sldId id="2147476122" r:id="rId957"/>
    <p:sldId id="2147476123" r:id="rId958"/>
    <p:sldId id="2147476124" r:id="rId959"/>
    <p:sldId id="2147476125" r:id="rId960"/>
    <p:sldId id="2147476126" r:id="rId961"/>
    <p:sldId id="2147476127" r:id="rId962"/>
    <p:sldId id="2147476128" r:id="rId963"/>
    <p:sldId id="2147476129" r:id="rId964"/>
    <p:sldId id="2147476130" r:id="rId965"/>
    <p:sldId id="2147476131" r:id="rId966"/>
    <p:sldId id="2147476132" r:id="rId967"/>
    <p:sldId id="2147476133" r:id="rId968"/>
    <p:sldId id="2147476134" r:id="rId969"/>
    <p:sldId id="2147476135" r:id="rId970"/>
    <p:sldId id="2147476136" r:id="rId971"/>
    <p:sldId id="2147476137" r:id="rId972"/>
    <p:sldId id="2147476138" r:id="rId973"/>
    <p:sldId id="2147476139" r:id="rId974"/>
    <p:sldId id="2147476140" r:id="rId975"/>
    <p:sldId id="2147476141" r:id="rId976"/>
    <p:sldId id="2147476142" r:id="rId977"/>
    <p:sldId id="2147476143" r:id="rId978"/>
    <p:sldId id="2147476144" r:id="rId979"/>
    <p:sldId id="2147476145" r:id="rId980"/>
    <p:sldId id="2147476146" r:id="rId981"/>
    <p:sldId id="2147476147" r:id="rId982"/>
    <p:sldId id="2147476148" r:id="rId983"/>
    <p:sldId id="2147476149" r:id="rId984"/>
    <p:sldId id="2147476150" r:id="rId985"/>
    <p:sldId id="2147476151" r:id="rId986"/>
    <p:sldId id="2147476152" r:id="rId987"/>
    <p:sldId id="2147476153" r:id="rId988"/>
    <p:sldId id="2147476154" r:id="rId989"/>
    <p:sldId id="2147476155" r:id="rId990"/>
    <p:sldId id="2147476156" r:id="rId991"/>
    <p:sldId id="2147476157" r:id="rId992"/>
    <p:sldId id="2147476158" r:id="rId993"/>
    <p:sldId id="2147476159" r:id="rId994"/>
    <p:sldId id="2147476160" r:id="rId995"/>
    <p:sldId id="2147476161" r:id="rId996"/>
    <p:sldId id="2147476162" r:id="rId997"/>
    <p:sldId id="2147476163" r:id="rId998"/>
    <p:sldId id="2147476164" r:id="rId999"/>
    <p:sldId id="2147476165" r:id="rId1000"/>
    <p:sldId id="2147476166" r:id="rId1001"/>
    <p:sldId id="2147476167" r:id="rId1002"/>
    <p:sldId id="2147476168" r:id="rId1003"/>
    <p:sldId id="2147476169" r:id="rId1004"/>
    <p:sldId id="2147476170" r:id="rId1005"/>
    <p:sldId id="2147476171" r:id="rId1006"/>
    <p:sldId id="2147476172" r:id="rId1007"/>
    <p:sldId id="2147476173" r:id="rId1008"/>
    <p:sldId id="2147476174" r:id="rId1009"/>
    <p:sldId id="2147476175" r:id="rId1010"/>
    <p:sldId id="2147476176" r:id="rId1011"/>
    <p:sldId id="2147476177" r:id="rId1012"/>
    <p:sldId id="2147476178" r:id="rId1013"/>
    <p:sldId id="2147476179" r:id="rId1014"/>
    <p:sldId id="2147476180" r:id="rId1015"/>
    <p:sldId id="2147476181" r:id="rId1016"/>
    <p:sldId id="2147476182" r:id="rId1017"/>
    <p:sldId id="2147476183" r:id="rId1018"/>
    <p:sldId id="2147476184" r:id="rId1019"/>
    <p:sldId id="2147476185" r:id="rId1020"/>
    <p:sldId id="2147476186" r:id="rId1021"/>
    <p:sldId id="2147476187" r:id="rId1022"/>
    <p:sldId id="2147476188" r:id="rId1023"/>
    <p:sldId id="2147476189" r:id="rId1024"/>
    <p:sldId id="2147476190" r:id="rId1025"/>
    <p:sldId id="2147476191" r:id="rId1026"/>
    <p:sldId id="2147476192" r:id="rId1027"/>
    <p:sldId id="2147476193" r:id="rId1028"/>
    <p:sldId id="2147476194" r:id="rId1029"/>
    <p:sldId id="2147476195" r:id="rId1030"/>
    <p:sldId id="2147476196" r:id="rId1031"/>
    <p:sldId id="2147476197" r:id="rId1032"/>
    <p:sldId id="2147476198" r:id="rId1033"/>
    <p:sldId id="2147476199" r:id="rId1034"/>
    <p:sldId id="2147476200" r:id="rId1035"/>
    <p:sldId id="2147476201" r:id="rId1036"/>
    <p:sldId id="2147476202" r:id="rId1037"/>
    <p:sldId id="2147476203" r:id="rId1038"/>
    <p:sldId id="2147476204" r:id="rId1039"/>
    <p:sldId id="2147476205" r:id="rId1040"/>
    <p:sldId id="2147476206" r:id="rId1041"/>
    <p:sldId id="2147476207" r:id="rId1042"/>
    <p:sldId id="2147476208" r:id="rId1043"/>
    <p:sldId id="2147476209" r:id="rId1044"/>
    <p:sldId id="2147476210" r:id="rId1045"/>
    <p:sldId id="2147476211" r:id="rId1046"/>
    <p:sldId id="2147476212" r:id="rId1047"/>
    <p:sldId id="2147476213" r:id="rId1048"/>
    <p:sldId id="2147476214" r:id="rId1049"/>
    <p:sldId id="2147476215" r:id="rId1050"/>
    <p:sldId id="2147476216" r:id="rId1051"/>
    <p:sldId id="2147476217" r:id="rId1052"/>
    <p:sldId id="2147476218" r:id="rId1053"/>
    <p:sldId id="2147476219" r:id="rId1054"/>
    <p:sldId id="2147476220" r:id="rId1055"/>
    <p:sldId id="2147476221" r:id="rId1056"/>
    <p:sldId id="2147476222" r:id="rId1057"/>
    <p:sldId id="2147476223" r:id="rId1058"/>
    <p:sldId id="2147476224" r:id="rId1059"/>
    <p:sldId id="2147476225" r:id="rId1060"/>
    <p:sldId id="2147476226" r:id="rId1061"/>
    <p:sldId id="2147476227" r:id="rId1062"/>
    <p:sldId id="2147476228" r:id="rId1063"/>
    <p:sldId id="2147476229" r:id="rId1064"/>
    <p:sldId id="2147476230" r:id="rId1065"/>
    <p:sldId id="2147476231" r:id="rId1066"/>
    <p:sldId id="2147476232" r:id="rId1067"/>
    <p:sldId id="2147476233" r:id="rId1068"/>
    <p:sldId id="2147476234" r:id="rId1069"/>
    <p:sldId id="2147476235" r:id="rId1070"/>
    <p:sldId id="2147476236" r:id="rId1071"/>
    <p:sldId id="2147476237" r:id="rId1072"/>
    <p:sldId id="2147476238" r:id="rId1073"/>
    <p:sldId id="2147476239" r:id="rId1074"/>
    <p:sldId id="2147476240" r:id="rId1075"/>
    <p:sldId id="2147476241" r:id="rId1076"/>
    <p:sldId id="2147476242" r:id="rId1077"/>
    <p:sldId id="2147476243" r:id="rId1078"/>
    <p:sldId id="2147476244" r:id="rId1079"/>
    <p:sldId id="2147476245" r:id="rId1080"/>
    <p:sldId id="2147476246" r:id="rId1081"/>
    <p:sldId id="2147476247" r:id="rId1082"/>
    <p:sldId id="2147476248" r:id="rId1083"/>
    <p:sldId id="2147476249" r:id="rId1084"/>
    <p:sldId id="2147476250" r:id="rId1085"/>
    <p:sldId id="2147476251" r:id="rId1086"/>
    <p:sldId id="2147476252" r:id="rId1087"/>
    <p:sldId id="2147476253" r:id="rId1088"/>
    <p:sldId id="2147476254" r:id="rId1089"/>
    <p:sldId id="2147476255" r:id="rId1090"/>
    <p:sldId id="2147476256" r:id="rId1091"/>
    <p:sldId id="2147476257" r:id="rId1092"/>
    <p:sldId id="2147476258" r:id="rId1093"/>
    <p:sldId id="2147476259" r:id="rId1094"/>
    <p:sldId id="2147476260" r:id="rId1095"/>
    <p:sldId id="2147476261" r:id="rId1096"/>
    <p:sldId id="2147476262" r:id="rId1097"/>
    <p:sldId id="2147476263" r:id="rId1098"/>
    <p:sldId id="2147476264" r:id="rId1099"/>
    <p:sldId id="2147476265" r:id="rId1100"/>
    <p:sldId id="2147476266" r:id="rId1101"/>
    <p:sldId id="2147476267" r:id="rId1102"/>
    <p:sldId id="2147476268" r:id="rId1103"/>
    <p:sldId id="2147476269" r:id="rId1104"/>
    <p:sldId id="2147476270" r:id="rId1105"/>
    <p:sldId id="2147476271" r:id="rId1106"/>
    <p:sldId id="2147476272" r:id="rId1107"/>
    <p:sldId id="2147476273" r:id="rId1108"/>
    <p:sldId id="2147476274" r:id="rId1109"/>
    <p:sldId id="2147476275" r:id="rId1110"/>
    <p:sldId id="2147476276" r:id="rId1111"/>
    <p:sldId id="2147476277" r:id="rId1112"/>
    <p:sldId id="2147476278" r:id="rId1113"/>
    <p:sldId id="2147476279" r:id="rId1114"/>
    <p:sldId id="2147476280" r:id="rId1115"/>
    <p:sldId id="2147476281" r:id="rId1116"/>
    <p:sldId id="2147476282" r:id="rId1117"/>
    <p:sldId id="2147476283" r:id="rId1118"/>
    <p:sldId id="2147476284" r:id="rId1119"/>
    <p:sldId id="2147476285" r:id="rId1120"/>
    <p:sldId id="2147476286" r:id="rId1121"/>
    <p:sldId id="2147476287" r:id="rId1122"/>
    <p:sldId id="2147476288" r:id="rId1123"/>
    <p:sldId id="2147476289" r:id="rId1124"/>
    <p:sldId id="2147476290" r:id="rId1125"/>
    <p:sldId id="2147476291" r:id="rId1126"/>
    <p:sldId id="2147476292" r:id="rId1127"/>
    <p:sldId id="2147476293" r:id="rId1128"/>
    <p:sldId id="2147476294" r:id="rId1129"/>
    <p:sldId id="2147476295" r:id="rId1130"/>
    <p:sldId id="2147476296" r:id="rId1131"/>
    <p:sldId id="2147476297" r:id="rId1132"/>
    <p:sldId id="2147476298" r:id="rId1133"/>
    <p:sldId id="2147476299" r:id="rId1134"/>
    <p:sldId id="2147476300" r:id="rId1135"/>
    <p:sldId id="2147476301" r:id="rId1136"/>
    <p:sldId id="2147476302" r:id="rId1137"/>
    <p:sldId id="2147476303" r:id="rId1138"/>
    <p:sldId id="2147476304" r:id="rId1139"/>
    <p:sldId id="2147476305" r:id="rId1140"/>
    <p:sldId id="2147476306" r:id="rId1141"/>
    <p:sldId id="2147476307" r:id="rId1142"/>
    <p:sldId id="2147476308" r:id="rId1143"/>
    <p:sldId id="2147476309" r:id="rId1144"/>
    <p:sldId id="2147476310" r:id="rId1145"/>
    <p:sldId id="2147476311" r:id="rId1146"/>
    <p:sldId id="2147476312" r:id="rId1147"/>
    <p:sldId id="2147476313" r:id="rId1148"/>
    <p:sldId id="2147476314" r:id="rId1149"/>
    <p:sldId id="2147476315" r:id="rId1150"/>
    <p:sldId id="2147476316" r:id="rId1151"/>
    <p:sldId id="2147476317" r:id="rId1152"/>
    <p:sldId id="2147476318" r:id="rId1153"/>
    <p:sldId id="2147476319" r:id="rId1154"/>
    <p:sldId id="2147476320" r:id="rId1155"/>
    <p:sldId id="2147476321" r:id="rId1156"/>
    <p:sldId id="2147476322" r:id="rId1157"/>
    <p:sldId id="2147476323" r:id="rId1158"/>
    <p:sldId id="2147476324" r:id="rId1159"/>
    <p:sldId id="2147476325" r:id="rId1160"/>
    <p:sldId id="2147476326" r:id="rId1161"/>
    <p:sldId id="2147476327" r:id="rId1162"/>
    <p:sldId id="2147476328" r:id="rId1163"/>
    <p:sldId id="2147476329" r:id="rId1164"/>
    <p:sldId id="2147476330" r:id="rId1165"/>
    <p:sldId id="2147476331" r:id="rId1166"/>
    <p:sldId id="2147476332" r:id="rId1167"/>
    <p:sldId id="2147476333" r:id="rId1168"/>
    <p:sldId id="2147476334" r:id="rId1169"/>
    <p:sldId id="2147476335" r:id="rId1170"/>
    <p:sldId id="2147476336" r:id="rId1171"/>
    <p:sldId id="2147476337" r:id="rId1172"/>
    <p:sldId id="2147476338" r:id="rId1173"/>
    <p:sldId id="2147476339" r:id="rId1174"/>
    <p:sldId id="2147476340" r:id="rId1175"/>
    <p:sldId id="2147476341" r:id="rId1176"/>
    <p:sldId id="2147476342" r:id="rId1177"/>
    <p:sldId id="2147476343" r:id="rId1178"/>
    <p:sldId id="2147476344" r:id="rId1179"/>
    <p:sldId id="2147476345" r:id="rId1180"/>
    <p:sldId id="2147476346" r:id="rId1181"/>
    <p:sldId id="2147476347" r:id="rId1182"/>
    <p:sldId id="2147476348" r:id="rId1183"/>
    <p:sldId id="2147476349" r:id="rId1184"/>
    <p:sldId id="2147476350" r:id="rId1185"/>
    <p:sldId id="2147476351" r:id="rId1186"/>
    <p:sldId id="2147476352" r:id="rId1187"/>
    <p:sldId id="2147476353" r:id="rId1188"/>
    <p:sldId id="2147476354" r:id="rId1189"/>
    <p:sldId id="2147476355" r:id="rId1190"/>
    <p:sldId id="2147476356" r:id="rId1191"/>
    <p:sldId id="2147476357" r:id="rId1192"/>
    <p:sldId id="2147476358" r:id="rId1193"/>
    <p:sldId id="2147476359" r:id="rId1194"/>
    <p:sldId id="2147476360" r:id="rId1195"/>
    <p:sldId id="2147476361" r:id="rId1196"/>
    <p:sldId id="2147476362" r:id="rId1197"/>
    <p:sldId id="2147476363" r:id="rId1198"/>
    <p:sldId id="2147476364" r:id="rId1199"/>
    <p:sldId id="2147476365" r:id="rId1200"/>
    <p:sldId id="2147476366" r:id="rId1201"/>
    <p:sldId id="2147476367" r:id="rId1202"/>
    <p:sldId id="2147476368" r:id="rId1203"/>
    <p:sldId id="2147476369" r:id="rId1204"/>
    <p:sldId id="2147476370" r:id="rId1205"/>
    <p:sldId id="2147476371" r:id="rId1206"/>
    <p:sldId id="2147476372" r:id="rId1207"/>
    <p:sldId id="2147476373" r:id="rId1208"/>
    <p:sldId id="2147476374" r:id="rId1209"/>
    <p:sldId id="2147476375" r:id="rId1210"/>
    <p:sldId id="2147476376" r:id="rId1211"/>
    <p:sldId id="2147476377" r:id="rId1212"/>
    <p:sldId id="2147476378" r:id="rId1213"/>
    <p:sldId id="2147476379" r:id="rId1214"/>
    <p:sldId id="2147476380" r:id="rId1215"/>
    <p:sldId id="2147476381" r:id="rId1216"/>
    <p:sldId id="2147476382" r:id="rId1217"/>
    <p:sldId id="2147476383" r:id="rId1218"/>
    <p:sldId id="2147476384" r:id="rId1219"/>
    <p:sldId id="2147476385" r:id="rId1220"/>
    <p:sldId id="2147476386" r:id="rId1221"/>
    <p:sldId id="2147476387" r:id="rId1222"/>
    <p:sldId id="2147476388" r:id="rId1223"/>
    <p:sldId id="2147476389" r:id="rId1224"/>
    <p:sldId id="2147476390" r:id="rId1225"/>
    <p:sldId id="2147476391" r:id="rId1226"/>
    <p:sldId id="2147476392" r:id="rId1227"/>
    <p:sldId id="2147476393" r:id="rId1228"/>
    <p:sldId id="2147476394" r:id="rId1229"/>
    <p:sldId id="2147476395" r:id="rId1230"/>
    <p:sldId id="2147476396" r:id="rId1231"/>
    <p:sldId id="2147476397" r:id="rId1232"/>
    <p:sldId id="2147476398" r:id="rId1233"/>
    <p:sldId id="2147476399" r:id="rId1234"/>
    <p:sldId id="2147476400" r:id="rId1235"/>
    <p:sldId id="2147476401" r:id="rId1236"/>
    <p:sldId id="2147476402" r:id="rId1237"/>
    <p:sldId id="2147476403" r:id="rId1238"/>
    <p:sldId id="2147476404" r:id="rId1239"/>
    <p:sldId id="2147476405" r:id="rId1240"/>
    <p:sldId id="2147476406" r:id="rId1241"/>
    <p:sldId id="2147476407" r:id="rId1242"/>
    <p:sldId id="2147476408" r:id="rId1243"/>
    <p:sldId id="2147476409" r:id="rId1244"/>
    <p:sldId id="2147476410" r:id="rId1245"/>
    <p:sldId id="2147476411" r:id="rId1246"/>
    <p:sldId id="2147476412" r:id="rId1247"/>
    <p:sldId id="2147476413" r:id="rId1248"/>
    <p:sldId id="2147476414" r:id="rId1249"/>
    <p:sldId id="2147476415" r:id="rId1250"/>
    <p:sldId id="2147476416" r:id="rId1251"/>
    <p:sldId id="2147476417" r:id="rId1252"/>
    <p:sldId id="2147476418" r:id="rId1253"/>
    <p:sldId id="2147476419" r:id="rId1254"/>
    <p:sldId id="2147476420" r:id="rId1255"/>
    <p:sldId id="2147476421" r:id="rId1256"/>
    <p:sldId id="2147476422" r:id="rId1257"/>
    <p:sldId id="2147476423" r:id="rId1258"/>
    <p:sldId id="2147476424" r:id="rId1259"/>
    <p:sldId id="2147476425" r:id="rId1260"/>
    <p:sldId id="2147476426" r:id="rId1261"/>
    <p:sldId id="2147476427" r:id="rId1262"/>
    <p:sldId id="2147476428" r:id="rId1263"/>
    <p:sldId id="2147476429" r:id="rId1264"/>
    <p:sldId id="2147476430" r:id="rId1265"/>
    <p:sldId id="2147476431" r:id="rId1266"/>
    <p:sldId id="2147476432" r:id="rId1267"/>
    <p:sldId id="2147476433" r:id="rId1268"/>
    <p:sldId id="2147476434" r:id="rId1269"/>
    <p:sldId id="2147476435" r:id="rId1270"/>
    <p:sldId id="2147476436" r:id="rId1271"/>
    <p:sldId id="2147476437" r:id="rId1272"/>
    <p:sldId id="2147476438" r:id="rId1273"/>
    <p:sldId id="2147476439" r:id="rId1274"/>
    <p:sldId id="2147476440" r:id="rId1275"/>
    <p:sldId id="2147476441" r:id="rId1276"/>
    <p:sldId id="2147476442" r:id="rId1277"/>
    <p:sldId id="2147476443" r:id="rId1278"/>
    <p:sldId id="2147476444" r:id="rId1279"/>
    <p:sldId id="2147476445" r:id="rId1280"/>
    <p:sldId id="2147476446" r:id="rId1281"/>
    <p:sldId id="2147476447" r:id="rId1282"/>
    <p:sldId id="2147476448" r:id="rId1283"/>
    <p:sldId id="2147476449" r:id="rId1284"/>
    <p:sldId id="2147476450" r:id="rId1285"/>
    <p:sldId id="2147476451" r:id="rId1286"/>
    <p:sldId id="2147476452" r:id="rId1287"/>
    <p:sldId id="2147476453" r:id="rId1288"/>
    <p:sldId id="2147476454" r:id="rId1289"/>
    <p:sldId id="2147476455" r:id="rId1290"/>
    <p:sldId id="2147476456" r:id="rId1291"/>
    <p:sldId id="2147476457" r:id="rId1292"/>
    <p:sldId id="2147476458" r:id="rId1293"/>
    <p:sldId id="2147476459" r:id="rId1294"/>
    <p:sldId id="2147476460" r:id="rId1295"/>
    <p:sldId id="2147476461" r:id="rId1296"/>
    <p:sldId id="2147476462" r:id="rId1297"/>
    <p:sldId id="2147476463" r:id="rId1298"/>
    <p:sldId id="2147476464" r:id="rId1299"/>
    <p:sldId id="2147476465" r:id="rId1300"/>
    <p:sldId id="2147476466" r:id="rId1301"/>
    <p:sldId id="2147476467" r:id="rId1302"/>
    <p:sldId id="2147476468" r:id="rId1303"/>
    <p:sldId id="2147476469" r:id="rId1304"/>
    <p:sldId id="2147476470" r:id="rId1305"/>
    <p:sldId id="2147476471" r:id="rId1306"/>
    <p:sldId id="2147476472" r:id="rId1307"/>
    <p:sldId id="2147476473" r:id="rId1308"/>
    <p:sldId id="2147476474" r:id="rId1309"/>
    <p:sldId id="2147476475" r:id="rId1310"/>
    <p:sldId id="2147476476" r:id="rId1311"/>
    <p:sldId id="2147476477" r:id="rId1312"/>
    <p:sldId id="2147476478" r:id="rId1313"/>
    <p:sldId id="2147476479" r:id="rId1314"/>
    <p:sldId id="2147476480" r:id="rId1315"/>
    <p:sldId id="2147476481" r:id="rId1316"/>
    <p:sldId id="2147476482" r:id="rId1317"/>
    <p:sldId id="2147476483" r:id="rId1318"/>
    <p:sldId id="2147476484" r:id="rId1319"/>
    <p:sldId id="2147476485" r:id="rId1320"/>
    <p:sldId id="2147476486" r:id="rId1321"/>
    <p:sldId id="2147476487" r:id="rId1322"/>
    <p:sldId id="2147476488" r:id="rId1323"/>
    <p:sldId id="2147476489" r:id="rId1324"/>
    <p:sldId id="2147476490" r:id="rId1325"/>
    <p:sldId id="2147476491" r:id="rId1326"/>
    <p:sldId id="2147476492" r:id="rId1327"/>
    <p:sldId id="2147476493" r:id="rId1328"/>
    <p:sldId id="2147476494" r:id="rId1329"/>
    <p:sldId id="2147476495" r:id="rId1330"/>
    <p:sldId id="2147476496" r:id="rId1331"/>
    <p:sldId id="2147476497" r:id="rId1332"/>
    <p:sldId id="2147476498" r:id="rId1333"/>
    <p:sldId id="2147476499" r:id="rId1334"/>
    <p:sldId id="2147476500" r:id="rId1335"/>
    <p:sldId id="2147476501" r:id="rId1336"/>
    <p:sldId id="2147476502" r:id="rId1337"/>
    <p:sldId id="2147476503" r:id="rId1338"/>
    <p:sldId id="2147476504" r:id="rId1339"/>
    <p:sldId id="2147476505" r:id="rId1340"/>
    <p:sldId id="2147476506" r:id="rId1341"/>
    <p:sldId id="2147476507" r:id="rId1342"/>
    <p:sldId id="2147476508" r:id="rId1343"/>
    <p:sldId id="2147476509" r:id="rId1344"/>
    <p:sldId id="2147476510" r:id="rId1345"/>
    <p:sldId id="2147476511" r:id="rId1346"/>
    <p:sldId id="2147476512" r:id="rId1347"/>
    <p:sldId id="2147476513" r:id="rId1348"/>
    <p:sldId id="2147476514" r:id="rId1349"/>
    <p:sldId id="2147476515" r:id="rId1350"/>
    <p:sldId id="2147476516" r:id="rId1351"/>
    <p:sldId id="2147476517" r:id="rId1352"/>
    <p:sldId id="2147476518" r:id="rId1353"/>
    <p:sldId id="2147476519" r:id="rId1354"/>
    <p:sldId id="2147476520" r:id="rId1355"/>
    <p:sldId id="2147476521" r:id="rId1356"/>
    <p:sldId id="2147476522" r:id="rId1357"/>
    <p:sldId id="2147476523" r:id="rId1358"/>
    <p:sldId id="2147476524" r:id="rId1359"/>
    <p:sldId id="2147476525" r:id="rId1360"/>
    <p:sldId id="2147476526" r:id="rId1361"/>
    <p:sldId id="2147476527" r:id="rId1362"/>
    <p:sldId id="2147476528" r:id="rId1363"/>
    <p:sldId id="2147476529" r:id="rId1364"/>
    <p:sldId id="2147476530" r:id="rId1365"/>
    <p:sldId id="2147476531" r:id="rId1366"/>
    <p:sldId id="2147476532" r:id="rId1367"/>
    <p:sldId id="2147476533" r:id="rId1368"/>
    <p:sldId id="2147476534" r:id="rId1369"/>
    <p:sldId id="2147476535" r:id="rId1370"/>
    <p:sldId id="2147476536" r:id="rId1371"/>
    <p:sldId id="2147476537" r:id="rId1372"/>
    <p:sldId id="2147476538" r:id="rId1373"/>
    <p:sldId id="2147476539" r:id="rId1374"/>
    <p:sldId id="2147476540" r:id="rId1375"/>
    <p:sldId id="2147476541" r:id="rId1376"/>
    <p:sldId id="2147476542" r:id="rId1377"/>
    <p:sldId id="2147476543" r:id="rId1378"/>
    <p:sldId id="2147476544" r:id="rId1379"/>
    <p:sldId id="2147476545" r:id="rId1380"/>
    <p:sldId id="2147476546" r:id="rId1381"/>
    <p:sldId id="2147476547" r:id="rId1382"/>
    <p:sldId id="2147476548" r:id="rId1383"/>
    <p:sldId id="2147476549" r:id="rId1384"/>
    <p:sldId id="2147476550" r:id="rId1385"/>
    <p:sldId id="2147476551" r:id="rId1386"/>
    <p:sldId id="2147476552" r:id="rId1387"/>
    <p:sldId id="2147476553" r:id="rId1388"/>
    <p:sldId id="2147476554" r:id="rId1389"/>
    <p:sldId id="2147476555" r:id="rId1390"/>
    <p:sldId id="2147476556" r:id="rId1391"/>
    <p:sldId id="2147476557" r:id="rId1392"/>
    <p:sldId id="2147476558" r:id="rId1393"/>
    <p:sldId id="2147476559" r:id="rId1394"/>
    <p:sldId id="2147476560" r:id="rId1395"/>
    <p:sldId id="2147476561" r:id="rId1396"/>
    <p:sldId id="2147476562" r:id="rId1397"/>
    <p:sldId id="2147476563" r:id="rId1398"/>
    <p:sldId id="2147476564" r:id="rId1399"/>
    <p:sldId id="2147476565" r:id="rId1400"/>
    <p:sldId id="2147476566" r:id="rId1401"/>
    <p:sldId id="2147476567" r:id="rId1402"/>
    <p:sldId id="2147476568" r:id="rId1403"/>
    <p:sldId id="2147476569" r:id="rId1404"/>
    <p:sldId id="2147476570" r:id="rId1405"/>
    <p:sldId id="2147476571" r:id="rId1406"/>
    <p:sldId id="2147476572" r:id="rId1407"/>
    <p:sldId id="2147476573" r:id="rId1408"/>
    <p:sldId id="2147476574" r:id="rId1409"/>
    <p:sldId id="2147476575" r:id="rId1410"/>
    <p:sldId id="2147476576" r:id="rId1411"/>
    <p:sldId id="2147476577" r:id="rId1412"/>
    <p:sldId id="2147476578" r:id="rId1413"/>
    <p:sldId id="2147476579" r:id="rId1414"/>
    <p:sldId id="2147476580" r:id="rId1415"/>
    <p:sldId id="2147476581" r:id="rId1416"/>
    <p:sldId id="2147476582" r:id="rId1417"/>
    <p:sldId id="2147476583" r:id="rId1418"/>
    <p:sldId id="2147476584" r:id="rId1419"/>
    <p:sldId id="2147476585" r:id="rId1420"/>
    <p:sldId id="2147476586" r:id="rId1421"/>
    <p:sldId id="2147476587" r:id="rId1422"/>
    <p:sldId id="2147476588" r:id="rId1423"/>
    <p:sldId id="2147476589" r:id="rId1424"/>
    <p:sldId id="2147476590" r:id="rId1425"/>
    <p:sldId id="2147476591" r:id="rId1426"/>
    <p:sldId id="2147476592" r:id="rId1427"/>
    <p:sldId id="2147476593" r:id="rId1428"/>
    <p:sldId id="2147476594" r:id="rId1429"/>
    <p:sldId id="2147476595" r:id="rId1430"/>
    <p:sldId id="2147476596" r:id="rId1431"/>
    <p:sldId id="2147476597" r:id="rId1432"/>
    <p:sldId id="2147476598" r:id="rId1433"/>
    <p:sldId id="2147476599" r:id="rId1434"/>
    <p:sldId id="2147476600" r:id="rId1435"/>
    <p:sldId id="2147476601" r:id="rId1436"/>
    <p:sldId id="2147476602" r:id="rId1437"/>
    <p:sldId id="2147476603" r:id="rId1438"/>
    <p:sldId id="2147476604" r:id="rId1439"/>
    <p:sldId id="2147476605" r:id="rId1440"/>
    <p:sldId id="2147476606" r:id="rId1441"/>
    <p:sldId id="2147476607" r:id="rId1442"/>
    <p:sldId id="2147476608" r:id="rId1443"/>
    <p:sldId id="2147476609" r:id="rId1444"/>
    <p:sldId id="2147476610" r:id="rId1445"/>
    <p:sldId id="2147476611" r:id="rId1446"/>
    <p:sldId id="2147476612" r:id="rId1447"/>
    <p:sldId id="2147476613" r:id="rId1448"/>
    <p:sldId id="2147476614" r:id="rId1449"/>
    <p:sldId id="2147476615" r:id="rId1450"/>
    <p:sldId id="2147476616" r:id="rId1451"/>
    <p:sldId id="2147476617" r:id="rId1452"/>
    <p:sldId id="2147476618" r:id="rId1453"/>
    <p:sldId id="2147476619" r:id="rId1454"/>
    <p:sldId id="2147476620" r:id="rId1455"/>
    <p:sldId id="2147476621" r:id="rId1456"/>
    <p:sldId id="2147476622" r:id="rId1457"/>
    <p:sldId id="2147476623" r:id="rId1458"/>
    <p:sldId id="2147476624" r:id="rId1459"/>
    <p:sldId id="2147476625" r:id="rId1460"/>
    <p:sldId id="2147476626" r:id="rId1461"/>
    <p:sldId id="2147476627" r:id="rId1462"/>
    <p:sldId id="2147476628" r:id="rId1463"/>
    <p:sldId id="2147476629" r:id="rId1464"/>
    <p:sldId id="2147476630" r:id="rId1465"/>
    <p:sldId id="2147476631" r:id="rId1466"/>
    <p:sldId id="2147476632" r:id="rId1467"/>
    <p:sldId id="2147476633" r:id="rId1468"/>
    <p:sldId id="2147476634" r:id="rId1469"/>
    <p:sldId id="2147476635" r:id="rId1470"/>
    <p:sldId id="2147476636" r:id="rId1471"/>
    <p:sldId id="2147476637" r:id="rId1472"/>
    <p:sldId id="2147476638" r:id="rId1473"/>
    <p:sldId id="2147476639" r:id="rId1474"/>
    <p:sldId id="2147476640" r:id="rId1475"/>
    <p:sldId id="2147476641" r:id="rId1476"/>
    <p:sldId id="2147476642" r:id="rId1477"/>
    <p:sldId id="2147476643" r:id="rId1478"/>
    <p:sldId id="2147476644" r:id="rId1479"/>
    <p:sldId id="2147476645" r:id="rId1480"/>
    <p:sldId id="2147476646" r:id="rId1481"/>
    <p:sldId id="2147476647" r:id="rId1482"/>
    <p:sldId id="2147476648" r:id="rId1483"/>
    <p:sldId id="2147476649" r:id="rId1484"/>
    <p:sldId id="2147476650" r:id="rId1485"/>
    <p:sldId id="2147476651" r:id="rId1486"/>
    <p:sldId id="2147476652" r:id="rId1487"/>
    <p:sldId id="2147476653" r:id="rId1488"/>
    <p:sldId id="2147476654" r:id="rId1489"/>
    <p:sldId id="2147476655" r:id="rId1490"/>
    <p:sldId id="2147476656" r:id="rId1491"/>
    <p:sldId id="2147476657" r:id="rId1492"/>
    <p:sldId id="2147476658" r:id="rId1493"/>
    <p:sldId id="2147476659" r:id="rId1494"/>
    <p:sldId id="2147476660" r:id="rId1495"/>
    <p:sldId id="2147476661" r:id="rId1496"/>
    <p:sldId id="2147476662" r:id="rId1497"/>
    <p:sldId id="2147476663" r:id="rId1498"/>
    <p:sldId id="2147476664" r:id="rId1499"/>
    <p:sldId id="2147476665" r:id="rId1500"/>
    <p:sldId id="2147476666" r:id="rId1501"/>
    <p:sldId id="2147476667" r:id="rId1502"/>
    <p:sldId id="2147476668" r:id="rId1503"/>
    <p:sldId id="2147476669" r:id="rId1504"/>
    <p:sldId id="2147476670" r:id="rId1505"/>
    <p:sldId id="2147476671" r:id="rId1506"/>
    <p:sldId id="2147476672" r:id="rId1507"/>
    <p:sldId id="2147476673" r:id="rId1508"/>
    <p:sldId id="2147476674" r:id="rId1509"/>
    <p:sldId id="2147476675" r:id="rId1510"/>
    <p:sldId id="2147476676" r:id="rId1511"/>
    <p:sldId id="2147476677" r:id="rId1512"/>
    <p:sldId id="2147476678" r:id="rId1513"/>
    <p:sldId id="2147476679" r:id="rId1514"/>
    <p:sldId id="2147476680" r:id="rId1515"/>
    <p:sldId id="2147476681" r:id="rId1516"/>
    <p:sldId id="2147476682" r:id="rId1517"/>
    <p:sldId id="2147476683" r:id="rId1518"/>
    <p:sldId id="2147476684" r:id="rId1519"/>
    <p:sldId id="2147476685" r:id="rId1520"/>
    <p:sldId id="2147476686" r:id="rId1521"/>
    <p:sldId id="2147476687" r:id="rId1522"/>
    <p:sldId id="2147476688" r:id="rId1523"/>
    <p:sldId id="2147476689" r:id="rId1524"/>
    <p:sldId id="2147476690" r:id="rId1525"/>
    <p:sldId id="2147476691" r:id="rId1526"/>
    <p:sldId id="2147476692" r:id="rId1527"/>
    <p:sldId id="2147476693" r:id="rId1528"/>
    <p:sldId id="2147476694" r:id="rId1529"/>
    <p:sldId id="2147476695" r:id="rId1530"/>
    <p:sldId id="2147476696" r:id="rId1531"/>
    <p:sldId id="2147476697" r:id="rId1532"/>
    <p:sldId id="2147476698" r:id="rId1533"/>
    <p:sldId id="2147476699" r:id="rId1534"/>
    <p:sldId id="2147476700" r:id="rId1535"/>
    <p:sldId id="2147476701" r:id="rId1536"/>
    <p:sldId id="2147476702" r:id="rId1537"/>
    <p:sldId id="2147476703" r:id="rId1538"/>
    <p:sldId id="2147476704" r:id="rId1539"/>
    <p:sldId id="2147476705" r:id="rId1540"/>
    <p:sldId id="2147476706" r:id="rId1541"/>
    <p:sldId id="2147476707" r:id="rId1542"/>
    <p:sldId id="2147476708" r:id="rId1543"/>
    <p:sldId id="2147476709" r:id="rId1544"/>
    <p:sldId id="2147476710" r:id="rId1545"/>
    <p:sldId id="2147476711" r:id="rId1546"/>
    <p:sldId id="2147476712" r:id="rId1547"/>
    <p:sldId id="2147476713" r:id="rId1548"/>
    <p:sldId id="2147476714" r:id="rId1549"/>
    <p:sldId id="2147476715" r:id="rId1550"/>
    <p:sldId id="2147476716" r:id="rId1551"/>
    <p:sldId id="2147476717" r:id="rId1552"/>
    <p:sldId id="2147476718" r:id="rId1553"/>
    <p:sldId id="2147476719" r:id="rId1554"/>
    <p:sldId id="2147476720" r:id="rId1555"/>
    <p:sldId id="2147476721" r:id="rId1556"/>
    <p:sldId id="2147476722" r:id="rId1557"/>
    <p:sldId id="2147476723" r:id="rId1558"/>
    <p:sldId id="2147476724" r:id="rId1559"/>
    <p:sldId id="2147476725" r:id="rId1560"/>
    <p:sldId id="2147476726" r:id="rId1561"/>
    <p:sldId id="2147476727" r:id="rId1562"/>
    <p:sldId id="2147476728" r:id="rId1563"/>
    <p:sldId id="2147476729" r:id="rId1564"/>
    <p:sldId id="2147476730" r:id="rId1565"/>
    <p:sldId id="2147476731" r:id="rId1566"/>
    <p:sldId id="2147476732" r:id="rId1567"/>
    <p:sldId id="2147476733" r:id="rId1568"/>
    <p:sldId id="2147476734" r:id="rId1569"/>
    <p:sldId id="2147476735" r:id="rId1570"/>
    <p:sldId id="2147476736" r:id="rId1571"/>
    <p:sldId id="2147476737" r:id="rId1572"/>
    <p:sldId id="2147476738" r:id="rId1573"/>
    <p:sldId id="2147476739" r:id="rId1574"/>
    <p:sldId id="2147476740" r:id="rId1575"/>
    <p:sldId id="2147476741" r:id="rId1576"/>
    <p:sldId id="2147476742" r:id="rId1577"/>
    <p:sldId id="2147476743" r:id="rId1578"/>
    <p:sldId id="2147476744" r:id="rId1579"/>
    <p:sldId id="2147476745" r:id="rId1580"/>
    <p:sldId id="2147476746" r:id="rId1581"/>
    <p:sldId id="2147476747" r:id="rId1582"/>
    <p:sldId id="2147476748" r:id="rId1583"/>
    <p:sldId id="2147476749" r:id="rId1584"/>
    <p:sldId id="2147476750" r:id="rId1585"/>
    <p:sldId id="2147476751" r:id="rId1586"/>
    <p:sldId id="2147476752" r:id="rId1587"/>
    <p:sldId id="2147476753" r:id="rId1588"/>
    <p:sldId id="2147476754" r:id="rId1589"/>
    <p:sldId id="2147476755" r:id="rId1590"/>
    <p:sldId id="2147476756" r:id="rId1591"/>
    <p:sldId id="2147476757" r:id="rId1592"/>
    <p:sldId id="2147476758" r:id="rId1593"/>
    <p:sldId id="2147476759" r:id="rId1594"/>
    <p:sldId id="2147476760" r:id="rId1595"/>
    <p:sldId id="2147476761" r:id="rId1596"/>
    <p:sldId id="2147476762" r:id="rId1597"/>
    <p:sldId id="2147476763" r:id="rId1598"/>
    <p:sldId id="2147476764" r:id="rId1599"/>
    <p:sldId id="2147476765" r:id="rId1600"/>
    <p:sldId id="2147476766" r:id="rId1601"/>
    <p:sldId id="2147476767" r:id="rId1602"/>
    <p:sldId id="2147476768" r:id="rId1603"/>
    <p:sldId id="2147476769" r:id="rId1604"/>
    <p:sldId id="2147476770" r:id="rId1605"/>
    <p:sldId id="2147476771" r:id="rId1606"/>
    <p:sldId id="2147476772" r:id="rId1607"/>
    <p:sldId id="2147476773" r:id="rId1608"/>
    <p:sldId id="2147476774" r:id="rId1609"/>
    <p:sldId id="2147476775" r:id="rId1610"/>
    <p:sldId id="2147476776" r:id="rId1611"/>
    <p:sldId id="2147476777" r:id="rId1612"/>
    <p:sldId id="2147476778" r:id="rId1613"/>
    <p:sldId id="2147476779" r:id="rId1614"/>
    <p:sldId id="2147476780" r:id="rId1615"/>
    <p:sldId id="2147476781" r:id="rId1616"/>
    <p:sldId id="2147476782" r:id="rId1617"/>
    <p:sldId id="2147476783" r:id="rId1618"/>
    <p:sldId id="2147476784" r:id="rId1619"/>
    <p:sldId id="2147476785" r:id="rId1620"/>
    <p:sldId id="2147476786" r:id="rId1621"/>
    <p:sldId id="2147476787" r:id="rId1622"/>
    <p:sldId id="2147476788" r:id="rId1623"/>
    <p:sldId id="2147476789" r:id="rId1624"/>
    <p:sldId id="2147476790" r:id="rId1625"/>
    <p:sldId id="2147476791" r:id="rId1626"/>
    <p:sldId id="2147476792" r:id="rId1627"/>
    <p:sldId id="2147476793" r:id="rId1628"/>
    <p:sldId id="2147476794" r:id="rId1629"/>
    <p:sldId id="2147476795" r:id="rId1630"/>
    <p:sldId id="2147476796" r:id="rId1631"/>
    <p:sldId id="2147476797" r:id="rId1632"/>
    <p:sldId id="2147476798" r:id="rId1633"/>
    <p:sldId id="2147476799" r:id="rId1634"/>
    <p:sldId id="2147476800" r:id="rId1635"/>
    <p:sldId id="2147476801" r:id="rId1636"/>
    <p:sldId id="2147476802" r:id="rId1637"/>
    <p:sldId id="2147476803" r:id="rId1638"/>
    <p:sldId id="2147476804" r:id="rId1639"/>
    <p:sldId id="2147476805" r:id="rId1640"/>
    <p:sldId id="2147476806" r:id="rId1641"/>
    <p:sldId id="2147476807" r:id="rId1642"/>
    <p:sldId id="2147476808" r:id="rId1643"/>
    <p:sldId id="2147476809" r:id="rId1644"/>
    <p:sldId id="2147476810" r:id="rId1645"/>
    <p:sldId id="2147476811" r:id="rId1646"/>
    <p:sldId id="2147476812" r:id="rId1647"/>
    <p:sldId id="2147476813" r:id="rId1648"/>
    <p:sldId id="2147476814" r:id="rId1649"/>
    <p:sldId id="2147476815" r:id="rId1650"/>
    <p:sldId id="2147476816" r:id="rId1651"/>
    <p:sldId id="2147476817" r:id="rId1652"/>
    <p:sldId id="2147476818" r:id="rId1653"/>
    <p:sldId id="2147476819" r:id="rId1654"/>
    <p:sldId id="2147476820" r:id="rId1655"/>
    <p:sldId id="2147476821" r:id="rId1656"/>
    <p:sldId id="2147476822" r:id="rId1657"/>
    <p:sldId id="2147476823" r:id="rId1658"/>
    <p:sldId id="2147476824" r:id="rId1659"/>
    <p:sldId id="2147476825" r:id="rId1660"/>
    <p:sldId id="2147476826" r:id="rId1661"/>
    <p:sldId id="2147476827" r:id="rId1662"/>
    <p:sldId id="2147476828" r:id="rId1663"/>
    <p:sldId id="2147476829" r:id="rId1664"/>
    <p:sldId id="2147476830" r:id="rId1665"/>
    <p:sldId id="2147476831" r:id="rId1666"/>
    <p:sldId id="2147476832" r:id="rId1667"/>
    <p:sldId id="2147476833" r:id="rId1668"/>
    <p:sldId id="2147476834" r:id="rId1669"/>
    <p:sldId id="2147476835" r:id="rId1670"/>
    <p:sldId id="2147476836" r:id="rId1671"/>
    <p:sldId id="2147476837" r:id="rId1672"/>
    <p:sldId id="2147476838" r:id="rId1673"/>
    <p:sldId id="2147476839" r:id="rId1674"/>
    <p:sldId id="2147476840" r:id="rId1675"/>
    <p:sldId id="2147476841" r:id="rId1676"/>
    <p:sldId id="2147476842" r:id="rId1677"/>
    <p:sldId id="2147476843" r:id="rId1678"/>
    <p:sldId id="2147476844" r:id="rId1679"/>
    <p:sldId id="2147476845" r:id="rId1680"/>
    <p:sldId id="2147476846" r:id="rId1681"/>
    <p:sldId id="2147476847" r:id="rId1682"/>
    <p:sldId id="2147476848" r:id="rId1683"/>
    <p:sldId id="2147476849" r:id="rId1684"/>
    <p:sldId id="2147476850" r:id="rId1685"/>
    <p:sldId id="2147476851" r:id="rId1686"/>
    <p:sldId id="2147476852" r:id="rId1687"/>
    <p:sldId id="2147476853" r:id="rId1688"/>
    <p:sldId id="2147476854" r:id="rId1689"/>
    <p:sldId id="2147476855" r:id="rId1690"/>
    <p:sldId id="2147476856" r:id="rId1691"/>
    <p:sldId id="2147476857" r:id="rId1692"/>
    <p:sldId id="2147476858" r:id="rId1693"/>
    <p:sldId id="2147476859" r:id="rId1694"/>
    <p:sldId id="2147476860" r:id="rId1695"/>
    <p:sldId id="2147476861" r:id="rId1696"/>
    <p:sldId id="2147476862" r:id="rId1697"/>
    <p:sldId id="2147476863" r:id="rId1698"/>
    <p:sldId id="2147476864" r:id="rId1699"/>
    <p:sldId id="2147476865" r:id="rId1700"/>
    <p:sldId id="2147476866" r:id="rId1701"/>
    <p:sldId id="2147476867" r:id="rId1702"/>
    <p:sldId id="2147476868" r:id="rId1703"/>
    <p:sldId id="2147476869" r:id="rId1704"/>
    <p:sldId id="2147476870" r:id="rId1705"/>
    <p:sldId id="2147476871" r:id="rId1706"/>
    <p:sldId id="2147476872" r:id="rId1707"/>
    <p:sldId id="2147476873" r:id="rId1708"/>
    <p:sldId id="2147476874" r:id="rId1709"/>
    <p:sldId id="2147476875" r:id="rId1710"/>
    <p:sldId id="2147476876" r:id="rId1711"/>
    <p:sldId id="2147476877" r:id="rId1712"/>
    <p:sldId id="2147476878" r:id="rId1713"/>
    <p:sldId id="2147476879" r:id="rId1714"/>
    <p:sldId id="2147476880" r:id="rId1715"/>
    <p:sldId id="2147476881" r:id="rId1716"/>
    <p:sldId id="2147476882" r:id="rId1717"/>
    <p:sldId id="2147476883" r:id="rId1718"/>
    <p:sldId id="2147476884" r:id="rId1719"/>
    <p:sldId id="2147476885" r:id="rId1720"/>
    <p:sldId id="2147476886" r:id="rId1721"/>
    <p:sldId id="2147476887" r:id="rId1722"/>
    <p:sldId id="2147476888" r:id="rId1723"/>
    <p:sldId id="2147476889" r:id="rId1724"/>
    <p:sldId id="2147476890" r:id="rId1725"/>
    <p:sldId id="2147476891" r:id="rId1726"/>
    <p:sldId id="2147476892" r:id="rId1727"/>
    <p:sldId id="2147476893" r:id="rId1728"/>
    <p:sldId id="2147476894" r:id="rId1729"/>
    <p:sldId id="2147476895" r:id="rId1730"/>
    <p:sldId id="2147476896" r:id="rId1731"/>
    <p:sldId id="2147476897" r:id="rId1732"/>
    <p:sldId id="2147476898" r:id="rId1733"/>
    <p:sldId id="2147476899" r:id="rId1734"/>
    <p:sldId id="2147476900" r:id="rId1735"/>
    <p:sldId id="2147476901" r:id="rId1736"/>
    <p:sldId id="2147476902" r:id="rId1737"/>
    <p:sldId id="2147476903" r:id="rId1738"/>
    <p:sldId id="2147476904" r:id="rId1739"/>
    <p:sldId id="2147476905" r:id="rId1740"/>
    <p:sldId id="2147476906" r:id="rId1741"/>
    <p:sldId id="2147476907" r:id="rId1742"/>
    <p:sldId id="2147476908" r:id="rId1743"/>
    <p:sldId id="2147476909" r:id="rId1744"/>
    <p:sldId id="2147476910" r:id="rId1745"/>
    <p:sldId id="2147476911" r:id="rId1746"/>
    <p:sldId id="2147476912" r:id="rId1747"/>
    <p:sldId id="2147476913" r:id="rId1748"/>
    <p:sldId id="2147476914" r:id="rId1749"/>
    <p:sldId id="2147476915" r:id="rId1750"/>
    <p:sldId id="2147476916" r:id="rId1751"/>
    <p:sldId id="2147476917" r:id="rId1752"/>
    <p:sldId id="2147476918" r:id="rId1753"/>
    <p:sldId id="2147476919" r:id="rId1754"/>
    <p:sldId id="2147476920" r:id="rId1755"/>
    <p:sldId id="2147476921" r:id="rId1756"/>
    <p:sldId id="2147476922" r:id="rId1757"/>
    <p:sldId id="2147476923" r:id="rId1758"/>
    <p:sldId id="2147476924" r:id="rId1759"/>
    <p:sldId id="2147476925" r:id="rId1760"/>
    <p:sldId id="2147476926" r:id="rId1761"/>
    <p:sldId id="2147476927" r:id="rId1762"/>
    <p:sldId id="2147476928" r:id="rId1763"/>
    <p:sldId id="2147476929" r:id="rId1764"/>
    <p:sldId id="2147476930" r:id="rId1765"/>
    <p:sldId id="2147476931" r:id="rId1766"/>
    <p:sldId id="2147476932" r:id="rId1767"/>
    <p:sldId id="2147476933" r:id="rId1768"/>
    <p:sldId id="2147476934" r:id="rId1769"/>
    <p:sldId id="2147476935" r:id="rId1770"/>
    <p:sldId id="2147476936" r:id="rId1771"/>
    <p:sldId id="2147476937" r:id="rId1772"/>
    <p:sldId id="2147476938" r:id="rId1773"/>
    <p:sldId id="2147476939" r:id="rId1774"/>
    <p:sldId id="2147476940" r:id="rId1775"/>
    <p:sldId id="2147476941" r:id="rId1776"/>
    <p:sldId id="2147476942" r:id="rId1777"/>
    <p:sldId id="2147476943" r:id="rId1778"/>
    <p:sldId id="2147476944" r:id="rId1779"/>
    <p:sldId id="2147476945" r:id="rId1780"/>
    <p:sldId id="2147476946" r:id="rId1781"/>
    <p:sldId id="2147476947" r:id="rId1782"/>
    <p:sldId id="2147476948" r:id="rId1783"/>
    <p:sldId id="2147476949" r:id="rId1784"/>
    <p:sldId id="2147476950" r:id="rId1785"/>
    <p:sldId id="2147476951" r:id="rId1786"/>
    <p:sldId id="2147476952" r:id="rId1787"/>
    <p:sldId id="2147476953" r:id="rId1788"/>
    <p:sldId id="2147476954" r:id="rId1789"/>
    <p:sldId id="2147476955" r:id="rId1790"/>
    <p:sldId id="2147476956" r:id="rId1791"/>
    <p:sldId id="2147476957" r:id="rId1792"/>
    <p:sldId id="2147476958" r:id="rId1793"/>
    <p:sldId id="2147476959" r:id="rId1794"/>
    <p:sldId id="2147476960" r:id="rId1795"/>
    <p:sldId id="2147476961" r:id="rId1796"/>
    <p:sldId id="2147476962" r:id="rId1797"/>
    <p:sldId id="2147476963" r:id="rId1798"/>
    <p:sldId id="2147476964" r:id="rId1799"/>
    <p:sldId id="2147476965" r:id="rId1800"/>
    <p:sldId id="2147476966" r:id="rId1801"/>
    <p:sldId id="2147476967" r:id="rId1802"/>
    <p:sldId id="2147476968" r:id="rId1803"/>
    <p:sldId id="2147476969" r:id="rId1804"/>
    <p:sldId id="2147476970" r:id="rId1805"/>
    <p:sldId id="2147476971" r:id="rId1806"/>
    <p:sldId id="2147476972" r:id="rId1807"/>
    <p:sldId id="2147476973" r:id="rId1808"/>
    <p:sldId id="2147476974" r:id="rId1809"/>
    <p:sldId id="2147476975" r:id="rId1810"/>
    <p:sldId id="2147476976" r:id="rId1811"/>
    <p:sldId id="2147476977" r:id="rId1812"/>
    <p:sldId id="2147476978" r:id="rId1813"/>
    <p:sldId id="2147476979" r:id="rId1814"/>
    <p:sldId id="2147476980" r:id="rId1815"/>
    <p:sldId id="2147476981" r:id="rId1816"/>
    <p:sldId id="2147476982" r:id="rId1817"/>
    <p:sldId id="2147476983" r:id="rId1818"/>
    <p:sldId id="2147476984" r:id="rId1819"/>
    <p:sldId id="2147476985" r:id="rId1820"/>
    <p:sldId id="2147476986" r:id="rId1821"/>
    <p:sldId id="2147476987" r:id="rId1822"/>
    <p:sldId id="2147476988" r:id="rId1823"/>
    <p:sldId id="2147476989" r:id="rId1824"/>
    <p:sldId id="2147476990" r:id="rId1825"/>
    <p:sldId id="2147476991" r:id="rId1826"/>
    <p:sldId id="2147476992" r:id="rId1827"/>
    <p:sldId id="2147476993" r:id="rId1828"/>
    <p:sldId id="2147476994" r:id="rId1829"/>
    <p:sldId id="2147476995" r:id="rId1830"/>
    <p:sldId id="2147476996" r:id="rId1831"/>
    <p:sldId id="2147476997" r:id="rId1832"/>
    <p:sldId id="2147476998" r:id="rId1833"/>
    <p:sldId id="2147476999" r:id="rId1834"/>
    <p:sldId id="2147477000" r:id="rId1835"/>
    <p:sldId id="2147477001" r:id="rId1836"/>
    <p:sldId id="2147477002" r:id="rId1837"/>
    <p:sldId id="2147477003" r:id="rId1838"/>
    <p:sldId id="2147477004" r:id="rId1839"/>
    <p:sldId id="2147477005" r:id="rId1840"/>
    <p:sldId id="2147477006" r:id="rId1841"/>
    <p:sldId id="2147477007" r:id="rId1842"/>
    <p:sldId id="2147477008" r:id="rId1843"/>
    <p:sldId id="2147477009" r:id="rId1844"/>
    <p:sldId id="2147477010" r:id="rId1845"/>
    <p:sldId id="2147477011" r:id="rId1846"/>
    <p:sldId id="2147477012" r:id="rId1847"/>
    <p:sldId id="2147477013" r:id="rId1848"/>
    <p:sldId id="2147477014" r:id="rId1849"/>
    <p:sldId id="2147477015" r:id="rId1850"/>
    <p:sldId id="2147477016" r:id="rId1851"/>
    <p:sldId id="2147477017" r:id="rId1852"/>
    <p:sldId id="2147477018" r:id="rId1853"/>
    <p:sldId id="2147477019" r:id="rId1854"/>
    <p:sldId id="2147477020" r:id="rId1855"/>
    <p:sldId id="2147477021" r:id="rId1856"/>
    <p:sldId id="2147477022" r:id="rId1857"/>
    <p:sldId id="2147477023" r:id="rId1858"/>
    <p:sldId id="2147477024" r:id="rId1859"/>
    <p:sldId id="2147477025" r:id="rId1860"/>
    <p:sldId id="2147477026" r:id="rId1861"/>
    <p:sldId id="2147477027" r:id="rId1862"/>
    <p:sldId id="2147477028" r:id="rId1863"/>
    <p:sldId id="2147477029" r:id="rId1864"/>
    <p:sldId id="2147477030" r:id="rId1865"/>
    <p:sldId id="2147477031" r:id="rId1866"/>
    <p:sldId id="2147477032" r:id="rId1867"/>
    <p:sldId id="2147477033" r:id="rId1868"/>
    <p:sldId id="2147477034" r:id="rId1869"/>
    <p:sldId id="2147477035" r:id="rId1870"/>
    <p:sldId id="2147477036" r:id="rId1871"/>
    <p:sldId id="2147477037" r:id="rId1872"/>
    <p:sldId id="2147477038" r:id="rId1873"/>
    <p:sldId id="2147477039" r:id="rId1874"/>
    <p:sldId id="2147477040" r:id="rId1875"/>
    <p:sldId id="2147477041" r:id="rId1876"/>
    <p:sldId id="2147477042" r:id="rId1877"/>
    <p:sldId id="2147477043" r:id="rId1878"/>
    <p:sldId id="2147477044" r:id="rId1879"/>
    <p:sldId id="2147477045" r:id="rId1880"/>
    <p:sldId id="2147477046" r:id="rId1881"/>
    <p:sldId id="2147477047" r:id="rId1882"/>
    <p:sldId id="2147477048" r:id="rId1883"/>
    <p:sldId id="2147477049" r:id="rId1884"/>
    <p:sldId id="2147477050" r:id="rId1885"/>
    <p:sldId id="2147477051" r:id="rId1886"/>
    <p:sldId id="2147477052" r:id="rId1887"/>
    <p:sldId id="2147477053" r:id="rId1888"/>
    <p:sldId id="2147477054" r:id="rId1889"/>
    <p:sldId id="2147477055" r:id="rId1890"/>
    <p:sldId id="2147477056" r:id="rId1891"/>
    <p:sldId id="2147477057" r:id="rId1892"/>
    <p:sldId id="2147477058" r:id="rId1893"/>
    <p:sldId id="2147477059" r:id="rId1894"/>
    <p:sldId id="2147477060" r:id="rId1895"/>
    <p:sldId id="2147477061" r:id="rId1896"/>
    <p:sldId id="2147477062" r:id="rId1897"/>
    <p:sldId id="2147477063" r:id="rId1898"/>
    <p:sldId id="2147477064" r:id="rId1899"/>
    <p:sldId id="2147477065" r:id="rId1900"/>
    <p:sldId id="2147477066" r:id="rId1901"/>
    <p:sldId id="2147477067" r:id="rId1902"/>
    <p:sldId id="2147477068" r:id="rId1903"/>
    <p:sldId id="2147477069" r:id="rId1904"/>
    <p:sldId id="2147477070" r:id="rId1905"/>
    <p:sldId id="2147477071" r:id="rId1906"/>
    <p:sldId id="2147477072" r:id="rId1907"/>
    <p:sldId id="2147477073" r:id="rId1908"/>
    <p:sldId id="2147477074" r:id="rId1909"/>
    <p:sldId id="2147477075" r:id="rId1910"/>
    <p:sldId id="2147477076" r:id="rId1911"/>
    <p:sldId id="2147477077" r:id="rId1912"/>
    <p:sldId id="2147477078" r:id="rId1913"/>
    <p:sldId id="2147477079" r:id="rId1914"/>
    <p:sldId id="2147477080" r:id="rId1915"/>
    <p:sldId id="2147477081" r:id="rId1916"/>
    <p:sldId id="2147477082" r:id="rId1917"/>
    <p:sldId id="2147477083" r:id="rId1918"/>
    <p:sldId id="2147477084" r:id="rId1919"/>
    <p:sldId id="2147477085" r:id="rId1920"/>
    <p:sldId id="2147477086" r:id="rId1921"/>
    <p:sldId id="2147477087" r:id="rId1922"/>
    <p:sldId id="2147477088" r:id="rId1923"/>
    <p:sldId id="2147477089" r:id="rId1924"/>
    <p:sldId id="2147477090" r:id="rId1925"/>
    <p:sldId id="2147477091" r:id="rId1926"/>
    <p:sldId id="2147477092" r:id="rId1927"/>
    <p:sldId id="2147477093" r:id="rId1928"/>
    <p:sldId id="2147477094" r:id="rId1929"/>
    <p:sldId id="2147477095" r:id="rId1930"/>
    <p:sldId id="2147477096" r:id="rId1931"/>
    <p:sldId id="2147477097" r:id="rId1932"/>
    <p:sldId id="2147477098" r:id="rId1933"/>
    <p:sldId id="2147477099" r:id="rId1934"/>
    <p:sldId id="2147477100" r:id="rId1935"/>
    <p:sldId id="2147477101" r:id="rId1936"/>
    <p:sldId id="2147477102" r:id="rId1937"/>
    <p:sldId id="2147477103" r:id="rId1938"/>
    <p:sldId id="2147477104" r:id="rId1939"/>
    <p:sldId id="2147477105" r:id="rId1940"/>
    <p:sldId id="2147477106" r:id="rId1941"/>
    <p:sldId id="2147477107" r:id="rId1942"/>
    <p:sldId id="2147477108" r:id="rId1943"/>
    <p:sldId id="2147477109" r:id="rId1944"/>
    <p:sldId id="2147477110" r:id="rId1945"/>
    <p:sldId id="2147477111" r:id="rId1946"/>
    <p:sldId id="2147477112" r:id="rId1947"/>
    <p:sldId id="2147477113" r:id="rId1948"/>
    <p:sldId id="2147477114" r:id="rId1949"/>
    <p:sldId id="2147477115" r:id="rId1950"/>
    <p:sldId id="2147477116" r:id="rId1951"/>
    <p:sldId id="2147477117" r:id="rId1952"/>
    <p:sldId id="2147477118" r:id="rId1953"/>
    <p:sldId id="2147477119" r:id="rId1954"/>
    <p:sldId id="2147477120" r:id="rId1955"/>
    <p:sldId id="2147477121" r:id="rId1956"/>
    <p:sldId id="2147477122" r:id="rId1957"/>
    <p:sldId id="2147477123" r:id="rId1958"/>
    <p:sldId id="2147477124" r:id="rId1959"/>
    <p:sldId id="2147477125" r:id="rId1960"/>
    <p:sldId id="2147477126" r:id="rId1961"/>
    <p:sldId id="2147477127" r:id="rId1962"/>
    <p:sldId id="2147477128" r:id="rId1963"/>
    <p:sldId id="2147477129" r:id="rId1964"/>
    <p:sldId id="2147477130" r:id="rId1965"/>
    <p:sldId id="2147477131" r:id="rId1966"/>
    <p:sldId id="2147477132" r:id="rId1967"/>
    <p:sldId id="2147477133" r:id="rId1968"/>
    <p:sldId id="2147477134" r:id="rId1969"/>
    <p:sldId id="2147477135" r:id="rId1970"/>
    <p:sldId id="2147477136" r:id="rId1971"/>
    <p:sldId id="2147477137" r:id="rId1972"/>
    <p:sldId id="2147477138" r:id="rId1973"/>
    <p:sldId id="2147477139" r:id="rId1974"/>
    <p:sldId id="2147477140" r:id="rId1975"/>
    <p:sldId id="2147477141" r:id="rId1976"/>
    <p:sldId id="2147477142" r:id="rId1977"/>
    <p:sldId id="2147477143" r:id="rId1978"/>
    <p:sldId id="2147477144" r:id="rId1979"/>
    <p:sldId id="2147477145" r:id="rId1980"/>
    <p:sldId id="2147477146" r:id="rId1981"/>
    <p:sldId id="2147477147" r:id="rId1982"/>
    <p:sldId id="2147477148" r:id="rId1983"/>
    <p:sldId id="2147477149" r:id="rId1984"/>
    <p:sldId id="2147477150" r:id="rId1985"/>
    <p:sldId id="2147477151" r:id="rId1986"/>
    <p:sldId id="2147477152" r:id="rId1987"/>
    <p:sldId id="2147477153" r:id="rId1988"/>
    <p:sldId id="2147477154" r:id="rId1989"/>
    <p:sldId id="2147477155" r:id="rId1990"/>
    <p:sldId id="2147477156" r:id="rId1991"/>
    <p:sldId id="2147477157" r:id="rId1992"/>
    <p:sldId id="2147477158" r:id="rId1993"/>
    <p:sldId id="2147477159" r:id="rId1994"/>
    <p:sldId id="2147477160" r:id="rId1995"/>
    <p:sldId id="2147477161" r:id="rId1996"/>
    <p:sldId id="2147477162" r:id="rId1997"/>
    <p:sldId id="2147477163" r:id="rId1998"/>
    <p:sldId id="2147477164" r:id="rId1999"/>
    <p:sldId id="2147477165" r:id="rId2000"/>
    <p:sldId id="2147477166" r:id="rId2001"/>
    <p:sldId id="2147477167" r:id="rId2002"/>
    <p:sldId id="2147477168" r:id="rId2003"/>
    <p:sldId id="2147477169" r:id="rId2004"/>
    <p:sldId id="2147477170" r:id="rId2005"/>
    <p:sldId id="2147477171" r:id="rId2006"/>
    <p:sldId id="2147477172" r:id="rId2007"/>
    <p:sldId id="2147477173" r:id="rId2008"/>
    <p:sldId id="2147477174" r:id="rId2009"/>
    <p:sldId id="2147477175" r:id="rId2010"/>
    <p:sldId id="2147477176" r:id="rId2011"/>
    <p:sldId id="2147477177" r:id="rId2012"/>
    <p:sldId id="2147477178" r:id="rId2013"/>
    <p:sldId id="2147477179" r:id="rId2014"/>
    <p:sldId id="2147477180" r:id="rId2015"/>
    <p:sldId id="2147477181" r:id="rId2016"/>
    <p:sldId id="2147477182" r:id="rId2017"/>
    <p:sldId id="2147477183" r:id="rId2018"/>
    <p:sldId id="2147477184" r:id="rId2019"/>
    <p:sldId id="2147477185" r:id="rId202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arket Trends by Manufacturer" id="{22496B8B-2208-4F3A-8F68-994FD86D93E7}">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Lst>
        </p14:section>
        <p14:section name="Market Trends by Brands" id="{FF648BB8-25F5-4DB3-91F2-2F8B40CB53C5}">
          <p14:sldIdLst>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Lst>
        </p14:section>
        <p14:section name="Market Trends by Sectors" id="{31548504-B0D5-4CBD-B363-0C11DC02CCE6}">
          <p14:sldIdLst>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Lst>
        </p14:section>
        <p14:section name="Market Trends by Segments" id="{583F64F0-BD43-4CBF-AD3B-11CF2AADE6C8}">
          <p14:sldIdLst>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Lst>
        </p14:section>
        <p14:section name="Market Concentration By Manufacturer" id="{3EFDAF84-5649-4006-84EA-9935039E03D3}">
          <p14:sldIdLst>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 id="2147476410"/>
            <p14:sldId id="2147476411"/>
            <p14:sldId id="2147476412"/>
            <p14:sldId id="2147476413"/>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 id="2147476443"/>
            <p14:sldId id="2147476444"/>
            <p14:sldId id="2147476445"/>
            <p14:sldId id="2147476446"/>
            <p14:sldId id="2147476447"/>
            <p14:sldId id="2147476448"/>
            <p14:sldId id="2147476449"/>
            <p14:sldId id="2147476450"/>
            <p14:sldId id="2147476451"/>
            <p14:sldId id="2147476452"/>
            <p14:sldId id="2147476453"/>
            <p14:sldId id="2147476454"/>
            <p14:sldId id="2147476455"/>
            <p14:sldId id="2147476456"/>
            <p14:sldId id="2147476457"/>
            <p14:sldId id="2147476458"/>
            <p14:sldId id="2147476459"/>
            <p14:sldId id="2147476460"/>
            <p14:sldId id="2147476461"/>
            <p14:sldId id="2147476462"/>
            <p14:sldId id="2147476463"/>
            <p14:sldId id="2147476464"/>
            <p14:sldId id="2147476465"/>
            <p14:sldId id="2147476466"/>
            <p14:sldId id="2147476467"/>
            <p14:sldId id="2147476468"/>
            <p14:sldId id="2147476469"/>
            <p14:sldId id="2147476470"/>
            <p14:sldId id="2147476471"/>
            <p14:sldId id="2147476472"/>
            <p14:sldId id="2147476473"/>
            <p14:sldId id="2147476474"/>
            <p14:sldId id="2147476475"/>
            <p14:sldId id="2147476476"/>
            <p14:sldId id="2147476477"/>
            <p14:sldId id="2147476478"/>
            <p14:sldId id="2147476479"/>
            <p14:sldId id="2147476480"/>
            <p14:sldId id="2147476481"/>
            <p14:sldId id="2147476482"/>
            <p14:sldId id="2147476483"/>
            <p14:sldId id="2147476484"/>
            <p14:sldId id="2147476485"/>
            <p14:sldId id="2147476486"/>
            <p14:sldId id="2147476487"/>
            <p14:sldId id="2147476488"/>
            <p14:sldId id="2147476489"/>
            <p14:sldId id="2147476490"/>
            <p14:sldId id="2147476491"/>
            <p14:sldId id="2147476492"/>
            <p14:sldId id="2147476493"/>
            <p14:sldId id="2147476494"/>
            <p14:sldId id="2147476495"/>
            <p14:sldId id="2147476496"/>
            <p14:sldId id="2147476497"/>
            <p14:sldId id="2147476498"/>
            <p14:sldId id="2147476499"/>
            <p14:sldId id="2147476500"/>
            <p14:sldId id="2147476501"/>
            <p14:sldId id="2147476502"/>
            <p14:sldId id="2147476503"/>
            <p14:sldId id="2147476504"/>
            <p14:sldId id="2147476505"/>
            <p14:sldId id="2147476506"/>
            <p14:sldId id="2147476507"/>
            <p14:sldId id="2147476508"/>
            <p14:sldId id="2147476509"/>
            <p14:sldId id="2147476510"/>
            <p14:sldId id="2147476511"/>
            <p14:sldId id="2147476512"/>
            <p14:sldId id="2147476513"/>
            <p14:sldId id="2147476514"/>
            <p14:sldId id="2147476515"/>
            <p14:sldId id="2147476516"/>
            <p14:sldId id="2147476517"/>
            <p14:sldId id="2147476518"/>
            <p14:sldId id="2147476519"/>
            <p14:sldId id="2147476520"/>
            <p14:sldId id="2147476521"/>
            <p14:sldId id="2147476522"/>
            <p14:sldId id="2147476523"/>
            <p14:sldId id="2147476524"/>
            <p14:sldId id="2147476525"/>
            <p14:sldId id="2147476526"/>
            <p14:sldId id="2147476527"/>
            <p14:sldId id="2147476528"/>
            <p14:sldId id="2147476529"/>
          </p14:sldIdLst>
        </p14:section>
        <p14:section name="Market Concentration By Brands" id="{0FF0B874-32D7-49B0-8EA7-12148D0DD291}">
          <p14:sldIdLst>
            <p14:sldId id="2147476530"/>
            <p14:sldId id="2147476531"/>
            <p14:sldId id="2147476532"/>
            <p14:sldId id="2147476533"/>
            <p14:sldId id="2147476534"/>
            <p14:sldId id="2147476535"/>
            <p14:sldId id="2147476536"/>
            <p14:sldId id="2147476537"/>
            <p14:sldId id="2147476538"/>
            <p14:sldId id="2147476539"/>
            <p14:sldId id="2147476540"/>
            <p14:sldId id="2147476541"/>
            <p14:sldId id="2147476542"/>
            <p14:sldId id="2147476543"/>
            <p14:sldId id="2147476544"/>
            <p14:sldId id="2147476545"/>
            <p14:sldId id="2147476546"/>
            <p14:sldId id="2147476547"/>
            <p14:sldId id="2147476548"/>
            <p14:sldId id="2147476549"/>
            <p14:sldId id="2147476550"/>
            <p14:sldId id="2147476551"/>
            <p14:sldId id="2147476552"/>
            <p14:sldId id="2147476553"/>
            <p14:sldId id="2147476554"/>
            <p14:sldId id="2147476555"/>
            <p14:sldId id="2147476556"/>
            <p14:sldId id="2147476557"/>
            <p14:sldId id="2147476558"/>
            <p14:sldId id="2147476559"/>
            <p14:sldId id="2147476560"/>
            <p14:sldId id="2147476561"/>
            <p14:sldId id="2147476562"/>
            <p14:sldId id="2147476563"/>
            <p14:sldId id="2147476564"/>
            <p14:sldId id="2147476565"/>
            <p14:sldId id="2147476566"/>
            <p14:sldId id="2147476567"/>
            <p14:sldId id="2147476568"/>
            <p14:sldId id="2147476569"/>
            <p14:sldId id="2147476570"/>
            <p14:sldId id="2147476571"/>
            <p14:sldId id="2147476572"/>
            <p14:sldId id="2147476573"/>
            <p14:sldId id="2147476574"/>
            <p14:sldId id="2147476575"/>
            <p14:sldId id="2147476576"/>
            <p14:sldId id="2147476577"/>
            <p14:sldId id="2147476578"/>
            <p14:sldId id="2147476579"/>
            <p14:sldId id="2147476580"/>
            <p14:sldId id="2147476581"/>
            <p14:sldId id="2147476582"/>
            <p14:sldId id="2147476583"/>
            <p14:sldId id="2147476584"/>
            <p14:sldId id="2147476585"/>
            <p14:sldId id="2147476586"/>
            <p14:sldId id="2147476587"/>
            <p14:sldId id="2147476588"/>
            <p14:sldId id="2147476589"/>
            <p14:sldId id="2147476590"/>
            <p14:sldId id="2147476591"/>
            <p14:sldId id="2147476592"/>
            <p14:sldId id="2147476593"/>
            <p14:sldId id="2147476594"/>
            <p14:sldId id="2147476595"/>
            <p14:sldId id="2147476596"/>
            <p14:sldId id="2147476597"/>
            <p14:sldId id="2147476598"/>
            <p14:sldId id="2147476599"/>
            <p14:sldId id="2147476600"/>
            <p14:sldId id="2147476601"/>
            <p14:sldId id="2147476602"/>
            <p14:sldId id="2147476603"/>
            <p14:sldId id="2147476604"/>
            <p14:sldId id="2147476605"/>
            <p14:sldId id="2147476606"/>
            <p14:sldId id="2147476607"/>
            <p14:sldId id="2147476608"/>
            <p14:sldId id="2147476609"/>
            <p14:sldId id="2147476610"/>
            <p14:sldId id="2147476611"/>
            <p14:sldId id="2147476612"/>
            <p14:sldId id="2147476613"/>
            <p14:sldId id="2147476614"/>
            <p14:sldId id="2147476615"/>
            <p14:sldId id="2147476616"/>
            <p14:sldId id="2147476617"/>
            <p14:sldId id="2147476618"/>
            <p14:sldId id="2147476619"/>
            <p14:sldId id="2147476620"/>
            <p14:sldId id="2147476621"/>
            <p14:sldId id="2147476622"/>
            <p14:sldId id="2147476623"/>
            <p14:sldId id="2147476624"/>
            <p14:sldId id="2147476625"/>
            <p14:sldId id="2147476626"/>
            <p14:sldId id="2147476627"/>
            <p14:sldId id="2147476628"/>
            <p14:sldId id="2147476629"/>
            <p14:sldId id="2147476630"/>
            <p14:sldId id="2147476631"/>
            <p14:sldId id="2147476632"/>
            <p14:sldId id="2147476633"/>
            <p14:sldId id="2147476634"/>
            <p14:sldId id="2147476635"/>
            <p14:sldId id="2147476636"/>
            <p14:sldId id="2147476637"/>
            <p14:sldId id="2147476638"/>
            <p14:sldId id="2147476639"/>
            <p14:sldId id="2147476640"/>
            <p14:sldId id="2147476641"/>
            <p14:sldId id="2147476642"/>
            <p14:sldId id="2147476643"/>
            <p14:sldId id="2147476644"/>
            <p14:sldId id="2147476645"/>
            <p14:sldId id="2147476646"/>
            <p14:sldId id="2147476647"/>
            <p14:sldId id="2147476648"/>
            <p14:sldId id="2147476649"/>
            <p14:sldId id="2147476650"/>
            <p14:sldId id="2147476651"/>
            <p14:sldId id="2147476652"/>
            <p14:sldId id="2147476653"/>
            <p14:sldId id="2147476654"/>
            <p14:sldId id="2147476655"/>
            <p14:sldId id="2147476656"/>
            <p14:sldId id="2147476657"/>
            <p14:sldId id="2147476658"/>
            <p14:sldId id="2147476659"/>
            <p14:sldId id="2147476660"/>
            <p14:sldId id="2147476661"/>
            <p14:sldId id="2147476662"/>
            <p14:sldId id="2147476663"/>
            <p14:sldId id="2147476664"/>
            <p14:sldId id="2147476665"/>
            <p14:sldId id="2147476666"/>
            <p14:sldId id="2147476667"/>
            <p14:sldId id="2147476668"/>
            <p14:sldId id="2147476669"/>
            <p14:sldId id="2147476670"/>
            <p14:sldId id="2147476671"/>
            <p14:sldId id="2147476672"/>
            <p14:sldId id="2147476673"/>
            <p14:sldId id="2147476674"/>
            <p14:sldId id="2147476675"/>
            <p14:sldId id="2147476676"/>
            <p14:sldId id="2147476677"/>
            <p14:sldId id="2147476678"/>
            <p14:sldId id="2147476679"/>
            <p14:sldId id="2147476680"/>
            <p14:sldId id="2147476681"/>
            <p14:sldId id="2147476682"/>
            <p14:sldId id="2147476683"/>
            <p14:sldId id="2147476684"/>
            <p14:sldId id="2147476685"/>
            <p14:sldId id="2147476686"/>
            <p14:sldId id="2147476687"/>
            <p14:sldId id="2147476688"/>
            <p14:sldId id="2147476689"/>
            <p14:sldId id="2147476690"/>
            <p14:sldId id="2147476691"/>
            <p14:sldId id="2147476692"/>
            <p14:sldId id="2147476693"/>
            <p14:sldId id="2147476694"/>
            <p14:sldId id="2147476695"/>
            <p14:sldId id="2147476696"/>
            <p14:sldId id="2147476697"/>
            <p14:sldId id="2147476698"/>
            <p14:sldId id="2147476699"/>
            <p14:sldId id="2147476700"/>
            <p14:sldId id="2147476701"/>
            <p14:sldId id="2147476702"/>
            <p14:sldId id="2147476703"/>
            <p14:sldId id="2147476704"/>
            <p14:sldId id="2147476705"/>
            <p14:sldId id="2147476706"/>
            <p14:sldId id="2147476707"/>
            <p14:sldId id="2147476708"/>
            <p14:sldId id="2147476709"/>
            <p14:sldId id="2147476710"/>
            <p14:sldId id="2147476711"/>
            <p14:sldId id="2147476712"/>
            <p14:sldId id="2147476713"/>
            <p14:sldId id="2147476714"/>
            <p14:sldId id="2147476715"/>
            <p14:sldId id="2147476716"/>
            <p14:sldId id="2147476717"/>
            <p14:sldId id="2147476718"/>
            <p14:sldId id="2147476719"/>
            <p14:sldId id="2147476720"/>
            <p14:sldId id="2147476721"/>
            <p14:sldId id="2147476722"/>
            <p14:sldId id="2147476723"/>
            <p14:sldId id="2147476724"/>
            <p14:sldId id="2147476725"/>
            <p14:sldId id="2147476726"/>
            <p14:sldId id="2147476727"/>
            <p14:sldId id="2147476728"/>
            <p14:sldId id="2147476729"/>
            <p14:sldId id="2147476730"/>
            <p14:sldId id="2147476731"/>
            <p14:sldId id="2147476732"/>
            <p14:sldId id="2147476733"/>
            <p14:sldId id="2147476734"/>
            <p14:sldId id="2147476735"/>
            <p14:sldId id="2147476736"/>
            <p14:sldId id="2147476737"/>
            <p14:sldId id="2147476738"/>
            <p14:sldId id="2147476739"/>
            <p14:sldId id="2147476740"/>
            <p14:sldId id="2147476741"/>
            <p14:sldId id="2147476742"/>
            <p14:sldId id="2147476743"/>
            <p14:sldId id="2147476744"/>
            <p14:sldId id="2147476745"/>
            <p14:sldId id="2147476746"/>
            <p14:sldId id="2147476747"/>
            <p14:sldId id="2147476748"/>
            <p14:sldId id="2147476749"/>
            <p14:sldId id="2147476750"/>
            <p14:sldId id="2147476751"/>
            <p14:sldId id="2147476752"/>
            <p14:sldId id="2147476753"/>
            <p14:sldId id="2147476754"/>
            <p14:sldId id="2147476755"/>
            <p14:sldId id="2147476756"/>
            <p14:sldId id="2147476757"/>
            <p14:sldId id="2147476758"/>
            <p14:sldId id="2147476759"/>
            <p14:sldId id="2147476760"/>
            <p14:sldId id="2147476761"/>
            <p14:sldId id="2147476762"/>
            <p14:sldId id="2147476763"/>
            <p14:sldId id="2147476764"/>
            <p14:sldId id="2147476765"/>
            <p14:sldId id="2147476766"/>
            <p14:sldId id="2147476767"/>
            <p14:sldId id="2147476768"/>
            <p14:sldId id="2147476769"/>
            <p14:sldId id="2147476770"/>
            <p14:sldId id="2147476771"/>
            <p14:sldId id="2147476772"/>
            <p14:sldId id="2147476773"/>
            <p14:sldId id="2147476774"/>
            <p14:sldId id="2147476775"/>
            <p14:sldId id="2147476776"/>
            <p14:sldId id="2147476777"/>
            <p14:sldId id="2147476778"/>
            <p14:sldId id="2147476779"/>
            <p14:sldId id="2147476780"/>
            <p14:sldId id="2147476781"/>
            <p14:sldId id="2147476782"/>
            <p14:sldId id="2147476783"/>
            <p14:sldId id="2147476784"/>
            <p14:sldId id="2147476785"/>
            <p14:sldId id="2147476786"/>
            <p14:sldId id="2147476787"/>
            <p14:sldId id="2147476788"/>
            <p14:sldId id="2147476789"/>
            <p14:sldId id="2147476790"/>
            <p14:sldId id="2147476791"/>
            <p14:sldId id="2147476792"/>
            <p14:sldId id="2147476793"/>
            <p14:sldId id="2147476794"/>
            <p14:sldId id="2147476795"/>
            <p14:sldId id="2147476796"/>
            <p14:sldId id="2147476797"/>
            <p14:sldId id="2147476798"/>
            <p14:sldId id="2147476799"/>
            <p14:sldId id="2147476800"/>
            <p14:sldId id="2147476801"/>
            <p14:sldId id="2147476802"/>
            <p14:sldId id="2147476803"/>
            <p14:sldId id="2147476804"/>
            <p14:sldId id="2147476805"/>
            <p14:sldId id="2147476806"/>
            <p14:sldId id="2147476807"/>
            <p14:sldId id="2147476808"/>
            <p14:sldId id="2147476809"/>
            <p14:sldId id="2147476810"/>
            <p14:sldId id="2147476811"/>
            <p14:sldId id="2147476812"/>
            <p14:sldId id="2147476813"/>
            <p14:sldId id="2147476814"/>
            <p14:sldId id="2147476815"/>
            <p14:sldId id="2147476816"/>
            <p14:sldId id="2147476817"/>
            <p14:sldId id="2147476818"/>
            <p14:sldId id="2147476819"/>
            <p14:sldId id="2147476820"/>
            <p14:sldId id="2147476821"/>
            <p14:sldId id="2147476822"/>
            <p14:sldId id="2147476823"/>
            <p14:sldId id="2147476824"/>
            <p14:sldId id="2147476825"/>
            <p14:sldId id="2147476826"/>
            <p14:sldId id="2147476827"/>
            <p14:sldId id="2147476828"/>
            <p14:sldId id="2147476829"/>
            <p14:sldId id="2147476830"/>
            <p14:sldId id="2147476831"/>
            <p14:sldId id="2147476832"/>
            <p14:sldId id="2147476833"/>
            <p14:sldId id="2147476834"/>
            <p14:sldId id="2147476835"/>
            <p14:sldId id="2147476836"/>
            <p14:sldId id="2147476837"/>
            <p14:sldId id="2147476838"/>
            <p14:sldId id="2147476839"/>
            <p14:sldId id="2147476840"/>
            <p14:sldId id="2147476841"/>
            <p14:sldId id="2147476842"/>
            <p14:sldId id="2147476843"/>
            <p14:sldId id="2147476844"/>
            <p14:sldId id="2147476845"/>
            <p14:sldId id="2147476846"/>
            <p14:sldId id="2147476847"/>
            <p14:sldId id="2147476848"/>
            <p14:sldId id="2147476849"/>
            <p14:sldId id="2147476850"/>
            <p14:sldId id="2147476851"/>
            <p14:sldId id="2147476852"/>
            <p14:sldId id="2147476853"/>
            <p14:sldId id="2147476854"/>
            <p14:sldId id="2147476855"/>
            <p14:sldId id="2147476856"/>
            <p14:sldId id="2147476857"/>
            <p14:sldId id="2147476858"/>
            <p14:sldId id="2147476859"/>
            <p14:sldId id="2147476860"/>
            <p14:sldId id="2147476861"/>
            <p14:sldId id="2147476862"/>
            <p14:sldId id="2147476863"/>
            <p14:sldId id="2147476864"/>
            <p14:sldId id="2147476865"/>
            <p14:sldId id="2147476866"/>
            <p14:sldId id="2147476867"/>
            <p14:sldId id="2147476868"/>
            <p14:sldId id="2147476869"/>
            <p14:sldId id="2147476870"/>
            <p14:sldId id="2147476871"/>
            <p14:sldId id="2147476872"/>
            <p14:sldId id="2147476873"/>
            <p14:sldId id="2147476874"/>
            <p14:sldId id="2147476875"/>
            <p14:sldId id="2147476876"/>
            <p14:sldId id="2147476877"/>
            <p14:sldId id="2147476878"/>
            <p14:sldId id="2147476879"/>
            <p14:sldId id="2147476880"/>
            <p14:sldId id="2147476881"/>
            <p14:sldId id="2147476882"/>
            <p14:sldId id="2147476883"/>
            <p14:sldId id="2147476884"/>
            <p14:sldId id="2147476885"/>
            <p14:sldId id="2147476886"/>
            <p14:sldId id="2147476887"/>
            <p14:sldId id="2147476888"/>
            <p14:sldId id="2147476889"/>
            <p14:sldId id="2147476890"/>
            <p14:sldId id="2147476891"/>
            <p14:sldId id="2147476892"/>
            <p14:sldId id="2147476893"/>
            <p14:sldId id="2147476894"/>
            <p14:sldId id="2147476895"/>
            <p14:sldId id="2147476896"/>
            <p14:sldId id="2147476897"/>
            <p14:sldId id="2147476898"/>
            <p14:sldId id="2147476899"/>
            <p14:sldId id="2147476900"/>
            <p14:sldId id="2147476901"/>
            <p14:sldId id="2147476902"/>
            <p14:sldId id="2147476903"/>
            <p14:sldId id="2147476904"/>
            <p14:sldId id="2147476905"/>
            <p14:sldId id="2147476906"/>
            <p14:sldId id="2147476907"/>
            <p14:sldId id="2147476908"/>
            <p14:sldId id="2147476909"/>
            <p14:sldId id="2147476910"/>
            <p14:sldId id="2147476911"/>
            <p14:sldId id="2147476912"/>
            <p14:sldId id="2147476913"/>
            <p14:sldId id="2147476914"/>
            <p14:sldId id="2147476915"/>
            <p14:sldId id="2147476916"/>
            <p14:sldId id="2147476917"/>
            <p14:sldId id="2147476918"/>
            <p14:sldId id="2147476919"/>
            <p14:sldId id="2147476920"/>
            <p14:sldId id="2147476921"/>
            <p14:sldId id="2147476922"/>
            <p14:sldId id="2147476923"/>
            <p14:sldId id="2147476924"/>
            <p14:sldId id="2147476925"/>
            <p14:sldId id="2147476926"/>
            <p14:sldId id="2147476927"/>
            <p14:sldId id="2147476928"/>
            <p14:sldId id="2147476929"/>
            <p14:sldId id="2147476930"/>
            <p14:sldId id="2147476931"/>
            <p14:sldId id="2147476932"/>
            <p14:sldId id="2147476933"/>
            <p14:sldId id="2147476934"/>
            <p14:sldId id="2147476935"/>
            <p14:sldId id="2147476936"/>
            <p14:sldId id="2147476937"/>
            <p14:sldId id="2147476938"/>
            <p14:sldId id="2147476939"/>
            <p14:sldId id="2147476940"/>
            <p14:sldId id="2147476941"/>
            <p14:sldId id="2147476942"/>
            <p14:sldId id="2147476943"/>
            <p14:sldId id="2147476944"/>
            <p14:sldId id="2147476945"/>
            <p14:sldId id="2147476946"/>
            <p14:sldId id="2147476947"/>
            <p14:sldId id="2147476948"/>
            <p14:sldId id="2147476949"/>
            <p14:sldId id="2147476950"/>
            <p14:sldId id="2147476951"/>
            <p14:sldId id="2147476952"/>
            <p14:sldId id="2147476953"/>
            <p14:sldId id="2147476954"/>
            <p14:sldId id="2147476955"/>
            <p14:sldId id="2147476956"/>
            <p14:sldId id="2147476957"/>
            <p14:sldId id="2147476958"/>
            <p14:sldId id="2147476959"/>
            <p14:sldId id="2147476960"/>
            <p14:sldId id="2147476961"/>
            <p14:sldId id="2147476962"/>
            <p14:sldId id="2147476963"/>
          </p14:sldIdLst>
        </p14:section>
        <p14:section name="Market Concentration By Sectors" id="{C9492557-93F1-4DAA-A983-6AAB374DBD97}">
          <p14:sldIdLst>
            <p14:sldId id="2147476964"/>
            <p14:sldId id="2147476965"/>
            <p14:sldId id="2147476966"/>
            <p14:sldId id="2147476967"/>
            <p14:sldId id="2147476968"/>
            <p14:sldId id="2147476969"/>
            <p14:sldId id="2147476970"/>
            <p14:sldId id="2147476971"/>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Lst>
        </p14:section>
        <p14:section name="Market Concentration By Segments" id="{387E703E-55B5-497D-B3A8-7110E744A32D}">
          <p14:sldIdLst>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 id="2147477021"/>
          </p14:sldIdLst>
        </p14:section>
        <p14:section name="Value Vs AvgPrice By Sectors" id="{61368756-19A3-4228-92E4-D499F6ECCF1F}">
          <p14:sldIdLst>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Lst>
        </p14:section>
        <p14:section name="Value Vs AvgPrice By Segments" id="{406907CC-6921-49E3-A4DD-659F1320E22D}">
          <p14:sldIdLst>
            <p14:sldId id="2147477080"/>
            <p14:sldId id="2147477081"/>
            <p14:sldId id="2147477082"/>
            <p14:sldId id="2147477083"/>
            <p14:sldId id="2147477084"/>
            <p14:sldId id="2147477085"/>
            <p14:sldId id="2147477086"/>
            <p14:sldId id="2147477087"/>
            <p14:sldId id="2147477088"/>
            <p14:sldId id="2147477089"/>
            <p14:sldId id="2147477090"/>
            <p14:sldId id="2147477091"/>
            <p14:sldId id="2147477092"/>
            <p14:sldId id="2147477093"/>
            <p14:sldId id="2147477094"/>
            <p14:sldId id="2147477095"/>
            <p14:sldId id="2147477096"/>
            <p14:sldId id="2147477097"/>
            <p14:sldId id="2147477098"/>
            <p14:sldId id="2147477099"/>
            <p14:sldId id="2147477100"/>
            <p14:sldId id="2147477101"/>
            <p14:sldId id="2147477102"/>
            <p14:sldId id="2147477103"/>
            <p14:sldId id="2147477104"/>
            <p14:sldId id="2147477105"/>
            <p14:sldId id="2147477106"/>
            <p14:sldId id="2147477107"/>
            <p14:sldId id="2147477108"/>
            <p14:sldId id="2147477109"/>
            <p14:sldId id="2147477110"/>
            <p14:sldId id="2147477111"/>
            <p14:sldId id="2147477112"/>
            <p14:sldId id="2147477113"/>
            <p14:sldId id="2147477114"/>
            <p14:sldId id="2147477115"/>
            <p14:sldId id="2147477116"/>
            <p14:sldId id="2147477117"/>
            <p14:sldId id="2147477118"/>
            <p14:sldId id="2147477119"/>
            <p14:sldId id="2147477120"/>
            <p14:sldId id="2147477121"/>
            <p14:sldId id="2147477122"/>
            <p14:sldId id="2147477123"/>
            <p14:sldId id="2147477124"/>
            <p14:sldId id="2147477125"/>
            <p14:sldId id="2147477126"/>
            <p14:sldId id="2147477127"/>
            <p14:sldId id="2147477128"/>
            <p14:sldId id="2147477129"/>
            <p14:sldId id="2147477130"/>
            <p14:sldId id="2147477131"/>
            <p14:sldId id="2147477132"/>
            <p14:sldId id="2147477133"/>
            <p14:sldId id="2147477134"/>
            <p14:sldId id="2147477135"/>
            <p14:sldId id="2147477136"/>
            <p14:sldId id="2147477137"/>
          </p14:sldIdLst>
        </p14:section>
        <p14:section name="Value Vs AvgPrice By Channel For Region" id="{8D0A034F-C48B-438F-BAE4-E4E9A1EE9BA5}">
          <p14:sldIdLst>
            <p14:sldId id="2147477138"/>
            <p14:sldId id="2147477139"/>
            <p14:sldId id="2147477140"/>
            <p14:sldId id="2147477141"/>
            <p14:sldId id="2147477142"/>
            <p14:sldId id="2147477143"/>
            <p14:sldId id="2147477144"/>
            <p14:sldId id="2147477145"/>
            <p14:sldId id="2147477146"/>
            <p14:sldId id="2147477147"/>
            <p14:sldId id="2147477148"/>
            <p14:sldId id="2147477149"/>
          </p14:sldIdLst>
        </p14:section>
        <p14:section name="Value Vs AvgPrice By Channel For Channel" id="{F5C5F80F-833E-4B6A-B11D-D00F29A5D1C3}">
          <p14:sldIdLst>
            <p14:sldId id="2147477150"/>
            <p14:sldId id="2147477151"/>
            <p14:sldId id="2147477152"/>
            <p14:sldId id="2147477153"/>
            <p14:sldId id="2147477154"/>
            <p14:sldId id="2147477155"/>
            <p14:sldId id="2147477156"/>
            <p14:sldId id="2147477157"/>
            <p14:sldId id="2147477158"/>
            <p14:sldId id="2147477159"/>
            <p14:sldId id="2147477160"/>
            <p14:sldId id="2147477161"/>
          </p14:sldIdLst>
        </p14:section>
        <p14:section name="Value Vs AvgPrice By Region For Channel" id="{12EFC083-F696-4DB5-96BC-DFB068F28D96}">
          <p14:sldIdLst>
            <p14:sldId id="2147477162"/>
            <p14:sldId id="2147477163"/>
            <p14:sldId id="2147477164"/>
            <p14:sldId id="2147477165"/>
            <p14:sldId id="2147477166"/>
            <p14:sldId id="2147477167"/>
            <p14:sldId id="2147477168"/>
            <p14:sldId id="2147477169"/>
            <p14:sldId id="2147477170"/>
            <p14:sldId id="2147477171"/>
            <p14:sldId id="2147477172"/>
            <p14:sldId id="2147477173"/>
          </p14:sldIdLst>
        </p14:section>
        <p14:section name="Value Vs AvgPrice By REVENUE For Channel" id="{F82157B9-249E-4276-9A10-179D90155FE7}">
          <p14:sldIdLst>
            <p14:sldId id="2147477174"/>
            <p14:sldId id="2147477175"/>
            <p14:sldId id="2147477176"/>
            <p14:sldId id="2147477177"/>
            <p14:sldId id="2147477178"/>
            <p14:sldId id="2147477179"/>
            <p14:sldId id="2147477180"/>
            <p14:sldId id="2147477181"/>
            <p14:sldId id="2147477182"/>
            <p14:sldId id="2147477183"/>
            <p14:sldId id="2147477184"/>
            <p14:sldId id="214747718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slide" Target="slides/slide938.xml"/><Relationship Id="rId943" Type="http://schemas.openxmlformats.org/officeDocument/2006/relationships/slide" Target="slides/slide939.xml"/><Relationship Id="rId944" Type="http://schemas.openxmlformats.org/officeDocument/2006/relationships/slide" Target="slides/slide940.xml"/><Relationship Id="rId945" Type="http://schemas.openxmlformats.org/officeDocument/2006/relationships/slide" Target="slides/slide941.xml"/><Relationship Id="rId946" Type="http://schemas.openxmlformats.org/officeDocument/2006/relationships/slide" Target="slides/slide942.xml"/><Relationship Id="rId947" Type="http://schemas.openxmlformats.org/officeDocument/2006/relationships/slide" Target="slides/slide943.xml"/><Relationship Id="rId948" Type="http://schemas.openxmlformats.org/officeDocument/2006/relationships/slide" Target="slides/slide944.xml"/><Relationship Id="rId949" Type="http://schemas.openxmlformats.org/officeDocument/2006/relationships/slide" Target="slides/slide945.xml"/><Relationship Id="rId950" Type="http://schemas.openxmlformats.org/officeDocument/2006/relationships/slide" Target="slides/slide946.xml"/><Relationship Id="rId951" Type="http://schemas.openxmlformats.org/officeDocument/2006/relationships/slide" Target="slides/slide947.xml"/><Relationship Id="rId952" Type="http://schemas.openxmlformats.org/officeDocument/2006/relationships/slide" Target="slides/slide948.xml"/><Relationship Id="rId953" Type="http://schemas.openxmlformats.org/officeDocument/2006/relationships/slide" Target="slides/slide949.xml"/><Relationship Id="rId954" Type="http://schemas.openxmlformats.org/officeDocument/2006/relationships/slide" Target="slides/slide950.xml"/><Relationship Id="rId955" Type="http://schemas.openxmlformats.org/officeDocument/2006/relationships/slide" Target="slides/slide951.xml"/><Relationship Id="rId956" Type="http://schemas.openxmlformats.org/officeDocument/2006/relationships/slide" Target="slides/slide952.xml"/><Relationship Id="rId957" Type="http://schemas.openxmlformats.org/officeDocument/2006/relationships/slide" Target="slides/slide953.xml"/><Relationship Id="rId958" Type="http://schemas.openxmlformats.org/officeDocument/2006/relationships/slide" Target="slides/slide954.xml"/><Relationship Id="rId959" Type="http://schemas.openxmlformats.org/officeDocument/2006/relationships/slide" Target="slides/slide955.xml"/><Relationship Id="rId960" Type="http://schemas.openxmlformats.org/officeDocument/2006/relationships/slide" Target="slides/slide956.xml"/><Relationship Id="rId961" Type="http://schemas.openxmlformats.org/officeDocument/2006/relationships/slide" Target="slides/slide957.xml"/><Relationship Id="rId962" Type="http://schemas.openxmlformats.org/officeDocument/2006/relationships/slide" Target="slides/slide958.xml"/><Relationship Id="rId963" Type="http://schemas.openxmlformats.org/officeDocument/2006/relationships/slide" Target="slides/slide959.xml"/><Relationship Id="rId964" Type="http://schemas.openxmlformats.org/officeDocument/2006/relationships/slide" Target="slides/slide960.xml"/><Relationship Id="rId965" Type="http://schemas.openxmlformats.org/officeDocument/2006/relationships/slide" Target="slides/slide961.xml"/><Relationship Id="rId966" Type="http://schemas.openxmlformats.org/officeDocument/2006/relationships/slide" Target="slides/slide962.xml"/><Relationship Id="rId967" Type="http://schemas.openxmlformats.org/officeDocument/2006/relationships/slide" Target="slides/slide963.xml"/><Relationship Id="rId968" Type="http://schemas.openxmlformats.org/officeDocument/2006/relationships/slide" Target="slides/slide964.xml"/><Relationship Id="rId969" Type="http://schemas.openxmlformats.org/officeDocument/2006/relationships/slide" Target="slides/slide965.xml"/><Relationship Id="rId970" Type="http://schemas.openxmlformats.org/officeDocument/2006/relationships/slide" Target="slides/slide966.xml"/><Relationship Id="rId971" Type="http://schemas.openxmlformats.org/officeDocument/2006/relationships/slide" Target="slides/slide967.xml"/><Relationship Id="rId972" Type="http://schemas.openxmlformats.org/officeDocument/2006/relationships/slide" Target="slides/slide968.xml"/><Relationship Id="rId973" Type="http://schemas.openxmlformats.org/officeDocument/2006/relationships/slide" Target="slides/slide969.xml"/><Relationship Id="rId974" Type="http://schemas.openxmlformats.org/officeDocument/2006/relationships/slide" Target="slides/slide970.xml"/><Relationship Id="rId975" Type="http://schemas.openxmlformats.org/officeDocument/2006/relationships/slide" Target="slides/slide971.xml"/><Relationship Id="rId976" Type="http://schemas.openxmlformats.org/officeDocument/2006/relationships/slide" Target="slides/slide972.xml"/><Relationship Id="rId977" Type="http://schemas.openxmlformats.org/officeDocument/2006/relationships/slide" Target="slides/slide973.xml"/><Relationship Id="rId978" Type="http://schemas.openxmlformats.org/officeDocument/2006/relationships/slide" Target="slides/slide974.xml"/><Relationship Id="rId979" Type="http://schemas.openxmlformats.org/officeDocument/2006/relationships/slide" Target="slides/slide975.xml"/><Relationship Id="rId980" Type="http://schemas.openxmlformats.org/officeDocument/2006/relationships/slide" Target="slides/slide976.xml"/><Relationship Id="rId981" Type="http://schemas.openxmlformats.org/officeDocument/2006/relationships/slide" Target="slides/slide977.xml"/><Relationship Id="rId982" Type="http://schemas.openxmlformats.org/officeDocument/2006/relationships/slide" Target="slides/slide978.xml"/><Relationship Id="rId983" Type="http://schemas.openxmlformats.org/officeDocument/2006/relationships/slide" Target="slides/slide979.xml"/><Relationship Id="rId984" Type="http://schemas.openxmlformats.org/officeDocument/2006/relationships/slide" Target="slides/slide980.xml"/><Relationship Id="rId985" Type="http://schemas.openxmlformats.org/officeDocument/2006/relationships/slide" Target="slides/slide981.xml"/><Relationship Id="rId986" Type="http://schemas.openxmlformats.org/officeDocument/2006/relationships/slide" Target="slides/slide982.xml"/><Relationship Id="rId987" Type="http://schemas.openxmlformats.org/officeDocument/2006/relationships/slide" Target="slides/slide983.xml"/><Relationship Id="rId988" Type="http://schemas.openxmlformats.org/officeDocument/2006/relationships/slide" Target="slides/slide984.xml"/><Relationship Id="rId989" Type="http://schemas.openxmlformats.org/officeDocument/2006/relationships/slide" Target="slides/slide985.xml"/><Relationship Id="rId990" Type="http://schemas.openxmlformats.org/officeDocument/2006/relationships/slide" Target="slides/slide986.xml"/><Relationship Id="rId991" Type="http://schemas.openxmlformats.org/officeDocument/2006/relationships/slide" Target="slides/slide987.xml"/><Relationship Id="rId992" Type="http://schemas.openxmlformats.org/officeDocument/2006/relationships/slide" Target="slides/slide988.xml"/><Relationship Id="rId993" Type="http://schemas.openxmlformats.org/officeDocument/2006/relationships/slide" Target="slides/slide989.xml"/><Relationship Id="rId994" Type="http://schemas.openxmlformats.org/officeDocument/2006/relationships/slide" Target="slides/slide990.xml"/><Relationship Id="rId995" Type="http://schemas.openxmlformats.org/officeDocument/2006/relationships/slide" Target="slides/slide991.xml"/><Relationship Id="rId996" Type="http://schemas.openxmlformats.org/officeDocument/2006/relationships/slide" Target="slides/slide992.xml"/><Relationship Id="rId997" Type="http://schemas.openxmlformats.org/officeDocument/2006/relationships/slide" Target="slides/slide993.xml"/><Relationship Id="rId998" Type="http://schemas.openxmlformats.org/officeDocument/2006/relationships/slide" Target="slides/slide994.xml"/><Relationship Id="rId999" Type="http://schemas.openxmlformats.org/officeDocument/2006/relationships/slide" Target="slides/slide995.xml"/><Relationship Id="rId1000" Type="http://schemas.openxmlformats.org/officeDocument/2006/relationships/slide" Target="slides/slide996.xml"/><Relationship Id="rId1001" Type="http://schemas.openxmlformats.org/officeDocument/2006/relationships/slide" Target="slides/slide997.xml"/><Relationship Id="rId1002" Type="http://schemas.openxmlformats.org/officeDocument/2006/relationships/slide" Target="slides/slide998.xml"/><Relationship Id="rId1003" Type="http://schemas.openxmlformats.org/officeDocument/2006/relationships/slide" Target="slides/slide999.xml"/><Relationship Id="rId1004" Type="http://schemas.openxmlformats.org/officeDocument/2006/relationships/slide" Target="slides/slide1000.xml"/><Relationship Id="rId1005" Type="http://schemas.openxmlformats.org/officeDocument/2006/relationships/slide" Target="slides/slide1001.xml"/><Relationship Id="rId1006" Type="http://schemas.openxmlformats.org/officeDocument/2006/relationships/slide" Target="slides/slide1002.xml"/><Relationship Id="rId1007" Type="http://schemas.openxmlformats.org/officeDocument/2006/relationships/slide" Target="slides/slide1003.xml"/><Relationship Id="rId1008" Type="http://schemas.openxmlformats.org/officeDocument/2006/relationships/slide" Target="slides/slide1004.xml"/><Relationship Id="rId1009" Type="http://schemas.openxmlformats.org/officeDocument/2006/relationships/slide" Target="slides/slide1005.xml"/><Relationship Id="rId1010" Type="http://schemas.openxmlformats.org/officeDocument/2006/relationships/slide" Target="slides/slide1006.xml"/><Relationship Id="rId1011" Type="http://schemas.openxmlformats.org/officeDocument/2006/relationships/slide" Target="slides/slide1007.xml"/><Relationship Id="rId1012" Type="http://schemas.openxmlformats.org/officeDocument/2006/relationships/slide" Target="slides/slide1008.xml"/><Relationship Id="rId1013" Type="http://schemas.openxmlformats.org/officeDocument/2006/relationships/slide" Target="slides/slide1009.xml"/><Relationship Id="rId1014" Type="http://schemas.openxmlformats.org/officeDocument/2006/relationships/slide" Target="slides/slide1010.xml"/><Relationship Id="rId1015" Type="http://schemas.openxmlformats.org/officeDocument/2006/relationships/slide" Target="slides/slide1011.xml"/><Relationship Id="rId1016" Type="http://schemas.openxmlformats.org/officeDocument/2006/relationships/slide" Target="slides/slide1012.xml"/><Relationship Id="rId1017" Type="http://schemas.openxmlformats.org/officeDocument/2006/relationships/slide" Target="slides/slide1013.xml"/><Relationship Id="rId1018" Type="http://schemas.openxmlformats.org/officeDocument/2006/relationships/slide" Target="slides/slide1014.xml"/><Relationship Id="rId1019" Type="http://schemas.openxmlformats.org/officeDocument/2006/relationships/slide" Target="slides/slide1015.xml"/><Relationship Id="rId1020" Type="http://schemas.openxmlformats.org/officeDocument/2006/relationships/slide" Target="slides/slide1016.xml"/><Relationship Id="rId1021" Type="http://schemas.openxmlformats.org/officeDocument/2006/relationships/slide" Target="slides/slide1017.xml"/><Relationship Id="rId1022" Type="http://schemas.openxmlformats.org/officeDocument/2006/relationships/slide" Target="slides/slide1018.xml"/><Relationship Id="rId1023" Type="http://schemas.openxmlformats.org/officeDocument/2006/relationships/slide" Target="slides/slide1019.xml"/><Relationship Id="rId1024" Type="http://schemas.openxmlformats.org/officeDocument/2006/relationships/slide" Target="slides/slide1020.xml"/><Relationship Id="rId1025" Type="http://schemas.openxmlformats.org/officeDocument/2006/relationships/slide" Target="slides/slide1021.xml"/><Relationship Id="rId1026" Type="http://schemas.openxmlformats.org/officeDocument/2006/relationships/slide" Target="slides/slide1022.xml"/><Relationship Id="rId1027" Type="http://schemas.openxmlformats.org/officeDocument/2006/relationships/slide" Target="slides/slide1023.xml"/><Relationship Id="rId1028" Type="http://schemas.openxmlformats.org/officeDocument/2006/relationships/slide" Target="slides/slide1024.xml"/><Relationship Id="rId1029" Type="http://schemas.openxmlformats.org/officeDocument/2006/relationships/slide" Target="slides/slide1025.xml"/><Relationship Id="rId1030" Type="http://schemas.openxmlformats.org/officeDocument/2006/relationships/slide" Target="slides/slide1026.xml"/><Relationship Id="rId1031" Type="http://schemas.openxmlformats.org/officeDocument/2006/relationships/slide" Target="slides/slide1027.xml"/><Relationship Id="rId1032" Type="http://schemas.openxmlformats.org/officeDocument/2006/relationships/slide" Target="slides/slide1028.xml"/><Relationship Id="rId1033" Type="http://schemas.openxmlformats.org/officeDocument/2006/relationships/slide" Target="slides/slide1029.xml"/><Relationship Id="rId1034" Type="http://schemas.openxmlformats.org/officeDocument/2006/relationships/slide" Target="slides/slide1030.xml"/><Relationship Id="rId1035" Type="http://schemas.openxmlformats.org/officeDocument/2006/relationships/slide" Target="slides/slide1031.xml"/><Relationship Id="rId1036" Type="http://schemas.openxmlformats.org/officeDocument/2006/relationships/slide" Target="slides/slide1032.xml"/><Relationship Id="rId1037" Type="http://schemas.openxmlformats.org/officeDocument/2006/relationships/slide" Target="slides/slide1033.xml"/><Relationship Id="rId1038" Type="http://schemas.openxmlformats.org/officeDocument/2006/relationships/slide" Target="slides/slide1034.xml"/><Relationship Id="rId1039" Type="http://schemas.openxmlformats.org/officeDocument/2006/relationships/slide" Target="slides/slide1035.xml"/><Relationship Id="rId1040" Type="http://schemas.openxmlformats.org/officeDocument/2006/relationships/slide" Target="slides/slide1036.xml"/><Relationship Id="rId1041" Type="http://schemas.openxmlformats.org/officeDocument/2006/relationships/slide" Target="slides/slide1037.xml"/><Relationship Id="rId1042" Type="http://schemas.openxmlformats.org/officeDocument/2006/relationships/slide" Target="slides/slide1038.xml"/><Relationship Id="rId1043" Type="http://schemas.openxmlformats.org/officeDocument/2006/relationships/slide" Target="slides/slide1039.xml"/><Relationship Id="rId1044" Type="http://schemas.openxmlformats.org/officeDocument/2006/relationships/slide" Target="slides/slide1040.xml"/><Relationship Id="rId1045" Type="http://schemas.openxmlformats.org/officeDocument/2006/relationships/slide" Target="slides/slide1041.xml"/><Relationship Id="rId1046" Type="http://schemas.openxmlformats.org/officeDocument/2006/relationships/slide" Target="slides/slide1042.xml"/><Relationship Id="rId1047" Type="http://schemas.openxmlformats.org/officeDocument/2006/relationships/slide" Target="slides/slide1043.xml"/><Relationship Id="rId1048" Type="http://schemas.openxmlformats.org/officeDocument/2006/relationships/slide" Target="slides/slide1044.xml"/><Relationship Id="rId1049" Type="http://schemas.openxmlformats.org/officeDocument/2006/relationships/slide" Target="slides/slide1045.xml"/><Relationship Id="rId1050" Type="http://schemas.openxmlformats.org/officeDocument/2006/relationships/slide" Target="slides/slide1046.xml"/><Relationship Id="rId1051" Type="http://schemas.openxmlformats.org/officeDocument/2006/relationships/slide" Target="slides/slide1047.xml"/><Relationship Id="rId1052" Type="http://schemas.openxmlformats.org/officeDocument/2006/relationships/slide" Target="slides/slide1048.xml"/><Relationship Id="rId1053" Type="http://schemas.openxmlformats.org/officeDocument/2006/relationships/slide" Target="slides/slide1049.xml"/><Relationship Id="rId1054" Type="http://schemas.openxmlformats.org/officeDocument/2006/relationships/slide" Target="slides/slide1050.xml"/><Relationship Id="rId1055" Type="http://schemas.openxmlformats.org/officeDocument/2006/relationships/slide" Target="slides/slide1051.xml"/><Relationship Id="rId1056" Type="http://schemas.openxmlformats.org/officeDocument/2006/relationships/slide" Target="slides/slide1052.xml"/><Relationship Id="rId1057" Type="http://schemas.openxmlformats.org/officeDocument/2006/relationships/slide" Target="slides/slide1053.xml"/><Relationship Id="rId1058" Type="http://schemas.openxmlformats.org/officeDocument/2006/relationships/slide" Target="slides/slide1054.xml"/><Relationship Id="rId1059" Type="http://schemas.openxmlformats.org/officeDocument/2006/relationships/slide" Target="slides/slide1055.xml"/><Relationship Id="rId1060" Type="http://schemas.openxmlformats.org/officeDocument/2006/relationships/slide" Target="slides/slide1056.xml"/><Relationship Id="rId1061" Type="http://schemas.openxmlformats.org/officeDocument/2006/relationships/slide" Target="slides/slide1057.xml"/><Relationship Id="rId1062" Type="http://schemas.openxmlformats.org/officeDocument/2006/relationships/slide" Target="slides/slide1058.xml"/><Relationship Id="rId1063" Type="http://schemas.openxmlformats.org/officeDocument/2006/relationships/slide" Target="slides/slide1059.xml"/><Relationship Id="rId1064" Type="http://schemas.openxmlformats.org/officeDocument/2006/relationships/slide" Target="slides/slide1060.xml"/><Relationship Id="rId1065" Type="http://schemas.openxmlformats.org/officeDocument/2006/relationships/slide" Target="slides/slide1061.xml"/><Relationship Id="rId1066" Type="http://schemas.openxmlformats.org/officeDocument/2006/relationships/slide" Target="slides/slide1062.xml"/><Relationship Id="rId1067" Type="http://schemas.openxmlformats.org/officeDocument/2006/relationships/slide" Target="slides/slide1063.xml"/><Relationship Id="rId1068" Type="http://schemas.openxmlformats.org/officeDocument/2006/relationships/slide" Target="slides/slide1064.xml"/><Relationship Id="rId1069" Type="http://schemas.openxmlformats.org/officeDocument/2006/relationships/slide" Target="slides/slide1065.xml"/><Relationship Id="rId1070" Type="http://schemas.openxmlformats.org/officeDocument/2006/relationships/slide" Target="slides/slide1066.xml"/><Relationship Id="rId1071" Type="http://schemas.openxmlformats.org/officeDocument/2006/relationships/slide" Target="slides/slide1067.xml"/><Relationship Id="rId1072" Type="http://schemas.openxmlformats.org/officeDocument/2006/relationships/slide" Target="slides/slide1068.xml"/><Relationship Id="rId1073" Type="http://schemas.openxmlformats.org/officeDocument/2006/relationships/slide" Target="slides/slide1069.xml"/><Relationship Id="rId1074" Type="http://schemas.openxmlformats.org/officeDocument/2006/relationships/slide" Target="slides/slide1070.xml"/><Relationship Id="rId1075" Type="http://schemas.openxmlformats.org/officeDocument/2006/relationships/slide" Target="slides/slide1071.xml"/><Relationship Id="rId1076" Type="http://schemas.openxmlformats.org/officeDocument/2006/relationships/slide" Target="slides/slide1072.xml"/><Relationship Id="rId1077" Type="http://schemas.openxmlformats.org/officeDocument/2006/relationships/slide" Target="slides/slide1073.xml"/><Relationship Id="rId1078" Type="http://schemas.openxmlformats.org/officeDocument/2006/relationships/slide" Target="slides/slide1074.xml"/><Relationship Id="rId1079" Type="http://schemas.openxmlformats.org/officeDocument/2006/relationships/slide" Target="slides/slide1075.xml"/><Relationship Id="rId1080" Type="http://schemas.openxmlformats.org/officeDocument/2006/relationships/slide" Target="slides/slide1076.xml"/><Relationship Id="rId1081" Type="http://schemas.openxmlformats.org/officeDocument/2006/relationships/slide" Target="slides/slide1077.xml"/><Relationship Id="rId1082" Type="http://schemas.openxmlformats.org/officeDocument/2006/relationships/slide" Target="slides/slide1078.xml"/><Relationship Id="rId1083" Type="http://schemas.openxmlformats.org/officeDocument/2006/relationships/slide" Target="slides/slide1079.xml"/><Relationship Id="rId1084" Type="http://schemas.openxmlformats.org/officeDocument/2006/relationships/slide" Target="slides/slide1080.xml"/><Relationship Id="rId1085" Type="http://schemas.openxmlformats.org/officeDocument/2006/relationships/slide" Target="slides/slide1081.xml"/><Relationship Id="rId1086" Type="http://schemas.openxmlformats.org/officeDocument/2006/relationships/slide" Target="slides/slide1082.xml"/><Relationship Id="rId1087" Type="http://schemas.openxmlformats.org/officeDocument/2006/relationships/slide" Target="slides/slide1083.xml"/><Relationship Id="rId1088" Type="http://schemas.openxmlformats.org/officeDocument/2006/relationships/slide" Target="slides/slide1084.xml"/><Relationship Id="rId1089" Type="http://schemas.openxmlformats.org/officeDocument/2006/relationships/slide" Target="slides/slide1085.xml"/><Relationship Id="rId1090" Type="http://schemas.openxmlformats.org/officeDocument/2006/relationships/slide" Target="slides/slide1086.xml"/><Relationship Id="rId1091" Type="http://schemas.openxmlformats.org/officeDocument/2006/relationships/slide" Target="slides/slide1087.xml"/><Relationship Id="rId1092" Type="http://schemas.openxmlformats.org/officeDocument/2006/relationships/slide" Target="slides/slide1088.xml"/><Relationship Id="rId1093" Type="http://schemas.openxmlformats.org/officeDocument/2006/relationships/slide" Target="slides/slide1089.xml"/><Relationship Id="rId1094" Type="http://schemas.openxmlformats.org/officeDocument/2006/relationships/slide" Target="slides/slide1090.xml"/><Relationship Id="rId1095" Type="http://schemas.openxmlformats.org/officeDocument/2006/relationships/slide" Target="slides/slide1091.xml"/><Relationship Id="rId1096" Type="http://schemas.openxmlformats.org/officeDocument/2006/relationships/slide" Target="slides/slide1092.xml"/><Relationship Id="rId1097" Type="http://schemas.openxmlformats.org/officeDocument/2006/relationships/slide" Target="slides/slide1093.xml"/><Relationship Id="rId1098" Type="http://schemas.openxmlformats.org/officeDocument/2006/relationships/slide" Target="slides/slide1094.xml"/><Relationship Id="rId1099" Type="http://schemas.openxmlformats.org/officeDocument/2006/relationships/slide" Target="slides/slide1095.xml"/><Relationship Id="rId1100" Type="http://schemas.openxmlformats.org/officeDocument/2006/relationships/slide" Target="slides/slide1096.xml"/><Relationship Id="rId1101" Type="http://schemas.openxmlformats.org/officeDocument/2006/relationships/slide" Target="slides/slide1097.xml"/><Relationship Id="rId1102" Type="http://schemas.openxmlformats.org/officeDocument/2006/relationships/slide" Target="slides/slide1098.xml"/><Relationship Id="rId1103" Type="http://schemas.openxmlformats.org/officeDocument/2006/relationships/slide" Target="slides/slide1099.xml"/><Relationship Id="rId1104" Type="http://schemas.openxmlformats.org/officeDocument/2006/relationships/slide" Target="slides/slide1100.xml"/><Relationship Id="rId1105" Type="http://schemas.openxmlformats.org/officeDocument/2006/relationships/slide" Target="slides/slide1101.xml"/><Relationship Id="rId1106" Type="http://schemas.openxmlformats.org/officeDocument/2006/relationships/slide" Target="slides/slide1102.xml"/><Relationship Id="rId1107" Type="http://schemas.openxmlformats.org/officeDocument/2006/relationships/slide" Target="slides/slide1103.xml"/><Relationship Id="rId1108" Type="http://schemas.openxmlformats.org/officeDocument/2006/relationships/slide" Target="slides/slide1104.xml"/><Relationship Id="rId1109" Type="http://schemas.openxmlformats.org/officeDocument/2006/relationships/slide" Target="slides/slide1105.xml"/><Relationship Id="rId1110" Type="http://schemas.openxmlformats.org/officeDocument/2006/relationships/slide" Target="slides/slide1106.xml"/><Relationship Id="rId1111" Type="http://schemas.openxmlformats.org/officeDocument/2006/relationships/slide" Target="slides/slide1107.xml"/><Relationship Id="rId1112" Type="http://schemas.openxmlformats.org/officeDocument/2006/relationships/slide" Target="slides/slide1108.xml"/><Relationship Id="rId1113" Type="http://schemas.openxmlformats.org/officeDocument/2006/relationships/slide" Target="slides/slide1109.xml"/><Relationship Id="rId1114" Type="http://schemas.openxmlformats.org/officeDocument/2006/relationships/slide" Target="slides/slide1110.xml"/><Relationship Id="rId1115" Type="http://schemas.openxmlformats.org/officeDocument/2006/relationships/slide" Target="slides/slide1111.xml"/><Relationship Id="rId1116" Type="http://schemas.openxmlformats.org/officeDocument/2006/relationships/slide" Target="slides/slide1112.xml"/><Relationship Id="rId1117" Type="http://schemas.openxmlformats.org/officeDocument/2006/relationships/slide" Target="slides/slide1113.xml"/><Relationship Id="rId1118" Type="http://schemas.openxmlformats.org/officeDocument/2006/relationships/slide" Target="slides/slide1114.xml"/><Relationship Id="rId1119" Type="http://schemas.openxmlformats.org/officeDocument/2006/relationships/slide" Target="slides/slide1115.xml"/><Relationship Id="rId1120" Type="http://schemas.openxmlformats.org/officeDocument/2006/relationships/slide" Target="slides/slide1116.xml"/><Relationship Id="rId1121" Type="http://schemas.openxmlformats.org/officeDocument/2006/relationships/slide" Target="slides/slide1117.xml"/><Relationship Id="rId1122" Type="http://schemas.openxmlformats.org/officeDocument/2006/relationships/slide" Target="slides/slide1118.xml"/><Relationship Id="rId1123" Type="http://schemas.openxmlformats.org/officeDocument/2006/relationships/slide" Target="slides/slide1119.xml"/><Relationship Id="rId1124" Type="http://schemas.openxmlformats.org/officeDocument/2006/relationships/slide" Target="slides/slide1120.xml"/><Relationship Id="rId1125" Type="http://schemas.openxmlformats.org/officeDocument/2006/relationships/slide" Target="slides/slide1121.xml"/><Relationship Id="rId1126" Type="http://schemas.openxmlformats.org/officeDocument/2006/relationships/slide" Target="slides/slide1122.xml"/><Relationship Id="rId1127" Type="http://schemas.openxmlformats.org/officeDocument/2006/relationships/slide" Target="slides/slide1123.xml"/><Relationship Id="rId1128" Type="http://schemas.openxmlformats.org/officeDocument/2006/relationships/slide" Target="slides/slide1124.xml"/><Relationship Id="rId1129" Type="http://schemas.openxmlformats.org/officeDocument/2006/relationships/slide" Target="slides/slide1125.xml"/><Relationship Id="rId1130" Type="http://schemas.openxmlformats.org/officeDocument/2006/relationships/slide" Target="slides/slide1126.xml"/><Relationship Id="rId1131" Type="http://schemas.openxmlformats.org/officeDocument/2006/relationships/slide" Target="slides/slide1127.xml"/><Relationship Id="rId1132" Type="http://schemas.openxmlformats.org/officeDocument/2006/relationships/slide" Target="slides/slide1128.xml"/><Relationship Id="rId1133" Type="http://schemas.openxmlformats.org/officeDocument/2006/relationships/slide" Target="slides/slide1129.xml"/><Relationship Id="rId1134" Type="http://schemas.openxmlformats.org/officeDocument/2006/relationships/slide" Target="slides/slide1130.xml"/><Relationship Id="rId1135" Type="http://schemas.openxmlformats.org/officeDocument/2006/relationships/slide" Target="slides/slide1131.xml"/><Relationship Id="rId1136" Type="http://schemas.openxmlformats.org/officeDocument/2006/relationships/slide" Target="slides/slide1132.xml"/><Relationship Id="rId1137" Type="http://schemas.openxmlformats.org/officeDocument/2006/relationships/slide" Target="slides/slide1133.xml"/><Relationship Id="rId1138" Type="http://schemas.openxmlformats.org/officeDocument/2006/relationships/slide" Target="slides/slide1134.xml"/><Relationship Id="rId1139" Type="http://schemas.openxmlformats.org/officeDocument/2006/relationships/slide" Target="slides/slide1135.xml"/><Relationship Id="rId1140" Type="http://schemas.openxmlformats.org/officeDocument/2006/relationships/slide" Target="slides/slide1136.xml"/><Relationship Id="rId1141" Type="http://schemas.openxmlformats.org/officeDocument/2006/relationships/slide" Target="slides/slide1137.xml"/><Relationship Id="rId1142" Type="http://schemas.openxmlformats.org/officeDocument/2006/relationships/slide" Target="slides/slide1138.xml"/><Relationship Id="rId1143" Type="http://schemas.openxmlformats.org/officeDocument/2006/relationships/slide" Target="slides/slide1139.xml"/><Relationship Id="rId1144" Type="http://schemas.openxmlformats.org/officeDocument/2006/relationships/slide" Target="slides/slide1140.xml"/><Relationship Id="rId1145" Type="http://schemas.openxmlformats.org/officeDocument/2006/relationships/slide" Target="slides/slide1141.xml"/><Relationship Id="rId1146" Type="http://schemas.openxmlformats.org/officeDocument/2006/relationships/slide" Target="slides/slide1142.xml"/><Relationship Id="rId1147" Type="http://schemas.openxmlformats.org/officeDocument/2006/relationships/slide" Target="slides/slide1143.xml"/><Relationship Id="rId1148" Type="http://schemas.openxmlformats.org/officeDocument/2006/relationships/slide" Target="slides/slide1144.xml"/><Relationship Id="rId1149" Type="http://schemas.openxmlformats.org/officeDocument/2006/relationships/slide" Target="slides/slide1145.xml"/><Relationship Id="rId1150" Type="http://schemas.openxmlformats.org/officeDocument/2006/relationships/slide" Target="slides/slide1146.xml"/><Relationship Id="rId1151" Type="http://schemas.openxmlformats.org/officeDocument/2006/relationships/slide" Target="slides/slide1147.xml"/><Relationship Id="rId1152" Type="http://schemas.openxmlformats.org/officeDocument/2006/relationships/slide" Target="slides/slide1148.xml"/><Relationship Id="rId1153" Type="http://schemas.openxmlformats.org/officeDocument/2006/relationships/slide" Target="slides/slide1149.xml"/><Relationship Id="rId1154" Type="http://schemas.openxmlformats.org/officeDocument/2006/relationships/slide" Target="slides/slide1150.xml"/><Relationship Id="rId1155" Type="http://schemas.openxmlformats.org/officeDocument/2006/relationships/slide" Target="slides/slide1151.xml"/><Relationship Id="rId1156" Type="http://schemas.openxmlformats.org/officeDocument/2006/relationships/slide" Target="slides/slide1152.xml"/><Relationship Id="rId1157" Type="http://schemas.openxmlformats.org/officeDocument/2006/relationships/slide" Target="slides/slide1153.xml"/><Relationship Id="rId1158" Type="http://schemas.openxmlformats.org/officeDocument/2006/relationships/slide" Target="slides/slide1154.xml"/><Relationship Id="rId1159" Type="http://schemas.openxmlformats.org/officeDocument/2006/relationships/slide" Target="slides/slide1155.xml"/><Relationship Id="rId1160" Type="http://schemas.openxmlformats.org/officeDocument/2006/relationships/slide" Target="slides/slide1156.xml"/><Relationship Id="rId1161" Type="http://schemas.openxmlformats.org/officeDocument/2006/relationships/slide" Target="slides/slide1157.xml"/><Relationship Id="rId1162" Type="http://schemas.openxmlformats.org/officeDocument/2006/relationships/slide" Target="slides/slide1158.xml"/><Relationship Id="rId1163" Type="http://schemas.openxmlformats.org/officeDocument/2006/relationships/slide" Target="slides/slide1159.xml"/><Relationship Id="rId1164" Type="http://schemas.openxmlformats.org/officeDocument/2006/relationships/slide" Target="slides/slide1160.xml"/><Relationship Id="rId1165" Type="http://schemas.openxmlformats.org/officeDocument/2006/relationships/slide" Target="slides/slide1161.xml"/><Relationship Id="rId1166" Type="http://schemas.openxmlformats.org/officeDocument/2006/relationships/slide" Target="slides/slide1162.xml"/><Relationship Id="rId1167" Type="http://schemas.openxmlformats.org/officeDocument/2006/relationships/slide" Target="slides/slide1163.xml"/><Relationship Id="rId1168" Type="http://schemas.openxmlformats.org/officeDocument/2006/relationships/slide" Target="slides/slide1164.xml"/><Relationship Id="rId1169" Type="http://schemas.openxmlformats.org/officeDocument/2006/relationships/slide" Target="slides/slide1165.xml"/><Relationship Id="rId1170" Type="http://schemas.openxmlformats.org/officeDocument/2006/relationships/slide" Target="slides/slide1166.xml"/><Relationship Id="rId1171" Type="http://schemas.openxmlformats.org/officeDocument/2006/relationships/slide" Target="slides/slide1167.xml"/><Relationship Id="rId1172" Type="http://schemas.openxmlformats.org/officeDocument/2006/relationships/slide" Target="slides/slide1168.xml"/><Relationship Id="rId1173" Type="http://schemas.openxmlformats.org/officeDocument/2006/relationships/slide" Target="slides/slide1169.xml"/><Relationship Id="rId1174" Type="http://schemas.openxmlformats.org/officeDocument/2006/relationships/slide" Target="slides/slide1170.xml"/><Relationship Id="rId1175" Type="http://schemas.openxmlformats.org/officeDocument/2006/relationships/slide" Target="slides/slide1171.xml"/><Relationship Id="rId1176" Type="http://schemas.openxmlformats.org/officeDocument/2006/relationships/slide" Target="slides/slide1172.xml"/><Relationship Id="rId1177" Type="http://schemas.openxmlformats.org/officeDocument/2006/relationships/slide" Target="slides/slide1173.xml"/><Relationship Id="rId1178" Type="http://schemas.openxmlformats.org/officeDocument/2006/relationships/slide" Target="slides/slide1174.xml"/><Relationship Id="rId1179" Type="http://schemas.openxmlformats.org/officeDocument/2006/relationships/slide" Target="slides/slide1175.xml"/><Relationship Id="rId1180" Type="http://schemas.openxmlformats.org/officeDocument/2006/relationships/slide" Target="slides/slide1176.xml"/><Relationship Id="rId1181" Type="http://schemas.openxmlformats.org/officeDocument/2006/relationships/slide" Target="slides/slide1177.xml"/><Relationship Id="rId1182" Type="http://schemas.openxmlformats.org/officeDocument/2006/relationships/slide" Target="slides/slide1178.xml"/><Relationship Id="rId1183" Type="http://schemas.openxmlformats.org/officeDocument/2006/relationships/slide" Target="slides/slide1179.xml"/><Relationship Id="rId1184" Type="http://schemas.openxmlformats.org/officeDocument/2006/relationships/slide" Target="slides/slide1180.xml"/><Relationship Id="rId1185" Type="http://schemas.openxmlformats.org/officeDocument/2006/relationships/slide" Target="slides/slide1181.xml"/><Relationship Id="rId1186" Type="http://schemas.openxmlformats.org/officeDocument/2006/relationships/slide" Target="slides/slide1182.xml"/><Relationship Id="rId1187" Type="http://schemas.openxmlformats.org/officeDocument/2006/relationships/slide" Target="slides/slide1183.xml"/><Relationship Id="rId1188" Type="http://schemas.openxmlformats.org/officeDocument/2006/relationships/slide" Target="slides/slide1184.xml"/><Relationship Id="rId1189" Type="http://schemas.openxmlformats.org/officeDocument/2006/relationships/slide" Target="slides/slide1185.xml"/><Relationship Id="rId1190" Type="http://schemas.openxmlformats.org/officeDocument/2006/relationships/slide" Target="slides/slide1186.xml"/><Relationship Id="rId1191" Type="http://schemas.openxmlformats.org/officeDocument/2006/relationships/slide" Target="slides/slide1187.xml"/><Relationship Id="rId1192" Type="http://schemas.openxmlformats.org/officeDocument/2006/relationships/slide" Target="slides/slide1188.xml"/><Relationship Id="rId1193" Type="http://schemas.openxmlformats.org/officeDocument/2006/relationships/slide" Target="slides/slide1189.xml"/><Relationship Id="rId1194" Type="http://schemas.openxmlformats.org/officeDocument/2006/relationships/slide" Target="slides/slide1190.xml"/><Relationship Id="rId1195" Type="http://schemas.openxmlformats.org/officeDocument/2006/relationships/slide" Target="slides/slide1191.xml"/><Relationship Id="rId1196" Type="http://schemas.openxmlformats.org/officeDocument/2006/relationships/slide" Target="slides/slide1192.xml"/><Relationship Id="rId1197" Type="http://schemas.openxmlformats.org/officeDocument/2006/relationships/slide" Target="slides/slide1193.xml"/><Relationship Id="rId1198" Type="http://schemas.openxmlformats.org/officeDocument/2006/relationships/slide" Target="slides/slide1194.xml"/><Relationship Id="rId1199" Type="http://schemas.openxmlformats.org/officeDocument/2006/relationships/slide" Target="slides/slide1195.xml"/><Relationship Id="rId1200" Type="http://schemas.openxmlformats.org/officeDocument/2006/relationships/slide" Target="slides/slide1196.xml"/><Relationship Id="rId1201" Type="http://schemas.openxmlformats.org/officeDocument/2006/relationships/slide" Target="slides/slide1197.xml"/><Relationship Id="rId1202" Type="http://schemas.openxmlformats.org/officeDocument/2006/relationships/slide" Target="slides/slide1198.xml"/><Relationship Id="rId1203" Type="http://schemas.openxmlformats.org/officeDocument/2006/relationships/slide" Target="slides/slide1199.xml"/><Relationship Id="rId1204" Type="http://schemas.openxmlformats.org/officeDocument/2006/relationships/slide" Target="slides/slide1200.xml"/><Relationship Id="rId1205" Type="http://schemas.openxmlformats.org/officeDocument/2006/relationships/slide" Target="slides/slide1201.xml"/><Relationship Id="rId1206" Type="http://schemas.openxmlformats.org/officeDocument/2006/relationships/slide" Target="slides/slide1202.xml"/><Relationship Id="rId1207" Type="http://schemas.openxmlformats.org/officeDocument/2006/relationships/slide" Target="slides/slide1203.xml"/><Relationship Id="rId1208" Type="http://schemas.openxmlformats.org/officeDocument/2006/relationships/slide" Target="slides/slide1204.xml"/><Relationship Id="rId1209" Type="http://schemas.openxmlformats.org/officeDocument/2006/relationships/slide" Target="slides/slide1205.xml"/><Relationship Id="rId1210" Type="http://schemas.openxmlformats.org/officeDocument/2006/relationships/slide" Target="slides/slide1206.xml"/><Relationship Id="rId1211" Type="http://schemas.openxmlformats.org/officeDocument/2006/relationships/slide" Target="slides/slide1207.xml"/><Relationship Id="rId1212" Type="http://schemas.openxmlformats.org/officeDocument/2006/relationships/slide" Target="slides/slide1208.xml"/><Relationship Id="rId1213" Type="http://schemas.openxmlformats.org/officeDocument/2006/relationships/slide" Target="slides/slide1209.xml"/><Relationship Id="rId1214" Type="http://schemas.openxmlformats.org/officeDocument/2006/relationships/slide" Target="slides/slide1210.xml"/><Relationship Id="rId1215" Type="http://schemas.openxmlformats.org/officeDocument/2006/relationships/slide" Target="slides/slide1211.xml"/><Relationship Id="rId1216" Type="http://schemas.openxmlformats.org/officeDocument/2006/relationships/slide" Target="slides/slide1212.xml"/><Relationship Id="rId1217" Type="http://schemas.openxmlformats.org/officeDocument/2006/relationships/slide" Target="slides/slide1213.xml"/><Relationship Id="rId1218" Type="http://schemas.openxmlformats.org/officeDocument/2006/relationships/slide" Target="slides/slide1214.xml"/><Relationship Id="rId1219" Type="http://schemas.openxmlformats.org/officeDocument/2006/relationships/slide" Target="slides/slide1215.xml"/><Relationship Id="rId1220" Type="http://schemas.openxmlformats.org/officeDocument/2006/relationships/slide" Target="slides/slide1216.xml"/><Relationship Id="rId1221" Type="http://schemas.openxmlformats.org/officeDocument/2006/relationships/slide" Target="slides/slide1217.xml"/><Relationship Id="rId1222" Type="http://schemas.openxmlformats.org/officeDocument/2006/relationships/slide" Target="slides/slide1218.xml"/><Relationship Id="rId1223" Type="http://schemas.openxmlformats.org/officeDocument/2006/relationships/slide" Target="slides/slide1219.xml"/><Relationship Id="rId1224" Type="http://schemas.openxmlformats.org/officeDocument/2006/relationships/slide" Target="slides/slide1220.xml"/><Relationship Id="rId1225" Type="http://schemas.openxmlformats.org/officeDocument/2006/relationships/slide" Target="slides/slide1221.xml"/><Relationship Id="rId1226" Type="http://schemas.openxmlformats.org/officeDocument/2006/relationships/slide" Target="slides/slide1222.xml"/><Relationship Id="rId1227" Type="http://schemas.openxmlformats.org/officeDocument/2006/relationships/slide" Target="slides/slide1223.xml"/><Relationship Id="rId1228" Type="http://schemas.openxmlformats.org/officeDocument/2006/relationships/slide" Target="slides/slide1224.xml"/><Relationship Id="rId1229" Type="http://schemas.openxmlformats.org/officeDocument/2006/relationships/slide" Target="slides/slide1225.xml"/><Relationship Id="rId1230" Type="http://schemas.openxmlformats.org/officeDocument/2006/relationships/slide" Target="slides/slide1226.xml"/><Relationship Id="rId1231" Type="http://schemas.openxmlformats.org/officeDocument/2006/relationships/slide" Target="slides/slide1227.xml"/><Relationship Id="rId1232" Type="http://schemas.openxmlformats.org/officeDocument/2006/relationships/slide" Target="slides/slide1228.xml"/><Relationship Id="rId1233" Type="http://schemas.openxmlformats.org/officeDocument/2006/relationships/slide" Target="slides/slide1229.xml"/><Relationship Id="rId1234" Type="http://schemas.openxmlformats.org/officeDocument/2006/relationships/slide" Target="slides/slide1230.xml"/><Relationship Id="rId1235" Type="http://schemas.openxmlformats.org/officeDocument/2006/relationships/slide" Target="slides/slide1231.xml"/><Relationship Id="rId1236" Type="http://schemas.openxmlformats.org/officeDocument/2006/relationships/slide" Target="slides/slide1232.xml"/><Relationship Id="rId1237" Type="http://schemas.openxmlformats.org/officeDocument/2006/relationships/slide" Target="slides/slide1233.xml"/><Relationship Id="rId1238" Type="http://schemas.openxmlformats.org/officeDocument/2006/relationships/slide" Target="slides/slide1234.xml"/><Relationship Id="rId1239" Type="http://schemas.openxmlformats.org/officeDocument/2006/relationships/slide" Target="slides/slide1235.xml"/><Relationship Id="rId1240" Type="http://schemas.openxmlformats.org/officeDocument/2006/relationships/slide" Target="slides/slide1236.xml"/><Relationship Id="rId1241" Type="http://schemas.openxmlformats.org/officeDocument/2006/relationships/slide" Target="slides/slide1237.xml"/><Relationship Id="rId1242" Type="http://schemas.openxmlformats.org/officeDocument/2006/relationships/slide" Target="slides/slide1238.xml"/><Relationship Id="rId1243" Type="http://schemas.openxmlformats.org/officeDocument/2006/relationships/slide" Target="slides/slide1239.xml"/><Relationship Id="rId1244" Type="http://schemas.openxmlformats.org/officeDocument/2006/relationships/slide" Target="slides/slide1240.xml"/><Relationship Id="rId1245" Type="http://schemas.openxmlformats.org/officeDocument/2006/relationships/slide" Target="slides/slide1241.xml"/><Relationship Id="rId1246" Type="http://schemas.openxmlformats.org/officeDocument/2006/relationships/slide" Target="slides/slide1242.xml"/><Relationship Id="rId1247" Type="http://schemas.openxmlformats.org/officeDocument/2006/relationships/slide" Target="slides/slide1243.xml"/><Relationship Id="rId1248" Type="http://schemas.openxmlformats.org/officeDocument/2006/relationships/slide" Target="slides/slide1244.xml"/><Relationship Id="rId1249" Type="http://schemas.openxmlformats.org/officeDocument/2006/relationships/slide" Target="slides/slide1245.xml"/><Relationship Id="rId1250" Type="http://schemas.openxmlformats.org/officeDocument/2006/relationships/slide" Target="slides/slide1246.xml"/><Relationship Id="rId1251" Type="http://schemas.openxmlformats.org/officeDocument/2006/relationships/slide" Target="slides/slide1247.xml"/><Relationship Id="rId1252" Type="http://schemas.openxmlformats.org/officeDocument/2006/relationships/slide" Target="slides/slide1248.xml"/><Relationship Id="rId1253" Type="http://schemas.openxmlformats.org/officeDocument/2006/relationships/slide" Target="slides/slide1249.xml"/><Relationship Id="rId1254" Type="http://schemas.openxmlformats.org/officeDocument/2006/relationships/slide" Target="slides/slide1250.xml"/><Relationship Id="rId1255" Type="http://schemas.openxmlformats.org/officeDocument/2006/relationships/slide" Target="slides/slide1251.xml"/><Relationship Id="rId1256" Type="http://schemas.openxmlformats.org/officeDocument/2006/relationships/slide" Target="slides/slide1252.xml"/><Relationship Id="rId1257" Type="http://schemas.openxmlformats.org/officeDocument/2006/relationships/slide" Target="slides/slide1253.xml"/><Relationship Id="rId1258" Type="http://schemas.openxmlformats.org/officeDocument/2006/relationships/slide" Target="slides/slide1254.xml"/><Relationship Id="rId1259" Type="http://schemas.openxmlformats.org/officeDocument/2006/relationships/slide" Target="slides/slide1255.xml"/><Relationship Id="rId1260" Type="http://schemas.openxmlformats.org/officeDocument/2006/relationships/slide" Target="slides/slide1256.xml"/><Relationship Id="rId1261" Type="http://schemas.openxmlformats.org/officeDocument/2006/relationships/slide" Target="slides/slide1257.xml"/><Relationship Id="rId1262" Type="http://schemas.openxmlformats.org/officeDocument/2006/relationships/slide" Target="slides/slide1258.xml"/><Relationship Id="rId1263" Type="http://schemas.openxmlformats.org/officeDocument/2006/relationships/slide" Target="slides/slide1259.xml"/><Relationship Id="rId1264" Type="http://schemas.openxmlformats.org/officeDocument/2006/relationships/slide" Target="slides/slide1260.xml"/><Relationship Id="rId1265" Type="http://schemas.openxmlformats.org/officeDocument/2006/relationships/slide" Target="slides/slide1261.xml"/><Relationship Id="rId1266" Type="http://schemas.openxmlformats.org/officeDocument/2006/relationships/slide" Target="slides/slide1262.xml"/><Relationship Id="rId1267" Type="http://schemas.openxmlformats.org/officeDocument/2006/relationships/slide" Target="slides/slide1263.xml"/><Relationship Id="rId1268" Type="http://schemas.openxmlformats.org/officeDocument/2006/relationships/slide" Target="slides/slide1264.xml"/><Relationship Id="rId1269" Type="http://schemas.openxmlformats.org/officeDocument/2006/relationships/slide" Target="slides/slide1265.xml"/><Relationship Id="rId1270" Type="http://schemas.openxmlformats.org/officeDocument/2006/relationships/slide" Target="slides/slide1266.xml"/><Relationship Id="rId1271" Type="http://schemas.openxmlformats.org/officeDocument/2006/relationships/slide" Target="slides/slide1267.xml"/><Relationship Id="rId1272" Type="http://schemas.openxmlformats.org/officeDocument/2006/relationships/slide" Target="slides/slide1268.xml"/><Relationship Id="rId1273" Type="http://schemas.openxmlformats.org/officeDocument/2006/relationships/slide" Target="slides/slide1269.xml"/><Relationship Id="rId1274" Type="http://schemas.openxmlformats.org/officeDocument/2006/relationships/slide" Target="slides/slide1270.xml"/><Relationship Id="rId1275" Type="http://schemas.openxmlformats.org/officeDocument/2006/relationships/slide" Target="slides/slide1271.xml"/><Relationship Id="rId1276" Type="http://schemas.openxmlformats.org/officeDocument/2006/relationships/slide" Target="slides/slide1272.xml"/><Relationship Id="rId1277" Type="http://schemas.openxmlformats.org/officeDocument/2006/relationships/slide" Target="slides/slide1273.xml"/><Relationship Id="rId1278" Type="http://schemas.openxmlformats.org/officeDocument/2006/relationships/slide" Target="slides/slide1274.xml"/><Relationship Id="rId1279" Type="http://schemas.openxmlformats.org/officeDocument/2006/relationships/slide" Target="slides/slide1275.xml"/><Relationship Id="rId1280" Type="http://schemas.openxmlformats.org/officeDocument/2006/relationships/slide" Target="slides/slide1276.xml"/><Relationship Id="rId1281" Type="http://schemas.openxmlformats.org/officeDocument/2006/relationships/slide" Target="slides/slide1277.xml"/><Relationship Id="rId1282" Type="http://schemas.openxmlformats.org/officeDocument/2006/relationships/slide" Target="slides/slide1278.xml"/><Relationship Id="rId1283" Type="http://schemas.openxmlformats.org/officeDocument/2006/relationships/slide" Target="slides/slide1279.xml"/><Relationship Id="rId1284" Type="http://schemas.openxmlformats.org/officeDocument/2006/relationships/slide" Target="slides/slide1280.xml"/><Relationship Id="rId1285" Type="http://schemas.openxmlformats.org/officeDocument/2006/relationships/slide" Target="slides/slide1281.xml"/><Relationship Id="rId1286" Type="http://schemas.openxmlformats.org/officeDocument/2006/relationships/slide" Target="slides/slide1282.xml"/><Relationship Id="rId1287" Type="http://schemas.openxmlformats.org/officeDocument/2006/relationships/slide" Target="slides/slide1283.xml"/><Relationship Id="rId1288" Type="http://schemas.openxmlformats.org/officeDocument/2006/relationships/slide" Target="slides/slide1284.xml"/><Relationship Id="rId1289" Type="http://schemas.openxmlformats.org/officeDocument/2006/relationships/slide" Target="slides/slide1285.xml"/><Relationship Id="rId1290" Type="http://schemas.openxmlformats.org/officeDocument/2006/relationships/slide" Target="slides/slide1286.xml"/><Relationship Id="rId1291" Type="http://schemas.openxmlformats.org/officeDocument/2006/relationships/slide" Target="slides/slide1287.xml"/><Relationship Id="rId1292" Type="http://schemas.openxmlformats.org/officeDocument/2006/relationships/slide" Target="slides/slide1288.xml"/><Relationship Id="rId1293" Type="http://schemas.openxmlformats.org/officeDocument/2006/relationships/slide" Target="slides/slide1289.xml"/><Relationship Id="rId1294" Type="http://schemas.openxmlformats.org/officeDocument/2006/relationships/slide" Target="slides/slide1290.xml"/><Relationship Id="rId1295" Type="http://schemas.openxmlformats.org/officeDocument/2006/relationships/slide" Target="slides/slide1291.xml"/><Relationship Id="rId1296" Type="http://schemas.openxmlformats.org/officeDocument/2006/relationships/slide" Target="slides/slide1292.xml"/><Relationship Id="rId1297" Type="http://schemas.openxmlformats.org/officeDocument/2006/relationships/slide" Target="slides/slide1293.xml"/><Relationship Id="rId1298" Type="http://schemas.openxmlformats.org/officeDocument/2006/relationships/slide" Target="slides/slide1294.xml"/><Relationship Id="rId1299" Type="http://schemas.openxmlformats.org/officeDocument/2006/relationships/slide" Target="slides/slide1295.xml"/><Relationship Id="rId1300" Type="http://schemas.openxmlformats.org/officeDocument/2006/relationships/slide" Target="slides/slide1296.xml"/><Relationship Id="rId1301" Type="http://schemas.openxmlformats.org/officeDocument/2006/relationships/slide" Target="slides/slide1297.xml"/><Relationship Id="rId1302" Type="http://schemas.openxmlformats.org/officeDocument/2006/relationships/slide" Target="slides/slide1298.xml"/><Relationship Id="rId1303" Type="http://schemas.openxmlformats.org/officeDocument/2006/relationships/slide" Target="slides/slide1299.xml"/><Relationship Id="rId1304" Type="http://schemas.openxmlformats.org/officeDocument/2006/relationships/slide" Target="slides/slide1300.xml"/><Relationship Id="rId1305" Type="http://schemas.openxmlformats.org/officeDocument/2006/relationships/slide" Target="slides/slide1301.xml"/><Relationship Id="rId1306" Type="http://schemas.openxmlformats.org/officeDocument/2006/relationships/slide" Target="slides/slide1302.xml"/><Relationship Id="rId1307" Type="http://schemas.openxmlformats.org/officeDocument/2006/relationships/slide" Target="slides/slide1303.xml"/><Relationship Id="rId1308" Type="http://schemas.openxmlformats.org/officeDocument/2006/relationships/slide" Target="slides/slide1304.xml"/><Relationship Id="rId1309" Type="http://schemas.openxmlformats.org/officeDocument/2006/relationships/slide" Target="slides/slide1305.xml"/><Relationship Id="rId1310" Type="http://schemas.openxmlformats.org/officeDocument/2006/relationships/slide" Target="slides/slide1306.xml"/><Relationship Id="rId1311" Type="http://schemas.openxmlformats.org/officeDocument/2006/relationships/slide" Target="slides/slide1307.xml"/><Relationship Id="rId1312" Type="http://schemas.openxmlformats.org/officeDocument/2006/relationships/slide" Target="slides/slide1308.xml"/><Relationship Id="rId1313" Type="http://schemas.openxmlformats.org/officeDocument/2006/relationships/slide" Target="slides/slide1309.xml"/><Relationship Id="rId1314" Type="http://schemas.openxmlformats.org/officeDocument/2006/relationships/slide" Target="slides/slide1310.xml"/><Relationship Id="rId1315" Type="http://schemas.openxmlformats.org/officeDocument/2006/relationships/slide" Target="slides/slide1311.xml"/><Relationship Id="rId1316" Type="http://schemas.openxmlformats.org/officeDocument/2006/relationships/slide" Target="slides/slide1312.xml"/><Relationship Id="rId1317" Type="http://schemas.openxmlformats.org/officeDocument/2006/relationships/slide" Target="slides/slide1313.xml"/><Relationship Id="rId1318" Type="http://schemas.openxmlformats.org/officeDocument/2006/relationships/slide" Target="slides/slide1314.xml"/><Relationship Id="rId1319" Type="http://schemas.openxmlformats.org/officeDocument/2006/relationships/slide" Target="slides/slide1315.xml"/><Relationship Id="rId1320" Type="http://schemas.openxmlformats.org/officeDocument/2006/relationships/slide" Target="slides/slide1316.xml"/><Relationship Id="rId1321" Type="http://schemas.openxmlformats.org/officeDocument/2006/relationships/slide" Target="slides/slide1317.xml"/><Relationship Id="rId1322" Type="http://schemas.openxmlformats.org/officeDocument/2006/relationships/slide" Target="slides/slide1318.xml"/><Relationship Id="rId1323" Type="http://schemas.openxmlformats.org/officeDocument/2006/relationships/slide" Target="slides/slide1319.xml"/><Relationship Id="rId1324" Type="http://schemas.openxmlformats.org/officeDocument/2006/relationships/slide" Target="slides/slide1320.xml"/><Relationship Id="rId1325" Type="http://schemas.openxmlformats.org/officeDocument/2006/relationships/slide" Target="slides/slide1321.xml"/><Relationship Id="rId1326" Type="http://schemas.openxmlformats.org/officeDocument/2006/relationships/slide" Target="slides/slide1322.xml"/><Relationship Id="rId1327" Type="http://schemas.openxmlformats.org/officeDocument/2006/relationships/slide" Target="slides/slide1323.xml"/><Relationship Id="rId1328" Type="http://schemas.openxmlformats.org/officeDocument/2006/relationships/slide" Target="slides/slide1324.xml"/><Relationship Id="rId1329" Type="http://schemas.openxmlformats.org/officeDocument/2006/relationships/slide" Target="slides/slide1325.xml"/><Relationship Id="rId1330" Type="http://schemas.openxmlformats.org/officeDocument/2006/relationships/slide" Target="slides/slide1326.xml"/><Relationship Id="rId1331" Type="http://schemas.openxmlformats.org/officeDocument/2006/relationships/slide" Target="slides/slide1327.xml"/><Relationship Id="rId1332" Type="http://schemas.openxmlformats.org/officeDocument/2006/relationships/slide" Target="slides/slide1328.xml"/><Relationship Id="rId1333" Type="http://schemas.openxmlformats.org/officeDocument/2006/relationships/slide" Target="slides/slide1329.xml"/><Relationship Id="rId1334" Type="http://schemas.openxmlformats.org/officeDocument/2006/relationships/slide" Target="slides/slide1330.xml"/><Relationship Id="rId1335" Type="http://schemas.openxmlformats.org/officeDocument/2006/relationships/slide" Target="slides/slide1331.xml"/><Relationship Id="rId1336" Type="http://schemas.openxmlformats.org/officeDocument/2006/relationships/slide" Target="slides/slide1332.xml"/><Relationship Id="rId1337" Type="http://schemas.openxmlformats.org/officeDocument/2006/relationships/slide" Target="slides/slide1333.xml"/><Relationship Id="rId1338" Type="http://schemas.openxmlformats.org/officeDocument/2006/relationships/slide" Target="slides/slide1334.xml"/><Relationship Id="rId1339" Type="http://schemas.openxmlformats.org/officeDocument/2006/relationships/slide" Target="slides/slide1335.xml"/><Relationship Id="rId1340" Type="http://schemas.openxmlformats.org/officeDocument/2006/relationships/slide" Target="slides/slide1336.xml"/><Relationship Id="rId1341" Type="http://schemas.openxmlformats.org/officeDocument/2006/relationships/slide" Target="slides/slide1337.xml"/><Relationship Id="rId1342" Type="http://schemas.openxmlformats.org/officeDocument/2006/relationships/slide" Target="slides/slide1338.xml"/><Relationship Id="rId1343" Type="http://schemas.openxmlformats.org/officeDocument/2006/relationships/slide" Target="slides/slide1339.xml"/><Relationship Id="rId1344" Type="http://schemas.openxmlformats.org/officeDocument/2006/relationships/slide" Target="slides/slide1340.xml"/><Relationship Id="rId1345" Type="http://schemas.openxmlformats.org/officeDocument/2006/relationships/slide" Target="slides/slide1341.xml"/><Relationship Id="rId1346" Type="http://schemas.openxmlformats.org/officeDocument/2006/relationships/slide" Target="slides/slide1342.xml"/><Relationship Id="rId1347" Type="http://schemas.openxmlformats.org/officeDocument/2006/relationships/slide" Target="slides/slide1343.xml"/><Relationship Id="rId1348" Type="http://schemas.openxmlformats.org/officeDocument/2006/relationships/slide" Target="slides/slide1344.xml"/><Relationship Id="rId1349" Type="http://schemas.openxmlformats.org/officeDocument/2006/relationships/slide" Target="slides/slide1345.xml"/><Relationship Id="rId1350" Type="http://schemas.openxmlformats.org/officeDocument/2006/relationships/slide" Target="slides/slide1346.xml"/><Relationship Id="rId1351" Type="http://schemas.openxmlformats.org/officeDocument/2006/relationships/slide" Target="slides/slide1347.xml"/><Relationship Id="rId1352" Type="http://schemas.openxmlformats.org/officeDocument/2006/relationships/slide" Target="slides/slide1348.xml"/><Relationship Id="rId1353" Type="http://schemas.openxmlformats.org/officeDocument/2006/relationships/slide" Target="slides/slide1349.xml"/><Relationship Id="rId1354" Type="http://schemas.openxmlformats.org/officeDocument/2006/relationships/slide" Target="slides/slide1350.xml"/><Relationship Id="rId1355" Type="http://schemas.openxmlformats.org/officeDocument/2006/relationships/slide" Target="slides/slide1351.xml"/><Relationship Id="rId1356" Type="http://schemas.openxmlformats.org/officeDocument/2006/relationships/slide" Target="slides/slide1352.xml"/><Relationship Id="rId1357" Type="http://schemas.openxmlformats.org/officeDocument/2006/relationships/slide" Target="slides/slide1353.xml"/><Relationship Id="rId1358" Type="http://schemas.openxmlformats.org/officeDocument/2006/relationships/slide" Target="slides/slide1354.xml"/><Relationship Id="rId1359" Type="http://schemas.openxmlformats.org/officeDocument/2006/relationships/slide" Target="slides/slide1355.xml"/><Relationship Id="rId1360" Type="http://schemas.openxmlformats.org/officeDocument/2006/relationships/slide" Target="slides/slide1356.xml"/><Relationship Id="rId1361" Type="http://schemas.openxmlformats.org/officeDocument/2006/relationships/slide" Target="slides/slide1357.xml"/><Relationship Id="rId1362" Type="http://schemas.openxmlformats.org/officeDocument/2006/relationships/slide" Target="slides/slide1358.xml"/><Relationship Id="rId1363" Type="http://schemas.openxmlformats.org/officeDocument/2006/relationships/slide" Target="slides/slide1359.xml"/><Relationship Id="rId1364" Type="http://schemas.openxmlformats.org/officeDocument/2006/relationships/slide" Target="slides/slide1360.xml"/><Relationship Id="rId1365" Type="http://schemas.openxmlformats.org/officeDocument/2006/relationships/slide" Target="slides/slide1361.xml"/><Relationship Id="rId1366" Type="http://schemas.openxmlformats.org/officeDocument/2006/relationships/slide" Target="slides/slide1362.xml"/><Relationship Id="rId1367" Type="http://schemas.openxmlformats.org/officeDocument/2006/relationships/slide" Target="slides/slide1363.xml"/><Relationship Id="rId1368" Type="http://schemas.openxmlformats.org/officeDocument/2006/relationships/slide" Target="slides/slide1364.xml"/><Relationship Id="rId1369" Type="http://schemas.openxmlformats.org/officeDocument/2006/relationships/slide" Target="slides/slide1365.xml"/><Relationship Id="rId1370" Type="http://schemas.openxmlformats.org/officeDocument/2006/relationships/slide" Target="slides/slide1366.xml"/><Relationship Id="rId1371" Type="http://schemas.openxmlformats.org/officeDocument/2006/relationships/slide" Target="slides/slide1367.xml"/><Relationship Id="rId1372" Type="http://schemas.openxmlformats.org/officeDocument/2006/relationships/slide" Target="slides/slide1368.xml"/><Relationship Id="rId1373" Type="http://schemas.openxmlformats.org/officeDocument/2006/relationships/slide" Target="slides/slide1369.xml"/><Relationship Id="rId1374" Type="http://schemas.openxmlformats.org/officeDocument/2006/relationships/slide" Target="slides/slide1370.xml"/><Relationship Id="rId1375" Type="http://schemas.openxmlformats.org/officeDocument/2006/relationships/slide" Target="slides/slide1371.xml"/><Relationship Id="rId1376" Type="http://schemas.openxmlformats.org/officeDocument/2006/relationships/slide" Target="slides/slide1372.xml"/><Relationship Id="rId1377" Type="http://schemas.openxmlformats.org/officeDocument/2006/relationships/slide" Target="slides/slide1373.xml"/><Relationship Id="rId1378" Type="http://schemas.openxmlformats.org/officeDocument/2006/relationships/slide" Target="slides/slide1374.xml"/><Relationship Id="rId1379" Type="http://schemas.openxmlformats.org/officeDocument/2006/relationships/slide" Target="slides/slide1375.xml"/><Relationship Id="rId1380" Type="http://schemas.openxmlformats.org/officeDocument/2006/relationships/slide" Target="slides/slide1376.xml"/><Relationship Id="rId1381" Type="http://schemas.openxmlformats.org/officeDocument/2006/relationships/slide" Target="slides/slide1377.xml"/><Relationship Id="rId1382" Type="http://schemas.openxmlformats.org/officeDocument/2006/relationships/slide" Target="slides/slide1378.xml"/><Relationship Id="rId1383" Type="http://schemas.openxmlformats.org/officeDocument/2006/relationships/slide" Target="slides/slide1379.xml"/><Relationship Id="rId1384" Type="http://schemas.openxmlformats.org/officeDocument/2006/relationships/slide" Target="slides/slide1380.xml"/><Relationship Id="rId1385" Type="http://schemas.openxmlformats.org/officeDocument/2006/relationships/slide" Target="slides/slide1381.xml"/><Relationship Id="rId1386" Type="http://schemas.openxmlformats.org/officeDocument/2006/relationships/slide" Target="slides/slide1382.xml"/><Relationship Id="rId1387" Type="http://schemas.openxmlformats.org/officeDocument/2006/relationships/slide" Target="slides/slide1383.xml"/><Relationship Id="rId1388" Type="http://schemas.openxmlformats.org/officeDocument/2006/relationships/slide" Target="slides/slide1384.xml"/><Relationship Id="rId1389" Type="http://schemas.openxmlformats.org/officeDocument/2006/relationships/slide" Target="slides/slide1385.xml"/><Relationship Id="rId1390" Type="http://schemas.openxmlformats.org/officeDocument/2006/relationships/slide" Target="slides/slide1386.xml"/><Relationship Id="rId1391" Type="http://schemas.openxmlformats.org/officeDocument/2006/relationships/slide" Target="slides/slide1387.xml"/><Relationship Id="rId1392" Type="http://schemas.openxmlformats.org/officeDocument/2006/relationships/slide" Target="slides/slide1388.xml"/><Relationship Id="rId1393" Type="http://schemas.openxmlformats.org/officeDocument/2006/relationships/slide" Target="slides/slide1389.xml"/><Relationship Id="rId1394" Type="http://schemas.openxmlformats.org/officeDocument/2006/relationships/slide" Target="slides/slide1390.xml"/><Relationship Id="rId1395" Type="http://schemas.openxmlformats.org/officeDocument/2006/relationships/slide" Target="slides/slide1391.xml"/><Relationship Id="rId1396" Type="http://schemas.openxmlformats.org/officeDocument/2006/relationships/slide" Target="slides/slide1392.xml"/><Relationship Id="rId1397" Type="http://schemas.openxmlformats.org/officeDocument/2006/relationships/slide" Target="slides/slide1393.xml"/><Relationship Id="rId1398" Type="http://schemas.openxmlformats.org/officeDocument/2006/relationships/slide" Target="slides/slide1394.xml"/><Relationship Id="rId1399" Type="http://schemas.openxmlformats.org/officeDocument/2006/relationships/slide" Target="slides/slide1395.xml"/><Relationship Id="rId1400" Type="http://schemas.openxmlformats.org/officeDocument/2006/relationships/slide" Target="slides/slide1396.xml"/><Relationship Id="rId1401" Type="http://schemas.openxmlformats.org/officeDocument/2006/relationships/slide" Target="slides/slide1397.xml"/><Relationship Id="rId1402" Type="http://schemas.openxmlformats.org/officeDocument/2006/relationships/slide" Target="slides/slide1398.xml"/><Relationship Id="rId1403" Type="http://schemas.openxmlformats.org/officeDocument/2006/relationships/slide" Target="slides/slide1399.xml"/><Relationship Id="rId1404" Type="http://schemas.openxmlformats.org/officeDocument/2006/relationships/slide" Target="slides/slide1400.xml"/><Relationship Id="rId1405" Type="http://schemas.openxmlformats.org/officeDocument/2006/relationships/slide" Target="slides/slide1401.xml"/><Relationship Id="rId1406" Type="http://schemas.openxmlformats.org/officeDocument/2006/relationships/slide" Target="slides/slide1402.xml"/><Relationship Id="rId1407" Type="http://schemas.openxmlformats.org/officeDocument/2006/relationships/slide" Target="slides/slide1403.xml"/><Relationship Id="rId1408" Type="http://schemas.openxmlformats.org/officeDocument/2006/relationships/slide" Target="slides/slide1404.xml"/><Relationship Id="rId1409" Type="http://schemas.openxmlformats.org/officeDocument/2006/relationships/slide" Target="slides/slide1405.xml"/><Relationship Id="rId1410" Type="http://schemas.openxmlformats.org/officeDocument/2006/relationships/slide" Target="slides/slide1406.xml"/><Relationship Id="rId1411" Type="http://schemas.openxmlformats.org/officeDocument/2006/relationships/slide" Target="slides/slide1407.xml"/><Relationship Id="rId1412" Type="http://schemas.openxmlformats.org/officeDocument/2006/relationships/slide" Target="slides/slide1408.xml"/><Relationship Id="rId1413" Type="http://schemas.openxmlformats.org/officeDocument/2006/relationships/slide" Target="slides/slide1409.xml"/><Relationship Id="rId1414" Type="http://schemas.openxmlformats.org/officeDocument/2006/relationships/slide" Target="slides/slide1410.xml"/><Relationship Id="rId1415" Type="http://schemas.openxmlformats.org/officeDocument/2006/relationships/slide" Target="slides/slide1411.xml"/><Relationship Id="rId1416" Type="http://schemas.openxmlformats.org/officeDocument/2006/relationships/slide" Target="slides/slide1412.xml"/><Relationship Id="rId1417" Type="http://schemas.openxmlformats.org/officeDocument/2006/relationships/slide" Target="slides/slide1413.xml"/><Relationship Id="rId1418" Type="http://schemas.openxmlformats.org/officeDocument/2006/relationships/slide" Target="slides/slide1414.xml"/><Relationship Id="rId1419" Type="http://schemas.openxmlformats.org/officeDocument/2006/relationships/slide" Target="slides/slide1415.xml"/><Relationship Id="rId1420" Type="http://schemas.openxmlformats.org/officeDocument/2006/relationships/slide" Target="slides/slide1416.xml"/><Relationship Id="rId1421" Type="http://schemas.openxmlformats.org/officeDocument/2006/relationships/slide" Target="slides/slide1417.xml"/><Relationship Id="rId1422" Type="http://schemas.openxmlformats.org/officeDocument/2006/relationships/slide" Target="slides/slide1418.xml"/><Relationship Id="rId1423" Type="http://schemas.openxmlformats.org/officeDocument/2006/relationships/slide" Target="slides/slide1419.xml"/><Relationship Id="rId1424" Type="http://schemas.openxmlformats.org/officeDocument/2006/relationships/slide" Target="slides/slide1420.xml"/><Relationship Id="rId1425" Type="http://schemas.openxmlformats.org/officeDocument/2006/relationships/slide" Target="slides/slide1421.xml"/><Relationship Id="rId1426" Type="http://schemas.openxmlformats.org/officeDocument/2006/relationships/slide" Target="slides/slide1422.xml"/><Relationship Id="rId1427" Type="http://schemas.openxmlformats.org/officeDocument/2006/relationships/slide" Target="slides/slide1423.xml"/><Relationship Id="rId1428" Type="http://schemas.openxmlformats.org/officeDocument/2006/relationships/slide" Target="slides/slide1424.xml"/><Relationship Id="rId1429" Type="http://schemas.openxmlformats.org/officeDocument/2006/relationships/slide" Target="slides/slide1425.xml"/><Relationship Id="rId1430" Type="http://schemas.openxmlformats.org/officeDocument/2006/relationships/slide" Target="slides/slide1426.xml"/><Relationship Id="rId1431" Type="http://schemas.openxmlformats.org/officeDocument/2006/relationships/slide" Target="slides/slide1427.xml"/><Relationship Id="rId1432" Type="http://schemas.openxmlformats.org/officeDocument/2006/relationships/slide" Target="slides/slide1428.xml"/><Relationship Id="rId1433" Type="http://schemas.openxmlformats.org/officeDocument/2006/relationships/slide" Target="slides/slide1429.xml"/><Relationship Id="rId1434" Type="http://schemas.openxmlformats.org/officeDocument/2006/relationships/slide" Target="slides/slide1430.xml"/><Relationship Id="rId1435" Type="http://schemas.openxmlformats.org/officeDocument/2006/relationships/slide" Target="slides/slide1431.xml"/><Relationship Id="rId1436" Type="http://schemas.openxmlformats.org/officeDocument/2006/relationships/slide" Target="slides/slide1432.xml"/><Relationship Id="rId1437" Type="http://schemas.openxmlformats.org/officeDocument/2006/relationships/slide" Target="slides/slide1433.xml"/><Relationship Id="rId1438" Type="http://schemas.openxmlformats.org/officeDocument/2006/relationships/slide" Target="slides/slide1434.xml"/><Relationship Id="rId1439" Type="http://schemas.openxmlformats.org/officeDocument/2006/relationships/slide" Target="slides/slide1435.xml"/><Relationship Id="rId1440" Type="http://schemas.openxmlformats.org/officeDocument/2006/relationships/slide" Target="slides/slide1436.xml"/><Relationship Id="rId1441" Type="http://schemas.openxmlformats.org/officeDocument/2006/relationships/slide" Target="slides/slide1437.xml"/><Relationship Id="rId1442" Type="http://schemas.openxmlformats.org/officeDocument/2006/relationships/slide" Target="slides/slide1438.xml"/><Relationship Id="rId1443" Type="http://schemas.openxmlformats.org/officeDocument/2006/relationships/slide" Target="slides/slide1439.xml"/><Relationship Id="rId1444" Type="http://schemas.openxmlformats.org/officeDocument/2006/relationships/slide" Target="slides/slide1440.xml"/><Relationship Id="rId1445" Type="http://schemas.openxmlformats.org/officeDocument/2006/relationships/slide" Target="slides/slide1441.xml"/><Relationship Id="rId1446" Type="http://schemas.openxmlformats.org/officeDocument/2006/relationships/slide" Target="slides/slide1442.xml"/><Relationship Id="rId1447" Type="http://schemas.openxmlformats.org/officeDocument/2006/relationships/slide" Target="slides/slide1443.xml"/><Relationship Id="rId1448" Type="http://schemas.openxmlformats.org/officeDocument/2006/relationships/slide" Target="slides/slide1444.xml"/><Relationship Id="rId1449" Type="http://schemas.openxmlformats.org/officeDocument/2006/relationships/slide" Target="slides/slide1445.xml"/><Relationship Id="rId1450" Type="http://schemas.openxmlformats.org/officeDocument/2006/relationships/slide" Target="slides/slide1446.xml"/><Relationship Id="rId1451" Type="http://schemas.openxmlformats.org/officeDocument/2006/relationships/slide" Target="slides/slide1447.xml"/><Relationship Id="rId1452" Type="http://schemas.openxmlformats.org/officeDocument/2006/relationships/slide" Target="slides/slide1448.xml"/><Relationship Id="rId1453" Type="http://schemas.openxmlformats.org/officeDocument/2006/relationships/slide" Target="slides/slide1449.xml"/><Relationship Id="rId1454" Type="http://schemas.openxmlformats.org/officeDocument/2006/relationships/slide" Target="slides/slide1450.xml"/><Relationship Id="rId1455" Type="http://schemas.openxmlformats.org/officeDocument/2006/relationships/slide" Target="slides/slide1451.xml"/><Relationship Id="rId1456" Type="http://schemas.openxmlformats.org/officeDocument/2006/relationships/slide" Target="slides/slide1452.xml"/><Relationship Id="rId1457" Type="http://schemas.openxmlformats.org/officeDocument/2006/relationships/slide" Target="slides/slide1453.xml"/><Relationship Id="rId1458" Type="http://schemas.openxmlformats.org/officeDocument/2006/relationships/slide" Target="slides/slide1454.xml"/><Relationship Id="rId1459" Type="http://schemas.openxmlformats.org/officeDocument/2006/relationships/slide" Target="slides/slide1455.xml"/><Relationship Id="rId1460" Type="http://schemas.openxmlformats.org/officeDocument/2006/relationships/slide" Target="slides/slide1456.xml"/><Relationship Id="rId1461" Type="http://schemas.openxmlformats.org/officeDocument/2006/relationships/slide" Target="slides/slide1457.xml"/><Relationship Id="rId1462" Type="http://schemas.openxmlformats.org/officeDocument/2006/relationships/slide" Target="slides/slide1458.xml"/><Relationship Id="rId1463" Type="http://schemas.openxmlformats.org/officeDocument/2006/relationships/slide" Target="slides/slide1459.xml"/><Relationship Id="rId1464" Type="http://schemas.openxmlformats.org/officeDocument/2006/relationships/slide" Target="slides/slide1460.xml"/><Relationship Id="rId1465" Type="http://schemas.openxmlformats.org/officeDocument/2006/relationships/slide" Target="slides/slide1461.xml"/><Relationship Id="rId1466" Type="http://schemas.openxmlformats.org/officeDocument/2006/relationships/slide" Target="slides/slide1462.xml"/><Relationship Id="rId1467" Type="http://schemas.openxmlformats.org/officeDocument/2006/relationships/slide" Target="slides/slide1463.xml"/><Relationship Id="rId1468" Type="http://schemas.openxmlformats.org/officeDocument/2006/relationships/slide" Target="slides/slide1464.xml"/><Relationship Id="rId1469" Type="http://schemas.openxmlformats.org/officeDocument/2006/relationships/slide" Target="slides/slide1465.xml"/><Relationship Id="rId1470" Type="http://schemas.openxmlformats.org/officeDocument/2006/relationships/slide" Target="slides/slide1466.xml"/><Relationship Id="rId1471" Type="http://schemas.openxmlformats.org/officeDocument/2006/relationships/slide" Target="slides/slide1467.xml"/><Relationship Id="rId1472" Type="http://schemas.openxmlformats.org/officeDocument/2006/relationships/slide" Target="slides/slide1468.xml"/><Relationship Id="rId1473" Type="http://schemas.openxmlformats.org/officeDocument/2006/relationships/slide" Target="slides/slide1469.xml"/><Relationship Id="rId1474" Type="http://schemas.openxmlformats.org/officeDocument/2006/relationships/slide" Target="slides/slide1470.xml"/><Relationship Id="rId1475" Type="http://schemas.openxmlformats.org/officeDocument/2006/relationships/slide" Target="slides/slide1471.xml"/><Relationship Id="rId1476" Type="http://schemas.openxmlformats.org/officeDocument/2006/relationships/slide" Target="slides/slide1472.xml"/><Relationship Id="rId1477" Type="http://schemas.openxmlformats.org/officeDocument/2006/relationships/slide" Target="slides/slide1473.xml"/><Relationship Id="rId1478" Type="http://schemas.openxmlformats.org/officeDocument/2006/relationships/slide" Target="slides/slide1474.xml"/><Relationship Id="rId1479" Type="http://schemas.openxmlformats.org/officeDocument/2006/relationships/slide" Target="slides/slide1475.xml"/><Relationship Id="rId1480" Type="http://schemas.openxmlformats.org/officeDocument/2006/relationships/slide" Target="slides/slide1476.xml"/><Relationship Id="rId1481" Type="http://schemas.openxmlformats.org/officeDocument/2006/relationships/slide" Target="slides/slide1477.xml"/><Relationship Id="rId1482" Type="http://schemas.openxmlformats.org/officeDocument/2006/relationships/slide" Target="slides/slide1478.xml"/><Relationship Id="rId1483" Type="http://schemas.openxmlformats.org/officeDocument/2006/relationships/slide" Target="slides/slide1479.xml"/><Relationship Id="rId1484" Type="http://schemas.openxmlformats.org/officeDocument/2006/relationships/slide" Target="slides/slide1480.xml"/><Relationship Id="rId1485" Type="http://schemas.openxmlformats.org/officeDocument/2006/relationships/slide" Target="slides/slide1481.xml"/><Relationship Id="rId1486" Type="http://schemas.openxmlformats.org/officeDocument/2006/relationships/slide" Target="slides/slide1482.xml"/><Relationship Id="rId1487" Type="http://schemas.openxmlformats.org/officeDocument/2006/relationships/slide" Target="slides/slide1483.xml"/><Relationship Id="rId1488" Type="http://schemas.openxmlformats.org/officeDocument/2006/relationships/slide" Target="slides/slide1484.xml"/><Relationship Id="rId1489" Type="http://schemas.openxmlformats.org/officeDocument/2006/relationships/slide" Target="slides/slide1485.xml"/><Relationship Id="rId1490" Type="http://schemas.openxmlformats.org/officeDocument/2006/relationships/slide" Target="slides/slide1486.xml"/><Relationship Id="rId1491" Type="http://schemas.openxmlformats.org/officeDocument/2006/relationships/slide" Target="slides/slide1487.xml"/><Relationship Id="rId1492" Type="http://schemas.openxmlformats.org/officeDocument/2006/relationships/slide" Target="slides/slide1488.xml"/><Relationship Id="rId1493" Type="http://schemas.openxmlformats.org/officeDocument/2006/relationships/slide" Target="slides/slide1489.xml"/><Relationship Id="rId1494" Type="http://schemas.openxmlformats.org/officeDocument/2006/relationships/slide" Target="slides/slide1490.xml"/><Relationship Id="rId1495" Type="http://schemas.openxmlformats.org/officeDocument/2006/relationships/slide" Target="slides/slide1491.xml"/><Relationship Id="rId1496" Type="http://schemas.openxmlformats.org/officeDocument/2006/relationships/slide" Target="slides/slide1492.xml"/><Relationship Id="rId1497" Type="http://schemas.openxmlformats.org/officeDocument/2006/relationships/slide" Target="slides/slide1493.xml"/><Relationship Id="rId1498" Type="http://schemas.openxmlformats.org/officeDocument/2006/relationships/slide" Target="slides/slide1494.xml"/><Relationship Id="rId1499" Type="http://schemas.openxmlformats.org/officeDocument/2006/relationships/slide" Target="slides/slide1495.xml"/><Relationship Id="rId1500" Type="http://schemas.openxmlformats.org/officeDocument/2006/relationships/slide" Target="slides/slide1496.xml"/><Relationship Id="rId1501" Type="http://schemas.openxmlformats.org/officeDocument/2006/relationships/slide" Target="slides/slide1497.xml"/><Relationship Id="rId1502" Type="http://schemas.openxmlformats.org/officeDocument/2006/relationships/slide" Target="slides/slide1498.xml"/><Relationship Id="rId1503" Type="http://schemas.openxmlformats.org/officeDocument/2006/relationships/slide" Target="slides/slide1499.xml"/><Relationship Id="rId1504" Type="http://schemas.openxmlformats.org/officeDocument/2006/relationships/slide" Target="slides/slide1500.xml"/><Relationship Id="rId1505" Type="http://schemas.openxmlformats.org/officeDocument/2006/relationships/slide" Target="slides/slide1501.xml"/><Relationship Id="rId1506" Type="http://schemas.openxmlformats.org/officeDocument/2006/relationships/slide" Target="slides/slide1502.xml"/><Relationship Id="rId1507" Type="http://schemas.openxmlformats.org/officeDocument/2006/relationships/slide" Target="slides/slide1503.xml"/><Relationship Id="rId1508" Type="http://schemas.openxmlformats.org/officeDocument/2006/relationships/slide" Target="slides/slide1504.xml"/><Relationship Id="rId1509" Type="http://schemas.openxmlformats.org/officeDocument/2006/relationships/slide" Target="slides/slide1505.xml"/><Relationship Id="rId1510" Type="http://schemas.openxmlformats.org/officeDocument/2006/relationships/slide" Target="slides/slide1506.xml"/><Relationship Id="rId1511" Type="http://schemas.openxmlformats.org/officeDocument/2006/relationships/slide" Target="slides/slide1507.xml"/><Relationship Id="rId1512" Type="http://schemas.openxmlformats.org/officeDocument/2006/relationships/slide" Target="slides/slide1508.xml"/><Relationship Id="rId1513" Type="http://schemas.openxmlformats.org/officeDocument/2006/relationships/slide" Target="slides/slide1509.xml"/><Relationship Id="rId1514" Type="http://schemas.openxmlformats.org/officeDocument/2006/relationships/slide" Target="slides/slide1510.xml"/><Relationship Id="rId1515" Type="http://schemas.openxmlformats.org/officeDocument/2006/relationships/slide" Target="slides/slide1511.xml"/><Relationship Id="rId1516" Type="http://schemas.openxmlformats.org/officeDocument/2006/relationships/slide" Target="slides/slide1512.xml"/><Relationship Id="rId1517" Type="http://schemas.openxmlformats.org/officeDocument/2006/relationships/slide" Target="slides/slide1513.xml"/><Relationship Id="rId1518" Type="http://schemas.openxmlformats.org/officeDocument/2006/relationships/slide" Target="slides/slide1514.xml"/><Relationship Id="rId1519" Type="http://schemas.openxmlformats.org/officeDocument/2006/relationships/slide" Target="slides/slide1515.xml"/><Relationship Id="rId1520" Type="http://schemas.openxmlformats.org/officeDocument/2006/relationships/slide" Target="slides/slide1516.xml"/><Relationship Id="rId1521" Type="http://schemas.openxmlformats.org/officeDocument/2006/relationships/slide" Target="slides/slide1517.xml"/><Relationship Id="rId1522" Type="http://schemas.openxmlformats.org/officeDocument/2006/relationships/slide" Target="slides/slide1518.xml"/><Relationship Id="rId1523" Type="http://schemas.openxmlformats.org/officeDocument/2006/relationships/slide" Target="slides/slide1519.xml"/><Relationship Id="rId1524" Type="http://schemas.openxmlformats.org/officeDocument/2006/relationships/slide" Target="slides/slide1520.xml"/><Relationship Id="rId1525" Type="http://schemas.openxmlformats.org/officeDocument/2006/relationships/slide" Target="slides/slide1521.xml"/><Relationship Id="rId1526" Type="http://schemas.openxmlformats.org/officeDocument/2006/relationships/slide" Target="slides/slide1522.xml"/><Relationship Id="rId1527" Type="http://schemas.openxmlformats.org/officeDocument/2006/relationships/slide" Target="slides/slide1523.xml"/><Relationship Id="rId1528" Type="http://schemas.openxmlformats.org/officeDocument/2006/relationships/slide" Target="slides/slide1524.xml"/><Relationship Id="rId1529" Type="http://schemas.openxmlformats.org/officeDocument/2006/relationships/slide" Target="slides/slide1525.xml"/><Relationship Id="rId1530" Type="http://schemas.openxmlformats.org/officeDocument/2006/relationships/slide" Target="slides/slide1526.xml"/><Relationship Id="rId1531" Type="http://schemas.openxmlformats.org/officeDocument/2006/relationships/slide" Target="slides/slide1527.xml"/><Relationship Id="rId1532" Type="http://schemas.openxmlformats.org/officeDocument/2006/relationships/slide" Target="slides/slide1528.xml"/><Relationship Id="rId1533" Type="http://schemas.openxmlformats.org/officeDocument/2006/relationships/slide" Target="slides/slide1529.xml"/><Relationship Id="rId1534" Type="http://schemas.openxmlformats.org/officeDocument/2006/relationships/slide" Target="slides/slide1530.xml"/><Relationship Id="rId1535" Type="http://schemas.openxmlformats.org/officeDocument/2006/relationships/slide" Target="slides/slide1531.xml"/><Relationship Id="rId1536" Type="http://schemas.openxmlformats.org/officeDocument/2006/relationships/slide" Target="slides/slide1532.xml"/><Relationship Id="rId1537" Type="http://schemas.openxmlformats.org/officeDocument/2006/relationships/slide" Target="slides/slide1533.xml"/><Relationship Id="rId1538" Type="http://schemas.openxmlformats.org/officeDocument/2006/relationships/slide" Target="slides/slide1534.xml"/><Relationship Id="rId1539" Type="http://schemas.openxmlformats.org/officeDocument/2006/relationships/slide" Target="slides/slide1535.xml"/><Relationship Id="rId1540" Type="http://schemas.openxmlformats.org/officeDocument/2006/relationships/slide" Target="slides/slide1536.xml"/><Relationship Id="rId1541" Type="http://schemas.openxmlformats.org/officeDocument/2006/relationships/slide" Target="slides/slide1537.xml"/><Relationship Id="rId1542" Type="http://schemas.openxmlformats.org/officeDocument/2006/relationships/slide" Target="slides/slide1538.xml"/><Relationship Id="rId1543" Type="http://schemas.openxmlformats.org/officeDocument/2006/relationships/slide" Target="slides/slide1539.xml"/><Relationship Id="rId1544" Type="http://schemas.openxmlformats.org/officeDocument/2006/relationships/slide" Target="slides/slide1540.xml"/><Relationship Id="rId1545" Type="http://schemas.openxmlformats.org/officeDocument/2006/relationships/slide" Target="slides/slide1541.xml"/><Relationship Id="rId1546" Type="http://schemas.openxmlformats.org/officeDocument/2006/relationships/slide" Target="slides/slide1542.xml"/><Relationship Id="rId1547" Type="http://schemas.openxmlformats.org/officeDocument/2006/relationships/slide" Target="slides/slide1543.xml"/><Relationship Id="rId1548" Type="http://schemas.openxmlformats.org/officeDocument/2006/relationships/slide" Target="slides/slide1544.xml"/><Relationship Id="rId1549" Type="http://schemas.openxmlformats.org/officeDocument/2006/relationships/slide" Target="slides/slide1545.xml"/><Relationship Id="rId1550" Type="http://schemas.openxmlformats.org/officeDocument/2006/relationships/slide" Target="slides/slide1546.xml"/><Relationship Id="rId1551" Type="http://schemas.openxmlformats.org/officeDocument/2006/relationships/slide" Target="slides/slide1547.xml"/><Relationship Id="rId1552" Type="http://schemas.openxmlformats.org/officeDocument/2006/relationships/slide" Target="slides/slide1548.xml"/><Relationship Id="rId1553" Type="http://schemas.openxmlformats.org/officeDocument/2006/relationships/slide" Target="slides/slide1549.xml"/><Relationship Id="rId1554" Type="http://schemas.openxmlformats.org/officeDocument/2006/relationships/slide" Target="slides/slide1550.xml"/><Relationship Id="rId1555" Type="http://schemas.openxmlformats.org/officeDocument/2006/relationships/slide" Target="slides/slide1551.xml"/><Relationship Id="rId1556" Type="http://schemas.openxmlformats.org/officeDocument/2006/relationships/slide" Target="slides/slide1552.xml"/><Relationship Id="rId1557" Type="http://schemas.openxmlformats.org/officeDocument/2006/relationships/slide" Target="slides/slide1553.xml"/><Relationship Id="rId1558" Type="http://schemas.openxmlformats.org/officeDocument/2006/relationships/slide" Target="slides/slide1554.xml"/><Relationship Id="rId1559" Type="http://schemas.openxmlformats.org/officeDocument/2006/relationships/slide" Target="slides/slide1555.xml"/><Relationship Id="rId1560" Type="http://schemas.openxmlformats.org/officeDocument/2006/relationships/slide" Target="slides/slide1556.xml"/><Relationship Id="rId1561" Type="http://schemas.openxmlformats.org/officeDocument/2006/relationships/slide" Target="slides/slide1557.xml"/><Relationship Id="rId1562" Type="http://schemas.openxmlformats.org/officeDocument/2006/relationships/slide" Target="slides/slide1558.xml"/><Relationship Id="rId1563" Type="http://schemas.openxmlformats.org/officeDocument/2006/relationships/slide" Target="slides/slide1559.xml"/><Relationship Id="rId1564" Type="http://schemas.openxmlformats.org/officeDocument/2006/relationships/slide" Target="slides/slide1560.xml"/><Relationship Id="rId1565" Type="http://schemas.openxmlformats.org/officeDocument/2006/relationships/slide" Target="slides/slide1561.xml"/><Relationship Id="rId1566" Type="http://schemas.openxmlformats.org/officeDocument/2006/relationships/slide" Target="slides/slide1562.xml"/><Relationship Id="rId1567" Type="http://schemas.openxmlformats.org/officeDocument/2006/relationships/slide" Target="slides/slide1563.xml"/><Relationship Id="rId1568" Type="http://schemas.openxmlformats.org/officeDocument/2006/relationships/slide" Target="slides/slide1564.xml"/><Relationship Id="rId1569" Type="http://schemas.openxmlformats.org/officeDocument/2006/relationships/slide" Target="slides/slide1565.xml"/><Relationship Id="rId1570" Type="http://schemas.openxmlformats.org/officeDocument/2006/relationships/slide" Target="slides/slide1566.xml"/><Relationship Id="rId1571" Type="http://schemas.openxmlformats.org/officeDocument/2006/relationships/slide" Target="slides/slide1567.xml"/><Relationship Id="rId1572" Type="http://schemas.openxmlformats.org/officeDocument/2006/relationships/slide" Target="slides/slide1568.xml"/><Relationship Id="rId1573" Type="http://schemas.openxmlformats.org/officeDocument/2006/relationships/slide" Target="slides/slide1569.xml"/><Relationship Id="rId1574" Type="http://schemas.openxmlformats.org/officeDocument/2006/relationships/slide" Target="slides/slide1570.xml"/><Relationship Id="rId1575" Type="http://schemas.openxmlformats.org/officeDocument/2006/relationships/slide" Target="slides/slide1571.xml"/><Relationship Id="rId1576" Type="http://schemas.openxmlformats.org/officeDocument/2006/relationships/slide" Target="slides/slide1572.xml"/><Relationship Id="rId1577" Type="http://schemas.openxmlformats.org/officeDocument/2006/relationships/slide" Target="slides/slide1573.xml"/><Relationship Id="rId1578" Type="http://schemas.openxmlformats.org/officeDocument/2006/relationships/slide" Target="slides/slide1574.xml"/><Relationship Id="rId1579" Type="http://schemas.openxmlformats.org/officeDocument/2006/relationships/slide" Target="slides/slide1575.xml"/><Relationship Id="rId1580" Type="http://schemas.openxmlformats.org/officeDocument/2006/relationships/slide" Target="slides/slide1576.xml"/><Relationship Id="rId1581" Type="http://schemas.openxmlformats.org/officeDocument/2006/relationships/slide" Target="slides/slide1577.xml"/><Relationship Id="rId1582" Type="http://schemas.openxmlformats.org/officeDocument/2006/relationships/slide" Target="slides/slide1578.xml"/><Relationship Id="rId1583" Type="http://schemas.openxmlformats.org/officeDocument/2006/relationships/slide" Target="slides/slide1579.xml"/><Relationship Id="rId1584" Type="http://schemas.openxmlformats.org/officeDocument/2006/relationships/slide" Target="slides/slide1580.xml"/><Relationship Id="rId1585" Type="http://schemas.openxmlformats.org/officeDocument/2006/relationships/slide" Target="slides/slide1581.xml"/><Relationship Id="rId1586" Type="http://schemas.openxmlformats.org/officeDocument/2006/relationships/slide" Target="slides/slide1582.xml"/><Relationship Id="rId1587" Type="http://schemas.openxmlformats.org/officeDocument/2006/relationships/slide" Target="slides/slide1583.xml"/><Relationship Id="rId1588" Type="http://schemas.openxmlformats.org/officeDocument/2006/relationships/slide" Target="slides/slide1584.xml"/><Relationship Id="rId1589" Type="http://schemas.openxmlformats.org/officeDocument/2006/relationships/slide" Target="slides/slide1585.xml"/><Relationship Id="rId1590" Type="http://schemas.openxmlformats.org/officeDocument/2006/relationships/slide" Target="slides/slide1586.xml"/><Relationship Id="rId1591" Type="http://schemas.openxmlformats.org/officeDocument/2006/relationships/slide" Target="slides/slide1587.xml"/><Relationship Id="rId1592" Type="http://schemas.openxmlformats.org/officeDocument/2006/relationships/slide" Target="slides/slide1588.xml"/><Relationship Id="rId1593" Type="http://schemas.openxmlformats.org/officeDocument/2006/relationships/slide" Target="slides/slide1589.xml"/><Relationship Id="rId1594" Type="http://schemas.openxmlformats.org/officeDocument/2006/relationships/slide" Target="slides/slide1590.xml"/><Relationship Id="rId1595" Type="http://schemas.openxmlformats.org/officeDocument/2006/relationships/slide" Target="slides/slide1591.xml"/><Relationship Id="rId1596" Type="http://schemas.openxmlformats.org/officeDocument/2006/relationships/slide" Target="slides/slide1592.xml"/><Relationship Id="rId1597" Type="http://schemas.openxmlformats.org/officeDocument/2006/relationships/slide" Target="slides/slide1593.xml"/><Relationship Id="rId1598" Type="http://schemas.openxmlformats.org/officeDocument/2006/relationships/slide" Target="slides/slide1594.xml"/><Relationship Id="rId1599" Type="http://schemas.openxmlformats.org/officeDocument/2006/relationships/slide" Target="slides/slide1595.xml"/><Relationship Id="rId1600" Type="http://schemas.openxmlformats.org/officeDocument/2006/relationships/slide" Target="slides/slide1596.xml"/><Relationship Id="rId1601" Type="http://schemas.openxmlformats.org/officeDocument/2006/relationships/slide" Target="slides/slide1597.xml"/><Relationship Id="rId1602" Type="http://schemas.openxmlformats.org/officeDocument/2006/relationships/slide" Target="slides/slide1598.xml"/><Relationship Id="rId1603" Type="http://schemas.openxmlformats.org/officeDocument/2006/relationships/slide" Target="slides/slide1599.xml"/><Relationship Id="rId1604" Type="http://schemas.openxmlformats.org/officeDocument/2006/relationships/slide" Target="slides/slide1600.xml"/><Relationship Id="rId1605" Type="http://schemas.openxmlformats.org/officeDocument/2006/relationships/slide" Target="slides/slide1601.xml"/><Relationship Id="rId1606" Type="http://schemas.openxmlformats.org/officeDocument/2006/relationships/slide" Target="slides/slide1602.xml"/><Relationship Id="rId1607" Type="http://schemas.openxmlformats.org/officeDocument/2006/relationships/slide" Target="slides/slide1603.xml"/><Relationship Id="rId1608" Type="http://schemas.openxmlformats.org/officeDocument/2006/relationships/slide" Target="slides/slide1604.xml"/><Relationship Id="rId1609" Type="http://schemas.openxmlformats.org/officeDocument/2006/relationships/slide" Target="slides/slide1605.xml"/><Relationship Id="rId1610" Type="http://schemas.openxmlformats.org/officeDocument/2006/relationships/slide" Target="slides/slide1606.xml"/><Relationship Id="rId1611" Type="http://schemas.openxmlformats.org/officeDocument/2006/relationships/slide" Target="slides/slide1607.xml"/><Relationship Id="rId1612" Type="http://schemas.openxmlformats.org/officeDocument/2006/relationships/slide" Target="slides/slide1608.xml"/><Relationship Id="rId1613" Type="http://schemas.openxmlformats.org/officeDocument/2006/relationships/slide" Target="slides/slide1609.xml"/><Relationship Id="rId1614" Type="http://schemas.openxmlformats.org/officeDocument/2006/relationships/slide" Target="slides/slide1610.xml"/><Relationship Id="rId1615" Type="http://schemas.openxmlformats.org/officeDocument/2006/relationships/slide" Target="slides/slide1611.xml"/><Relationship Id="rId1616" Type="http://schemas.openxmlformats.org/officeDocument/2006/relationships/slide" Target="slides/slide1612.xml"/><Relationship Id="rId1617" Type="http://schemas.openxmlformats.org/officeDocument/2006/relationships/slide" Target="slides/slide1613.xml"/><Relationship Id="rId1618" Type="http://schemas.openxmlformats.org/officeDocument/2006/relationships/slide" Target="slides/slide1614.xml"/><Relationship Id="rId1619" Type="http://schemas.openxmlformats.org/officeDocument/2006/relationships/slide" Target="slides/slide1615.xml"/><Relationship Id="rId1620" Type="http://schemas.openxmlformats.org/officeDocument/2006/relationships/slide" Target="slides/slide1616.xml"/><Relationship Id="rId1621" Type="http://schemas.openxmlformats.org/officeDocument/2006/relationships/slide" Target="slides/slide1617.xml"/><Relationship Id="rId1622" Type="http://schemas.openxmlformats.org/officeDocument/2006/relationships/slide" Target="slides/slide1618.xml"/><Relationship Id="rId1623" Type="http://schemas.openxmlformats.org/officeDocument/2006/relationships/slide" Target="slides/slide1619.xml"/><Relationship Id="rId1624" Type="http://schemas.openxmlformats.org/officeDocument/2006/relationships/slide" Target="slides/slide1620.xml"/><Relationship Id="rId1625" Type="http://schemas.openxmlformats.org/officeDocument/2006/relationships/slide" Target="slides/slide1621.xml"/><Relationship Id="rId1626" Type="http://schemas.openxmlformats.org/officeDocument/2006/relationships/slide" Target="slides/slide1622.xml"/><Relationship Id="rId1627" Type="http://schemas.openxmlformats.org/officeDocument/2006/relationships/slide" Target="slides/slide1623.xml"/><Relationship Id="rId1628" Type="http://schemas.openxmlformats.org/officeDocument/2006/relationships/slide" Target="slides/slide1624.xml"/><Relationship Id="rId1629" Type="http://schemas.openxmlformats.org/officeDocument/2006/relationships/slide" Target="slides/slide1625.xml"/><Relationship Id="rId1630" Type="http://schemas.openxmlformats.org/officeDocument/2006/relationships/slide" Target="slides/slide1626.xml"/><Relationship Id="rId1631" Type="http://schemas.openxmlformats.org/officeDocument/2006/relationships/slide" Target="slides/slide1627.xml"/><Relationship Id="rId1632" Type="http://schemas.openxmlformats.org/officeDocument/2006/relationships/slide" Target="slides/slide1628.xml"/><Relationship Id="rId1633" Type="http://schemas.openxmlformats.org/officeDocument/2006/relationships/slide" Target="slides/slide1629.xml"/><Relationship Id="rId1634" Type="http://schemas.openxmlformats.org/officeDocument/2006/relationships/slide" Target="slides/slide1630.xml"/><Relationship Id="rId1635" Type="http://schemas.openxmlformats.org/officeDocument/2006/relationships/slide" Target="slides/slide1631.xml"/><Relationship Id="rId1636" Type="http://schemas.openxmlformats.org/officeDocument/2006/relationships/slide" Target="slides/slide1632.xml"/><Relationship Id="rId1637" Type="http://schemas.openxmlformats.org/officeDocument/2006/relationships/slide" Target="slides/slide1633.xml"/><Relationship Id="rId1638" Type="http://schemas.openxmlformats.org/officeDocument/2006/relationships/slide" Target="slides/slide1634.xml"/><Relationship Id="rId1639" Type="http://schemas.openxmlformats.org/officeDocument/2006/relationships/slide" Target="slides/slide1635.xml"/><Relationship Id="rId1640" Type="http://schemas.openxmlformats.org/officeDocument/2006/relationships/slide" Target="slides/slide1636.xml"/><Relationship Id="rId1641" Type="http://schemas.openxmlformats.org/officeDocument/2006/relationships/slide" Target="slides/slide1637.xml"/><Relationship Id="rId1642" Type="http://schemas.openxmlformats.org/officeDocument/2006/relationships/slide" Target="slides/slide1638.xml"/><Relationship Id="rId1643" Type="http://schemas.openxmlformats.org/officeDocument/2006/relationships/slide" Target="slides/slide1639.xml"/><Relationship Id="rId1644" Type="http://schemas.openxmlformats.org/officeDocument/2006/relationships/slide" Target="slides/slide1640.xml"/><Relationship Id="rId1645" Type="http://schemas.openxmlformats.org/officeDocument/2006/relationships/slide" Target="slides/slide1641.xml"/><Relationship Id="rId1646" Type="http://schemas.openxmlformats.org/officeDocument/2006/relationships/slide" Target="slides/slide1642.xml"/><Relationship Id="rId1647" Type="http://schemas.openxmlformats.org/officeDocument/2006/relationships/slide" Target="slides/slide1643.xml"/><Relationship Id="rId1648" Type="http://schemas.openxmlformats.org/officeDocument/2006/relationships/slide" Target="slides/slide1644.xml"/><Relationship Id="rId1649" Type="http://schemas.openxmlformats.org/officeDocument/2006/relationships/slide" Target="slides/slide1645.xml"/><Relationship Id="rId1650" Type="http://schemas.openxmlformats.org/officeDocument/2006/relationships/slide" Target="slides/slide1646.xml"/><Relationship Id="rId1651" Type="http://schemas.openxmlformats.org/officeDocument/2006/relationships/slide" Target="slides/slide1647.xml"/><Relationship Id="rId1652" Type="http://schemas.openxmlformats.org/officeDocument/2006/relationships/slide" Target="slides/slide1648.xml"/><Relationship Id="rId1653" Type="http://schemas.openxmlformats.org/officeDocument/2006/relationships/slide" Target="slides/slide1649.xml"/><Relationship Id="rId1654" Type="http://schemas.openxmlformats.org/officeDocument/2006/relationships/slide" Target="slides/slide1650.xml"/><Relationship Id="rId1655" Type="http://schemas.openxmlformats.org/officeDocument/2006/relationships/slide" Target="slides/slide1651.xml"/><Relationship Id="rId1656" Type="http://schemas.openxmlformats.org/officeDocument/2006/relationships/slide" Target="slides/slide1652.xml"/><Relationship Id="rId1657" Type="http://schemas.openxmlformats.org/officeDocument/2006/relationships/slide" Target="slides/slide1653.xml"/><Relationship Id="rId1658" Type="http://schemas.openxmlformats.org/officeDocument/2006/relationships/slide" Target="slides/slide1654.xml"/><Relationship Id="rId1659" Type="http://schemas.openxmlformats.org/officeDocument/2006/relationships/slide" Target="slides/slide1655.xml"/><Relationship Id="rId1660" Type="http://schemas.openxmlformats.org/officeDocument/2006/relationships/slide" Target="slides/slide1656.xml"/><Relationship Id="rId1661" Type="http://schemas.openxmlformats.org/officeDocument/2006/relationships/slide" Target="slides/slide1657.xml"/><Relationship Id="rId1662" Type="http://schemas.openxmlformats.org/officeDocument/2006/relationships/slide" Target="slides/slide1658.xml"/><Relationship Id="rId1663" Type="http://schemas.openxmlformats.org/officeDocument/2006/relationships/slide" Target="slides/slide1659.xml"/><Relationship Id="rId1664" Type="http://schemas.openxmlformats.org/officeDocument/2006/relationships/slide" Target="slides/slide1660.xml"/><Relationship Id="rId1665" Type="http://schemas.openxmlformats.org/officeDocument/2006/relationships/slide" Target="slides/slide1661.xml"/><Relationship Id="rId1666" Type="http://schemas.openxmlformats.org/officeDocument/2006/relationships/slide" Target="slides/slide1662.xml"/><Relationship Id="rId1667" Type="http://schemas.openxmlformats.org/officeDocument/2006/relationships/slide" Target="slides/slide1663.xml"/><Relationship Id="rId1668" Type="http://schemas.openxmlformats.org/officeDocument/2006/relationships/slide" Target="slides/slide1664.xml"/><Relationship Id="rId1669" Type="http://schemas.openxmlformats.org/officeDocument/2006/relationships/slide" Target="slides/slide1665.xml"/><Relationship Id="rId1670" Type="http://schemas.openxmlformats.org/officeDocument/2006/relationships/slide" Target="slides/slide1666.xml"/><Relationship Id="rId1671" Type="http://schemas.openxmlformats.org/officeDocument/2006/relationships/slide" Target="slides/slide1667.xml"/><Relationship Id="rId1672" Type="http://schemas.openxmlformats.org/officeDocument/2006/relationships/slide" Target="slides/slide1668.xml"/><Relationship Id="rId1673" Type="http://schemas.openxmlformats.org/officeDocument/2006/relationships/slide" Target="slides/slide1669.xml"/><Relationship Id="rId1674" Type="http://schemas.openxmlformats.org/officeDocument/2006/relationships/slide" Target="slides/slide1670.xml"/><Relationship Id="rId1675" Type="http://schemas.openxmlformats.org/officeDocument/2006/relationships/slide" Target="slides/slide1671.xml"/><Relationship Id="rId1676" Type="http://schemas.openxmlformats.org/officeDocument/2006/relationships/slide" Target="slides/slide1672.xml"/><Relationship Id="rId1677" Type="http://schemas.openxmlformats.org/officeDocument/2006/relationships/slide" Target="slides/slide1673.xml"/><Relationship Id="rId1678" Type="http://schemas.openxmlformats.org/officeDocument/2006/relationships/slide" Target="slides/slide1674.xml"/><Relationship Id="rId1679" Type="http://schemas.openxmlformats.org/officeDocument/2006/relationships/slide" Target="slides/slide1675.xml"/><Relationship Id="rId1680" Type="http://schemas.openxmlformats.org/officeDocument/2006/relationships/slide" Target="slides/slide1676.xml"/><Relationship Id="rId1681" Type="http://schemas.openxmlformats.org/officeDocument/2006/relationships/slide" Target="slides/slide1677.xml"/><Relationship Id="rId1682" Type="http://schemas.openxmlformats.org/officeDocument/2006/relationships/slide" Target="slides/slide1678.xml"/><Relationship Id="rId1683" Type="http://schemas.openxmlformats.org/officeDocument/2006/relationships/slide" Target="slides/slide1679.xml"/><Relationship Id="rId1684" Type="http://schemas.openxmlformats.org/officeDocument/2006/relationships/slide" Target="slides/slide1680.xml"/><Relationship Id="rId1685" Type="http://schemas.openxmlformats.org/officeDocument/2006/relationships/slide" Target="slides/slide1681.xml"/><Relationship Id="rId1686" Type="http://schemas.openxmlformats.org/officeDocument/2006/relationships/slide" Target="slides/slide1682.xml"/><Relationship Id="rId1687" Type="http://schemas.openxmlformats.org/officeDocument/2006/relationships/slide" Target="slides/slide1683.xml"/><Relationship Id="rId1688" Type="http://schemas.openxmlformats.org/officeDocument/2006/relationships/slide" Target="slides/slide1684.xml"/><Relationship Id="rId1689" Type="http://schemas.openxmlformats.org/officeDocument/2006/relationships/slide" Target="slides/slide1685.xml"/><Relationship Id="rId1690" Type="http://schemas.openxmlformats.org/officeDocument/2006/relationships/slide" Target="slides/slide1686.xml"/><Relationship Id="rId1691" Type="http://schemas.openxmlformats.org/officeDocument/2006/relationships/slide" Target="slides/slide1687.xml"/><Relationship Id="rId1692" Type="http://schemas.openxmlformats.org/officeDocument/2006/relationships/slide" Target="slides/slide1688.xml"/><Relationship Id="rId1693" Type="http://schemas.openxmlformats.org/officeDocument/2006/relationships/slide" Target="slides/slide1689.xml"/><Relationship Id="rId1694" Type="http://schemas.openxmlformats.org/officeDocument/2006/relationships/slide" Target="slides/slide1690.xml"/><Relationship Id="rId1695" Type="http://schemas.openxmlformats.org/officeDocument/2006/relationships/slide" Target="slides/slide1691.xml"/><Relationship Id="rId1696" Type="http://schemas.openxmlformats.org/officeDocument/2006/relationships/slide" Target="slides/slide1692.xml"/><Relationship Id="rId1697" Type="http://schemas.openxmlformats.org/officeDocument/2006/relationships/slide" Target="slides/slide1693.xml"/><Relationship Id="rId1698" Type="http://schemas.openxmlformats.org/officeDocument/2006/relationships/slide" Target="slides/slide1694.xml"/><Relationship Id="rId1699" Type="http://schemas.openxmlformats.org/officeDocument/2006/relationships/slide" Target="slides/slide1695.xml"/><Relationship Id="rId1700" Type="http://schemas.openxmlformats.org/officeDocument/2006/relationships/slide" Target="slides/slide1696.xml"/><Relationship Id="rId1701" Type="http://schemas.openxmlformats.org/officeDocument/2006/relationships/slide" Target="slides/slide1697.xml"/><Relationship Id="rId1702" Type="http://schemas.openxmlformats.org/officeDocument/2006/relationships/slide" Target="slides/slide1698.xml"/><Relationship Id="rId1703" Type="http://schemas.openxmlformats.org/officeDocument/2006/relationships/slide" Target="slides/slide1699.xml"/><Relationship Id="rId1704" Type="http://schemas.openxmlformats.org/officeDocument/2006/relationships/slide" Target="slides/slide1700.xml"/><Relationship Id="rId1705" Type="http://schemas.openxmlformats.org/officeDocument/2006/relationships/slide" Target="slides/slide1701.xml"/><Relationship Id="rId1706" Type="http://schemas.openxmlformats.org/officeDocument/2006/relationships/slide" Target="slides/slide1702.xml"/><Relationship Id="rId1707" Type="http://schemas.openxmlformats.org/officeDocument/2006/relationships/slide" Target="slides/slide1703.xml"/><Relationship Id="rId1708" Type="http://schemas.openxmlformats.org/officeDocument/2006/relationships/slide" Target="slides/slide1704.xml"/><Relationship Id="rId1709" Type="http://schemas.openxmlformats.org/officeDocument/2006/relationships/slide" Target="slides/slide1705.xml"/><Relationship Id="rId1710" Type="http://schemas.openxmlformats.org/officeDocument/2006/relationships/slide" Target="slides/slide1706.xml"/><Relationship Id="rId1711" Type="http://schemas.openxmlformats.org/officeDocument/2006/relationships/slide" Target="slides/slide1707.xml"/><Relationship Id="rId1712" Type="http://schemas.openxmlformats.org/officeDocument/2006/relationships/slide" Target="slides/slide1708.xml"/><Relationship Id="rId1713" Type="http://schemas.openxmlformats.org/officeDocument/2006/relationships/slide" Target="slides/slide1709.xml"/><Relationship Id="rId1714" Type="http://schemas.openxmlformats.org/officeDocument/2006/relationships/slide" Target="slides/slide1710.xml"/><Relationship Id="rId1715" Type="http://schemas.openxmlformats.org/officeDocument/2006/relationships/slide" Target="slides/slide1711.xml"/><Relationship Id="rId1716" Type="http://schemas.openxmlformats.org/officeDocument/2006/relationships/slide" Target="slides/slide1712.xml"/><Relationship Id="rId1717" Type="http://schemas.openxmlformats.org/officeDocument/2006/relationships/slide" Target="slides/slide1713.xml"/><Relationship Id="rId1718" Type="http://schemas.openxmlformats.org/officeDocument/2006/relationships/slide" Target="slides/slide1714.xml"/><Relationship Id="rId1719" Type="http://schemas.openxmlformats.org/officeDocument/2006/relationships/slide" Target="slides/slide1715.xml"/><Relationship Id="rId1720" Type="http://schemas.openxmlformats.org/officeDocument/2006/relationships/slide" Target="slides/slide1716.xml"/><Relationship Id="rId1721" Type="http://schemas.openxmlformats.org/officeDocument/2006/relationships/slide" Target="slides/slide1717.xml"/><Relationship Id="rId1722" Type="http://schemas.openxmlformats.org/officeDocument/2006/relationships/slide" Target="slides/slide1718.xml"/><Relationship Id="rId1723" Type="http://schemas.openxmlformats.org/officeDocument/2006/relationships/slide" Target="slides/slide1719.xml"/><Relationship Id="rId1724" Type="http://schemas.openxmlformats.org/officeDocument/2006/relationships/slide" Target="slides/slide1720.xml"/><Relationship Id="rId1725" Type="http://schemas.openxmlformats.org/officeDocument/2006/relationships/slide" Target="slides/slide1721.xml"/><Relationship Id="rId1726" Type="http://schemas.openxmlformats.org/officeDocument/2006/relationships/slide" Target="slides/slide1722.xml"/><Relationship Id="rId1727" Type="http://schemas.openxmlformats.org/officeDocument/2006/relationships/slide" Target="slides/slide1723.xml"/><Relationship Id="rId1728" Type="http://schemas.openxmlformats.org/officeDocument/2006/relationships/slide" Target="slides/slide1724.xml"/><Relationship Id="rId1729" Type="http://schemas.openxmlformats.org/officeDocument/2006/relationships/slide" Target="slides/slide1725.xml"/><Relationship Id="rId1730" Type="http://schemas.openxmlformats.org/officeDocument/2006/relationships/slide" Target="slides/slide1726.xml"/><Relationship Id="rId1731" Type="http://schemas.openxmlformats.org/officeDocument/2006/relationships/slide" Target="slides/slide1727.xml"/><Relationship Id="rId1732" Type="http://schemas.openxmlformats.org/officeDocument/2006/relationships/slide" Target="slides/slide1728.xml"/><Relationship Id="rId1733" Type="http://schemas.openxmlformats.org/officeDocument/2006/relationships/slide" Target="slides/slide1729.xml"/><Relationship Id="rId1734" Type="http://schemas.openxmlformats.org/officeDocument/2006/relationships/slide" Target="slides/slide1730.xml"/><Relationship Id="rId1735" Type="http://schemas.openxmlformats.org/officeDocument/2006/relationships/slide" Target="slides/slide1731.xml"/><Relationship Id="rId1736" Type="http://schemas.openxmlformats.org/officeDocument/2006/relationships/slide" Target="slides/slide1732.xml"/><Relationship Id="rId1737" Type="http://schemas.openxmlformats.org/officeDocument/2006/relationships/slide" Target="slides/slide1733.xml"/><Relationship Id="rId1738" Type="http://schemas.openxmlformats.org/officeDocument/2006/relationships/slide" Target="slides/slide1734.xml"/><Relationship Id="rId1739" Type="http://schemas.openxmlformats.org/officeDocument/2006/relationships/slide" Target="slides/slide1735.xml"/><Relationship Id="rId1740" Type="http://schemas.openxmlformats.org/officeDocument/2006/relationships/slide" Target="slides/slide1736.xml"/><Relationship Id="rId1741" Type="http://schemas.openxmlformats.org/officeDocument/2006/relationships/slide" Target="slides/slide1737.xml"/><Relationship Id="rId1742" Type="http://schemas.openxmlformats.org/officeDocument/2006/relationships/slide" Target="slides/slide1738.xml"/><Relationship Id="rId1743" Type="http://schemas.openxmlformats.org/officeDocument/2006/relationships/slide" Target="slides/slide1739.xml"/><Relationship Id="rId1744" Type="http://schemas.openxmlformats.org/officeDocument/2006/relationships/slide" Target="slides/slide1740.xml"/><Relationship Id="rId1745" Type="http://schemas.openxmlformats.org/officeDocument/2006/relationships/slide" Target="slides/slide1741.xml"/><Relationship Id="rId1746" Type="http://schemas.openxmlformats.org/officeDocument/2006/relationships/slide" Target="slides/slide1742.xml"/><Relationship Id="rId1747" Type="http://schemas.openxmlformats.org/officeDocument/2006/relationships/slide" Target="slides/slide1743.xml"/><Relationship Id="rId1748" Type="http://schemas.openxmlformats.org/officeDocument/2006/relationships/slide" Target="slides/slide1744.xml"/><Relationship Id="rId1749" Type="http://schemas.openxmlformats.org/officeDocument/2006/relationships/slide" Target="slides/slide1745.xml"/><Relationship Id="rId1750" Type="http://schemas.openxmlformats.org/officeDocument/2006/relationships/slide" Target="slides/slide1746.xml"/><Relationship Id="rId1751" Type="http://schemas.openxmlformats.org/officeDocument/2006/relationships/slide" Target="slides/slide1747.xml"/><Relationship Id="rId1752" Type="http://schemas.openxmlformats.org/officeDocument/2006/relationships/slide" Target="slides/slide1748.xml"/><Relationship Id="rId1753" Type="http://schemas.openxmlformats.org/officeDocument/2006/relationships/slide" Target="slides/slide1749.xml"/><Relationship Id="rId1754" Type="http://schemas.openxmlformats.org/officeDocument/2006/relationships/slide" Target="slides/slide1750.xml"/><Relationship Id="rId1755" Type="http://schemas.openxmlformats.org/officeDocument/2006/relationships/slide" Target="slides/slide1751.xml"/><Relationship Id="rId1756" Type="http://schemas.openxmlformats.org/officeDocument/2006/relationships/slide" Target="slides/slide1752.xml"/><Relationship Id="rId1757" Type="http://schemas.openxmlformats.org/officeDocument/2006/relationships/slide" Target="slides/slide1753.xml"/><Relationship Id="rId1758" Type="http://schemas.openxmlformats.org/officeDocument/2006/relationships/slide" Target="slides/slide1754.xml"/><Relationship Id="rId1759" Type="http://schemas.openxmlformats.org/officeDocument/2006/relationships/slide" Target="slides/slide1755.xml"/><Relationship Id="rId1760" Type="http://schemas.openxmlformats.org/officeDocument/2006/relationships/slide" Target="slides/slide1756.xml"/><Relationship Id="rId1761" Type="http://schemas.openxmlformats.org/officeDocument/2006/relationships/slide" Target="slides/slide1757.xml"/><Relationship Id="rId1762" Type="http://schemas.openxmlformats.org/officeDocument/2006/relationships/slide" Target="slides/slide1758.xml"/><Relationship Id="rId1763" Type="http://schemas.openxmlformats.org/officeDocument/2006/relationships/slide" Target="slides/slide1759.xml"/><Relationship Id="rId1764" Type="http://schemas.openxmlformats.org/officeDocument/2006/relationships/slide" Target="slides/slide1760.xml"/><Relationship Id="rId1765" Type="http://schemas.openxmlformats.org/officeDocument/2006/relationships/slide" Target="slides/slide1761.xml"/><Relationship Id="rId1766" Type="http://schemas.openxmlformats.org/officeDocument/2006/relationships/slide" Target="slides/slide1762.xml"/><Relationship Id="rId1767" Type="http://schemas.openxmlformats.org/officeDocument/2006/relationships/slide" Target="slides/slide1763.xml"/><Relationship Id="rId1768" Type="http://schemas.openxmlformats.org/officeDocument/2006/relationships/slide" Target="slides/slide1764.xml"/><Relationship Id="rId1769" Type="http://schemas.openxmlformats.org/officeDocument/2006/relationships/slide" Target="slides/slide1765.xml"/><Relationship Id="rId1770" Type="http://schemas.openxmlformats.org/officeDocument/2006/relationships/slide" Target="slides/slide1766.xml"/><Relationship Id="rId1771" Type="http://schemas.openxmlformats.org/officeDocument/2006/relationships/slide" Target="slides/slide1767.xml"/><Relationship Id="rId1772" Type="http://schemas.openxmlformats.org/officeDocument/2006/relationships/slide" Target="slides/slide1768.xml"/><Relationship Id="rId1773" Type="http://schemas.openxmlformats.org/officeDocument/2006/relationships/slide" Target="slides/slide1769.xml"/><Relationship Id="rId1774" Type="http://schemas.openxmlformats.org/officeDocument/2006/relationships/slide" Target="slides/slide1770.xml"/><Relationship Id="rId1775" Type="http://schemas.openxmlformats.org/officeDocument/2006/relationships/slide" Target="slides/slide1771.xml"/><Relationship Id="rId1776" Type="http://schemas.openxmlformats.org/officeDocument/2006/relationships/slide" Target="slides/slide1772.xml"/><Relationship Id="rId1777" Type="http://schemas.openxmlformats.org/officeDocument/2006/relationships/slide" Target="slides/slide1773.xml"/><Relationship Id="rId1778" Type="http://schemas.openxmlformats.org/officeDocument/2006/relationships/slide" Target="slides/slide1774.xml"/><Relationship Id="rId1779" Type="http://schemas.openxmlformats.org/officeDocument/2006/relationships/slide" Target="slides/slide1775.xml"/><Relationship Id="rId1780" Type="http://schemas.openxmlformats.org/officeDocument/2006/relationships/slide" Target="slides/slide1776.xml"/><Relationship Id="rId1781" Type="http://schemas.openxmlformats.org/officeDocument/2006/relationships/slide" Target="slides/slide1777.xml"/><Relationship Id="rId1782" Type="http://schemas.openxmlformats.org/officeDocument/2006/relationships/slide" Target="slides/slide1778.xml"/><Relationship Id="rId1783" Type="http://schemas.openxmlformats.org/officeDocument/2006/relationships/slide" Target="slides/slide1779.xml"/><Relationship Id="rId1784" Type="http://schemas.openxmlformats.org/officeDocument/2006/relationships/slide" Target="slides/slide1780.xml"/><Relationship Id="rId1785" Type="http://schemas.openxmlformats.org/officeDocument/2006/relationships/slide" Target="slides/slide1781.xml"/><Relationship Id="rId1786" Type="http://schemas.openxmlformats.org/officeDocument/2006/relationships/slide" Target="slides/slide1782.xml"/><Relationship Id="rId1787" Type="http://schemas.openxmlformats.org/officeDocument/2006/relationships/slide" Target="slides/slide1783.xml"/><Relationship Id="rId1788" Type="http://schemas.openxmlformats.org/officeDocument/2006/relationships/slide" Target="slides/slide1784.xml"/><Relationship Id="rId1789" Type="http://schemas.openxmlformats.org/officeDocument/2006/relationships/slide" Target="slides/slide1785.xml"/><Relationship Id="rId1790" Type="http://schemas.openxmlformats.org/officeDocument/2006/relationships/slide" Target="slides/slide1786.xml"/><Relationship Id="rId1791" Type="http://schemas.openxmlformats.org/officeDocument/2006/relationships/slide" Target="slides/slide1787.xml"/><Relationship Id="rId1792" Type="http://schemas.openxmlformats.org/officeDocument/2006/relationships/slide" Target="slides/slide1788.xml"/><Relationship Id="rId1793" Type="http://schemas.openxmlformats.org/officeDocument/2006/relationships/slide" Target="slides/slide1789.xml"/><Relationship Id="rId1794" Type="http://schemas.openxmlformats.org/officeDocument/2006/relationships/slide" Target="slides/slide1790.xml"/><Relationship Id="rId1795" Type="http://schemas.openxmlformats.org/officeDocument/2006/relationships/slide" Target="slides/slide1791.xml"/><Relationship Id="rId1796" Type="http://schemas.openxmlformats.org/officeDocument/2006/relationships/slide" Target="slides/slide1792.xml"/><Relationship Id="rId1797" Type="http://schemas.openxmlformats.org/officeDocument/2006/relationships/slide" Target="slides/slide1793.xml"/><Relationship Id="rId1798" Type="http://schemas.openxmlformats.org/officeDocument/2006/relationships/slide" Target="slides/slide1794.xml"/><Relationship Id="rId1799" Type="http://schemas.openxmlformats.org/officeDocument/2006/relationships/slide" Target="slides/slide1795.xml"/><Relationship Id="rId1800" Type="http://schemas.openxmlformats.org/officeDocument/2006/relationships/slide" Target="slides/slide1796.xml"/><Relationship Id="rId1801" Type="http://schemas.openxmlformats.org/officeDocument/2006/relationships/slide" Target="slides/slide1797.xml"/><Relationship Id="rId1802" Type="http://schemas.openxmlformats.org/officeDocument/2006/relationships/slide" Target="slides/slide1798.xml"/><Relationship Id="rId1803" Type="http://schemas.openxmlformats.org/officeDocument/2006/relationships/slide" Target="slides/slide1799.xml"/><Relationship Id="rId1804" Type="http://schemas.openxmlformats.org/officeDocument/2006/relationships/slide" Target="slides/slide1800.xml"/><Relationship Id="rId1805" Type="http://schemas.openxmlformats.org/officeDocument/2006/relationships/slide" Target="slides/slide1801.xml"/><Relationship Id="rId1806" Type="http://schemas.openxmlformats.org/officeDocument/2006/relationships/slide" Target="slides/slide1802.xml"/><Relationship Id="rId1807" Type="http://schemas.openxmlformats.org/officeDocument/2006/relationships/slide" Target="slides/slide1803.xml"/><Relationship Id="rId1808" Type="http://schemas.openxmlformats.org/officeDocument/2006/relationships/slide" Target="slides/slide1804.xml"/><Relationship Id="rId1809" Type="http://schemas.openxmlformats.org/officeDocument/2006/relationships/slide" Target="slides/slide1805.xml"/><Relationship Id="rId1810" Type="http://schemas.openxmlformats.org/officeDocument/2006/relationships/slide" Target="slides/slide1806.xml"/><Relationship Id="rId1811" Type="http://schemas.openxmlformats.org/officeDocument/2006/relationships/slide" Target="slides/slide1807.xml"/><Relationship Id="rId1812" Type="http://schemas.openxmlformats.org/officeDocument/2006/relationships/slide" Target="slides/slide1808.xml"/><Relationship Id="rId1813" Type="http://schemas.openxmlformats.org/officeDocument/2006/relationships/slide" Target="slides/slide1809.xml"/><Relationship Id="rId1814" Type="http://schemas.openxmlformats.org/officeDocument/2006/relationships/slide" Target="slides/slide1810.xml"/><Relationship Id="rId1815" Type="http://schemas.openxmlformats.org/officeDocument/2006/relationships/slide" Target="slides/slide1811.xml"/><Relationship Id="rId1816" Type="http://schemas.openxmlformats.org/officeDocument/2006/relationships/slide" Target="slides/slide1812.xml"/><Relationship Id="rId1817" Type="http://schemas.openxmlformats.org/officeDocument/2006/relationships/slide" Target="slides/slide1813.xml"/><Relationship Id="rId1818" Type="http://schemas.openxmlformats.org/officeDocument/2006/relationships/slide" Target="slides/slide1814.xml"/><Relationship Id="rId1819" Type="http://schemas.openxmlformats.org/officeDocument/2006/relationships/slide" Target="slides/slide1815.xml"/><Relationship Id="rId1820" Type="http://schemas.openxmlformats.org/officeDocument/2006/relationships/slide" Target="slides/slide1816.xml"/><Relationship Id="rId1821" Type="http://schemas.openxmlformats.org/officeDocument/2006/relationships/slide" Target="slides/slide1817.xml"/><Relationship Id="rId1822" Type="http://schemas.openxmlformats.org/officeDocument/2006/relationships/slide" Target="slides/slide1818.xml"/><Relationship Id="rId1823" Type="http://schemas.openxmlformats.org/officeDocument/2006/relationships/slide" Target="slides/slide1819.xml"/><Relationship Id="rId1824" Type="http://schemas.openxmlformats.org/officeDocument/2006/relationships/slide" Target="slides/slide1820.xml"/><Relationship Id="rId1825" Type="http://schemas.openxmlformats.org/officeDocument/2006/relationships/slide" Target="slides/slide1821.xml"/><Relationship Id="rId1826" Type="http://schemas.openxmlformats.org/officeDocument/2006/relationships/slide" Target="slides/slide1822.xml"/><Relationship Id="rId1827" Type="http://schemas.openxmlformats.org/officeDocument/2006/relationships/slide" Target="slides/slide1823.xml"/><Relationship Id="rId1828" Type="http://schemas.openxmlformats.org/officeDocument/2006/relationships/slide" Target="slides/slide1824.xml"/><Relationship Id="rId1829" Type="http://schemas.openxmlformats.org/officeDocument/2006/relationships/slide" Target="slides/slide1825.xml"/><Relationship Id="rId1830" Type="http://schemas.openxmlformats.org/officeDocument/2006/relationships/slide" Target="slides/slide1826.xml"/><Relationship Id="rId1831" Type="http://schemas.openxmlformats.org/officeDocument/2006/relationships/slide" Target="slides/slide1827.xml"/><Relationship Id="rId1832" Type="http://schemas.openxmlformats.org/officeDocument/2006/relationships/slide" Target="slides/slide1828.xml"/><Relationship Id="rId1833" Type="http://schemas.openxmlformats.org/officeDocument/2006/relationships/slide" Target="slides/slide1829.xml"/><Relationship Id="rId1834" Type="http://schemas.openxmlformats.org/officeDocument/2006/relationships/slide" Target="slides/slide1830.xml"/><Relationship Id="rId1835" Type="http://schemas.openxmlformats.org/officeDocument/2006/relationships/slide" Target="slides/slide1831.xml"/><Relationship Id="rId1836" Type="http://schemas.openxmlformats.org/officeDocument/2006/relationships/slide" Target="slides/slide1832.xml"/><Relationship Id="rId1837" Type="http://schemas.openxmlformats.org/officeDocument/2006/relationships/slide" Target="slides/slide1833.xml"/><Relationship Id="rId1838" Type="http://schemas.openxmlformats.org/officeDocument/2006/relationships/slide" Target="slides/slide1834.xml"/><Relationship Id="rId1839" Type="http://schemas.openxmlformats.org/officeDocument/2006/relationships/slide" Target="slides/slide1835.xml"/><Relationship Id="rId1840" Type="http://schemas.openxmlformats.org/officeDocument/2006/relationships/slide" Target="slides/slide1836.xml"/><Relationship Id="rId1841" Type="http://schemas.openxmlformats.org/officeDocument/2006/relationships/slide" Target="slides/slide1837.xml"/><Relationship Id="rId1842" Type="http://schemas.openxmlformats.org/officeDocument/2006/relationships/slide" Target="slides/slide1838.xml"/><Relationship Id="rId1843" Type="http://schemas.openxmlformats.org/officeDocument/2006/relationships/slide" Target="slides/slide1839.xml"/><Relationship Id="rId1844" Type="http://schemas.openxmlformats.org/officeDocument/2006/relationships/slide" Target="slides/slide1840.xml"/><Relationship Id="rId1845" Type="http://schemas.openxmlformats.org/officeDocument/2006/relationships/slide" Target="slides/slide1841.xml"/><Relationship Id="rId1846" Type="http://schemas.openxmlformats.org/officeDocument/2006/relationships/slide" Target="slides/slide1842.xml"/><Relationship Id="rId1847" Type="http://schemas.openxmlformats.org/officeDocument/2006/relationships/slide" Target="slides/slide1843.xml"/><Relationship Id="rId1848" Type="http://schemas.openxmlformats.org/officeDocument/2006/relationships/slide" Target="slides/slide1844.xml"/><Relationship Id="rId1849" Type="http://schemas.openxmlformats.org/officeDocument/2006/relationships/slide" Target="slides/slide1845.xml"/><Relationship Id="rId1850" Type="http://schemas.openxmlformats.org/officeDocument/2006/relationships/slide" Target="slides/slide1846.xml"/><Relationship Id="rId1851" Type="http://schemas.openxmlformats.org/officeDocument/2006/relationships/slide" Target="slides/slide1847.xml"/><Relationship Id="rId1852" Type="http://schemas.openxmlformats.org/officeDocument/2006/relationships/slide" Target="slides/slide1848.xml"/><Relationship Id="rId1853" Type="http://schemas.openxmlformats.org/officeDocument/2006/relationships/slide" Target="slides/slide1849.xml"/><Relationship Id="rId1854" Type="http://schemas.openxmlformats.org/officeDocument/2006/relationships/slide" Target="slides/slide1850.xml"/><Relationship Id="rId1855" Type="http://schemas.openxmlformats.org/officeDocument/2006/relationships/slide" Target="slides/slide1851.xml"/><Relationship Id="rId1856" Type="http://schemas.openxmlformats.org/officeDocument/2006/relationships/slide" Target="slides/slide1852.xml"/><Relationship Id="rId1857" Type="http://schemas.openxmlformats.org/officeDocument/2006/relationships/slide" Target="slides/slide1853.xml"/><Relationship Id="rId1858" Type="http://schemas.openxmlformats.org/officeDocument/2006/relationships/slide" Target="slides/slide1854.xml"/><Relationship Id="rId1859" Type="http://schemas.openxmlformats.org/officeDocument/2006/relationships/slide" Target="slides/slide1855.xml"/><Relationship Id="rId1860" Type="http://schemas.openxmlformats.org/officeDocument/2006/relationships/slide" Target="slides/slide1856.xml"/><Relationship Id="rId1861" Type="http://schemas.openxmlformats.org/officeDocument/2006/relationships/slide" Target="slides/slide1857.xml"/><Relationship Id="rId1862" Type="http://schemas.openxmlformats.org/officeDocument/2006/relationships/slide" Target="slides/slide1858.xml"/><Relationship Id="rId1863" Type="http://schemas.openxmlformats.org/officeDocument/2006/relationships/slide" Target="slides/slide1859.xml"/><Relationship Id="rId1864" Type="http://schemas.openxmlformats.org/officeDocument/2006/relationships/slide" Target="slides/slide1860.xml"/><Relationship Id="rId1865" Type="http://schemas.openxmlformats.org/officeDocument/2006/relationships/slide" Target="slides/slide1861.xml"/><Relationship Id="rId1866" Type="http://schemas.openxmlformats.org/officeDocument/2006/relationships/slide" Target="slides/slide1862.xml"/><Relationship Id="rId1867" Type="http://schemas.openxmlformats.org/officeDocument/2006/relationships/slide" Target="slides/slide1863.xml"/><Relationship Id="rId1868" Type="http://schemas.openxmlformats.org/officeDocument/2006/relationships/slide" Target="slides/slide1864.xml"/><Relationship Id="rId1869" Type="http://schemas.openxmlformats.org/officeDocument/2006/relationships/slide" Target="slides/slide1865.xml"/><Relationship Id="rId1870" Type="http://schemas.openxmlformats.org/officeDocument/2006/relationships/slide" Target="slides/slide1866.xml"/><Relationship Id="rId1871" Type="http://schemas.openxmlformats.org/officeDocument/2006/relationships/slide" Target="slides/slide1867.xml"/><Relationship Id="rId1872" Type="http://schemas.openxmlformats.org/officeDocument/2006/relationships/slide" Target="slides/slide1868.xml"/><Relationship Id="rId1873" Type="http://schemas.openxmlformats.org/officeDocument/2006/relationships/slide" Target="slides/slide1869.xml"/><Relationship Id="rId1874" Type="http://schemas.openxmlformats.org/officeDocument/2006/relationships/slide" Target="slides/slide1870.xml"/><Relationship Id="rId1875" Type="http://schemas.openxmlformats.org/officeDocument/2006/relationships/slide" Target="slides/slide1871.xml"/><Relationship Id="rId1876" Type="http://schemas.openxmlformats.org/officeDocument/2006/relationships/slide" Target="slides/slide1872.xml"/><Relationship Id="rId1877" Type="http://schemas.openxmlformats.org/officeDocument/2006/relationships/slide" Target="slides/slide1873.xml"/><Relationship Id="rId1878" Type="http://schemas.openxmlformats.org/officeDocument/2006/relationships/slide" Target="slides/slide1874.xml"/><Relationship Id="rId1879" Type="http://schemas.openxmlformats.org/officeDocument/2006/relationships/slide" Target="slides/slide1875.xml"/><Relationship Id="rId1880" Type="http://schemas.openxmlformats.org/officeDocument/2006/relationships/slide" Target="slides/slide1876.xml"/><Relationship Id="rId1881" Type="http://schemas.openxmlformats.org/officeDocument/2006/relationships/slide" Target="slides/slide1877.xml"/><Relationship Id="rId1882" Type="http://schemas.openxmlformats.org/officeDocument/2006/relationships/slide" Target="slides/slide1878.xml"/><Relationship Id="rId1883" Type="http://schemas.openxmlformats.org/officeDocument/2006/relationships/slide" Target="slides/slide1879.xml"/><Relationship Id="rId1884" Type="http://schemas.openxmlformats.org/officeDocument/2006/relationships/slide" Target="slides/slide1880.xml"/><Relationship Id="rId1885" Type="http://schemas.openxmlformats.org/officeDocument/2006/relationships/slide" Target="slides/slide1881.xml"/><Relationship Id="rId1886" Type="http://schemas.openxmlformats.org/officeDocument/2006/relationships/slide" Target="slides/slide1882.xml"/><Relationship Id="rId1887" Type="http://schemas.openxmlformats.org/officeDocument/2006/relationships/slide" Target="slides/slide1883.xml"/><Relationship Id="rId1888" Type="http://schemas.openxmlformats.org/officeDocument/2006/relationships/slide" Target="slides/slide1884.xml"/><Relationship Id="rId1889" Type="http://schemas.openxmlformats.org/officeDocument/2006/relationships/slide" Target="slides/slide1885.xml"/><Relationship Id="rId1890" Type="http://schemas.openxmlformats.org/officeDocument/2006/relationships/slide" Target="slides/slide1886.xml"/><Relationship Id="rId1891" Type="http://schemas.openxmlformats.org/officeDocument/2006/relationships/slide" Target="slides/slide1887.xml"/><Relationship Id="rId1892" Type="http://schemas.openxmlformats.org/officeDocument/2006/relationships/slide" Target="slides/slide1888.xml"/><Relationship Id="rId1893" Type="http://schemas.openxmlformats.org/officeDocument/2006/relationships/slide" Target="slides/slide1889.xml"/><Relationship Id="rId1894" Type="http://schemas.openxmlformats.org/officeDocument/2006/relationships/slide" Target="slides/slide1890.xml"/><Relationship Id="rId1895" Type="http://schemas.openxmlformats.org/officeDocument/2006/relationships/slide" Target="slides/slide1891.xml"/><Relationship Id="rId1896" Type="http://schemas.openxmlformats.org/officeDocument/2006/relationships/slide" Target="slides/slide1892.xml"/><Relationship Id="rId1897" Type="http://schemas.openxmlformats.org/officeDocument/2006/relationships/slide" Target="slides/slide1893.xml"/><Relationship Id="rId1898" Type="http://schemas.openxmlformats.org/officeDocument/2006/relationships/slide" Target="slides/slide1894.xml"/><Relationship Id="rId1899" Type="http://schemas.openxmlformats.org/officeDocument/2006/relationships/slide" Target="slides/slide1895.xml"/><Relationship Id="rId1900" Type="http://schemas.openxmlformats.org/officeDocument/2006/relationships/slide" Target="slides/slide1896.xml"/><Relationship Id="rId1901" Type="http://schemas.openxmlformats.org/officeDocument/2006/relationships/slide" Target="slides/slide1897.xml"/><Relationship Id="rId1902" Type="http://schemas.openxmlformats.org/officeDocument/2006/relationships/slide" Target="slides/slide1898.xml"/><Relationship Id="rId1903" Type="http://schemas.openxmlformats.org/officeDocument/2006/relationships/slide" Target="slides/slide1899.xml"/><Relationship Id="rId1904" Type="http://schemas.openxmlformats.org/officeDocument/2006/relationships/slide" Target="slides/slide1900.xml"/><Relationship Id="rId1905" Type="http://schemas.openxmlformats.org/officeDocument/2006/relationships/slide" Target="slides/slide1901.xml"/><Relationship Id="rId1906" Type="http://schemas.openxmlformats.org/officeDocument/2006/relationships/slide" Target="slides/slide1902.xml"/><Relationship Id="rId1907" Type="http://schemas.openxmlformats.org/officeDocument/2006/relationships/slide" Target="slides/slide1903.xml"/><Relationship Id="rId1908" Type="http://schemas.openxmlformats.org/officeDocument/2006/relationships/slide" Target="slides/slide1904.xml"/><Relationship Id="rId1909" Type="http://schemas.openxmlformats.org/officeDocument/2006/relationships/slide" Target="slides/slide1905.xml"/><Relationship Id="rId1910" Type="http://schemas.openxmlformats.org/officeDocument/2006/relationships/slide" Target="slides/slide1906.xml"/><Relationship Id="rId1911" Type="http://schemas.openxmlformats.org/officeDocument/2006/relationships/slide" Target="slides/slide1907.xml"/><Relationship Id="rId1912" Type="http://schemas.openxmlformats.org/officeDocument/2006/relationships/slide" Target="slides/slide1908.xml"/><Relationship Id="rId1913" Type="http://schemas.openxmlformats.org/officeDocument/2006/relationships/slide" Target="slides/slide1909.xml"/><Relationship Id="rId1914" Type="http://schemas.openxmlformats.org/officeDocument/2006/relationships/slide" Target="slides/slide1910.xml"/><Relationship Id="rId1915" Type="http://schemas.openxmlformats.org/officeDocument/2006/relationships/slide" Target="slides/slide1911.xml"/><Relationship Id="rId1916" Type="http://schemas.openxmlformats.org/officeDocument/2006/relationships/slide" Target="slides/slide1912.xml"/><Relationship Id="rId1917" Type="http://schemas.openxmlformats.org/officeDocument/2006/relationships/slide" Target="slides/slide1913.xml"/><Relationship Id="rId1918" Type="http://schemas.openxmlformats.org/officeDocument/2006/relationships/slide" Target="slides/slide1914.xml"/><Relationship Id="rId1919" Type="http://schemas.openxmlformats.org/officeDocument/2006/relationships/slide" Target="slides/slide1915.xml"/><Relationship Id="rId1920" Type="http://schemas.openxmlformats.org/officeDocument/2006/relationships/slide" Target="slides/slide1916.xml"/><Relationship Id="rId1921" Type="http://schemas.openxmlformats.org/officeDocument/2006/relationships/slide" Target="slides/slide1917.xml"/><Relationship Id="rId1922" Type="http://schemas.openxmlformats.org/officeDocument/2006/relationships/slide" Target="slides/slide1918.xml"/><Relationship Id="rId1923" Type="http://schemas.openxmlformats.org/officeDocument/2006/relationships/slide" Target="slides/slide1919.xml"/><Relationship Id="rId1924" Type="http://schemas.openxmlformats.org/officeDocument/2006/relationships/slide" Target="slides/slide1920.xml"/><Relationship Id="rId1925" Type="http://schemas.openxmlformats.org/officeDocument/2006/relationships/slide" Target="slides/slide1921.xml"/><Relationship Id="rId1926" Type="http://schemas.openxmlformats.org/officeDocument/2006/relationships/slide" Target="slides/slide1922.xml"/><Relationship Id="rId1927" Type="http://schemas.openxmlformats.org/officeDocument/2006/relationships/slide" Target="slides/slide1923.xml"/><Relationship Id="rId1928" Type="http://schemas.openxmlformats.org/officeDocument/2006/relationships/slide" Target="slides/slide1924.xml"/><Relationship Id="rId1929" Type="http://schemas.openxmlformats.org/officeDocument/2006/relationships/slide" Target="slides/slide1925.xml"/><Relationship Id="rId1930" Type="http://schemas.openxmlformats.org/officeDocument/2006/relationships/slide" Target="slides/slide1926.xml"/><Relationship Id="rId1931" Type="http://schemas.openxmlformats.org/officeDocument/2006/relationships/slide" Target="slides/slide1927.xml"/><Relationship Id="rId1932" Type="http://schemas.openxmlformats.org/officeDocument/2006/relationships/slide" Target="slides/slide1928.xml"/><Relationship Id="rId1933" Type="http://schemas.openxmlformats.org/officeDocument/2006/relationships/slide" Target="slides/slide1929.xml"/><Relationship Id="rId1934" Type="http://schemas.openxmlformats.org/officeDocument/2006/relationships/slide" Target="slides/slide1930.xml"/><Relationship Id="rId1935" Type="http://schemas.openxmlformats.org/officeDocument/2006/relationships/slide" Target="slides/slide1931.xml"/><Relationship Id="rId1936" Type="http://schemas.openxmlformats.org/officeDocument/2006/relationships/slide" Target="slides/slide1932.xml"/><Relationship Id="rId1937" Type="http://schemas.openxmlformats.org/officeDocument/2006/relationships/slide" Target="slides/slide1933.xml"/><Relationship Id="rId1938" Type="http://schemas.openxmlformats.org/officeDocument/2006/relationships/slide" Target="slides/slide1934.xml"/><Relationship Id="rId1939" Type="http://schemas.openxmlformats.org/officeDocument/2006/relationships/slide" Target="slides/slide1935.xml"/><Relationship Id="rId1940" Type="http://schemas.openxmlformats.org/officeDocument/2006/relationships/slide" Target="slides/slide1936.xml"/><Relationship Id="rId1941" Type="http://schemas.openxmlformats.org/officeDocument/2006/relationships/slide" Target="slides/slide1937.xml"/><Relationship Id="rId1942" Type="http://schemas.openxmlformats.org/officeDocument/2006/relationships/slide" Target="slides/slide1938.xml"/><Relationship Id="rId1943" Type="http://schemas.openxmlformats.org/officeDocument/2006/relationships/slide" Target="slides/slide1939.xml"/><Relationship Id="rId1944" Type="http://schemas.openxmlformats.org/officeDocument/2006/relationships/slide" Target="slides/slide1940.xml"/><Relationship Id="rId1945" Type="http://schemas.openxmlformats.org/officeDocument/2006/relationships/slide" Target="slides/slide1941.xml"/><Relationship Id="rId1946" Type="http://schemas.openxmlformats.org/officeDocument/2006/relationships/slide" Target="slides/slide1942.xml"/><Relationship Id="rId1947" Type="http://schemas.openxmlformats.org/officeDocument/2006/relationships/slide" Target="slides/slide1943.xml"/><Relationship Id="rId1948" Type="http://schemas.openxmlformats.org/officeDocument/2006/relationships/slide" Target="slides/slide1944.xml"/><Relationship Id="rId1949" Type="http://schemas.openxmlformats.org/officeDocument/2006/relationships/slide" Target="slides/slide1945.xml"/><Relationship Id="rId1950" Type="http://schemas.openxmlformats.org/officeDocument/2006/relationships/slide" Target="slides/slide1946.xml"/><Relationship Id="rId1951" Type="http://schemas.openxmlformats.org/officeDocument/2006/relationships/slide" Target="slides/slide1947.xml"/><Relationship Id="rId1952" Type="http://schemas.openxmlformats.org/officeDocument/2006/relationships/slide" Target="slides/slide1948.xml"/><Relationship Id="rId1953" Type="http://schemas.openxmlformats.org/officeDocument/2006/relationships/slide" Target="slides/slide1949.xml"/><Relationship Id="rId1954" Type="http://schemas.openxmlformats.org/officeDocument/2006/relationships/slide" Target="slides/slide1950.xml"/><Relationship Id="rId1955" Type="http://schemas.openxmlformats.org/officeDocument/2006/relationships/slide" Target="slides/slide1951.xml"/><Relationship Id="rId1956" Type="http://schemas.openxmlformats.org/officeDocument/2006/relationships/slide" Target="slides/slide1952.xml"/><Relationship Id="rId1957" Type="http://schemas.openxmlformats.org/officeDocument/2006/relationships/slide" Target="slides/slide1953.xml"/><Relationship Id="rId1958" Type="http://schemas.openxmlformats.org/officeDocument/2006/relationships/slide" Target="slides/slide1954.xml"/><Relationship Id="rId1959" Type="http://schemas.openxmlformats.org/officeDocument/2006/relationships/slide" Target="slides/slide1955.xml"/><Relationship Id="rId1960" Type="http://schemas.openxmlformats.org/officeDocument/2006/relationships/slide" Target="slides/slide1956.xml"/><Relationship Id="rId1961" Type="http://schemas.openxmlformats.org/officeDocument/2006/relationships/slide" Target="slides/slide1957.xml"/><Relationship Id="rId1962" Type="http://schemas.openxmlformats.org/officeDocument/2006/relationships/slide" Target="slides/slide1958.xml"/><Relationship Id="rId1963" Type="http://schemas.openxmlformats.org/officeDocument/2006/relationships/slide" Target="slides/slide1959.xml"/><Relationship Id="rId1964" Type="http://schemas.openxmlformats.org/officeDocument/2006/relationships/slide" Target="slides/slide1960.xml"/><Relationship Id="rId1965" Type="http://schemas.openxmlformats.org/officeDocument/2006/relationships/slide" Target="slides/slide1961.xml"/><Relationship Id="rId1966" Type="http://schemas.openxmlformats.org/officeDocument/2006/relationships/slide" Target="slides/slide1962.xml"/><Relationship Id="rId1967" Type="http://schemas.openxmlformats.org/officeDocument/2006/relationships/slide" Target="slides/slide1963.xml"/><Relationship Id="rId1968" Type="http://schemas.openxmlformats.org/officeDocument/2006/relationships/slide" Target="slides/slide1964.xml"/><Relationship Id="rId1969" Type="http://schemas.openxmlformats.org/officeDocument/2006/relationships/slide" Target="slides/slide1965.xml"/><Relationship Id="rId1970" Type="http://schemas.openxmlformats.org/officeDocument/2006/relationships/slide" Target="slides/slide1966.xml"/><Relationship Id="rId1971" Type="http://schemas.openxmlformats.org/officeDocument/2006/relationships/slide" Target="slides/slide1967.xml"/><Relationship Id="rId1972" Type="http://schemas.openxmlformats.org/officeDocument/2006/relationships/slide" Target="slides/slide1968.xml"/><Relationship Id="rId1973" Type="http://schemas.openxmlformats.org/officeDocument/2006/relationships/slide" Target="slides/slide1969.xml"/><Relationship Id="rId1974" Type="http://schemas.openxmlformats.org/officeDocument/2006/relationships/slide" Target="slides/slide1970.xml"/><Relationship Id="rId1975" Type="http://schemas.openxmlformats.org/officeDocument/2006/relationships/slide" Target="slides/slide1971.xml"/><Relationship Id="rId1976" Type="http://schemas.openxmlformats.org/officeDocument/2006/relationships/slide" Target="slides/slide1972.xml"/><Relationship Id="rId1977" Type="http://schemas.openxmlformats.org/officeDocument/2006/relationships/slide" Target="slides/slide1973.xml"/><Relationship Id="rId1978" Type="http://schemas.openxmlformats.org/officeDocument/2006/relationships/slide" Target="slides/slide1974.xml"/><Relationship Id="rId1979" Type="http://schemas.openxmlformats.org/officeDocument/2006/relationships/slide" Target="slides/slide1975.xml"/><Relationship Id="rId1980" Type="http://schemas.openxmlformats.org/officeDocument/2006/relationships/slide" Target="slides/slide1976.xml"/><Relationship Id="rId1981" Type="http://schemas.openxmlformats.org/officeDocument/2006/relationships/slide" Target="slides/slide1977.xml"/><Relationship Id="rId1982" Type="http://schemas.openxmlformats.org/officeDocument/2006/relationships/slide" Target="slides/slide1978.xml"/><Relationship Id="rId1983" Type="http://schemas.openxmlformats.org/officeDocument/2006/relationships/slide" Target="slides/slide1979.xml"/><Relationship Id="rId1984" Type="http://schemas.openxmlformats.org/officeDocument/2006/relationships/slide" Target="slides/slide1980.xml"/><Relationship Id="rId1985" Type="http://schemas.openxmlformats.org/officeDocument/2006/relationships/slide" Target="slides/slide1981.xml"/><Relationship Id="rId1986" Type="http://schemas.openxmlformats.org/officeDocument/2006/relationships/slide" Target="slides/slide1982.xml"/><Relationship Id="rId1987" Type="http://schemas.openxmlformats.org/officeDocument/2006/relationships/slide" Target="slides/slide1983.xml"/><Relationship Id="rId1988" Type="http://schemas.openxmlformats.org/officeDocument/2006/relationships/slide" Target="slides/slide1984.xml"/><Relationship Id="rId1989" Type="http://schemas.openxmlformats.org/officeDocument/2006/relationships/slide" Target="slides/slide1985.xml"/><Relationship Id="rId1990" Type="http://schemas.openxmlformats.org/officeDocument/2006/relationships/slide" Target="slides/slide1986.xml"/><Relationship Id="rId1991" Type="http://schemas.openxmlformats.org/officeDocument/2006/relationships/slide" Target="slides/slide1987.xml"/><Relationship Id="rId1992" Type="http://schemas.openxmlformats.org/officeDocument/2006/relationships/slide" Target="slides/slide1988.xml"/><Relationship Id="rId1993" Type="http://schemas.openxmlformats.org/officeDocument/2006/relationships/slide" Target="slides/slide1989.xml"/><Relationship Id="rId1994" Type="http://schemas.openxmlformats.org/officeDocument/2006/relationships/slide" Target="slides/slide1990.xml"/><Relationship Id="rId1995" Type="http://schemas.openxmlformats.org/officeDocument/2006/relationships/slide" Target="slides/slide1991.xml"/><Relationship Id="rId1996" Type="http://schemas.openxmlformats.org/officeDocument/2006/relationships/slide" Target="slides/slide1992.xml"/><Relationship Id="rId1997" Type="http://schemas.openxmlformats.org/officeDocument/2006/relationships/slide" Target="slides/slide1993.xml"/><Relationship Id="rId1998" Type="http://schemas.openxmlformats.org/officeDocument/2006/relationships/slide" Target="slides/slide1994.xml"/><Relationship Id="rId1999" Type="http://schemas.openxmlformats.org/officeDocument/2006/relationships/slide" Target="slides/slide1995.xml"/><Relationship Id="rId2000" Type="http://schemas.openxmlformats.org/officeDocument/2006/relationships/slide" Target="slides/slide1996.xml"/><Relationship Id="rId2001" Type="http://schemas.openxmlformats.org/officeDocument/2006/relationships/slide" Target="slides/slide1997.xml"/><Relationship Id="rId2002" Type="http://schemas.openxmlformats.org/officeDocument/2006/relationships/slide" Target="slides/slide1998.xml"/><Relationship Id="rId2003" Type="http://schemas.openxmlformats.org/officeDocument/2006/relationships/slide" Target="slides/slide1999.xml"/><Relationship Id="rId2004" Type="http://schemas.openxmlformats.org/officeDocument/2006/relationships/slide" Target="slides/slide2000.xml"/><Relationship Id="rId2005" Type="http://schemas.openxmlformats.org/officeDocument/2006/relationships/slide" Target="slides/slide2001.xml"/><Relationship Id="rId2006" Type="http://schemas.openxmlformats.org/officeDocument/2006/relationships/slide" Target="slides/slide2002.xml"/><Relationship Id="rId2007" Type="http://schemas.openxmlformats.org/officeDocument/2006/relationships/slide" Target="slides/slide2003.xml"/><Relationship Id="rId2008" Type="http://schemas.openxmlformats.org/officeDocument/2006/relationships/slide" Target="slides/slide2004.xml"/><Relationship Id="rId2009" Type="http://schemas.openxmlformats.org/officeDocument/2006/relationships/slide" Target="slides/slide2005.xml"/><Relationship Id="rId2010" Type="http://schemas.openxmlformats.org/officeDocument/2006/relationships/slide" Target="slides/slide2006.xml"/><Relationship Id="rId2011" Type="http://schemas.openxmlformats.org/officeDocument/2006/relationships/slide" Target="slides/slide2007.xml"/><Relationship Id="rId2012" Type="http://schemas.openxmlformats.org/officeDocument/2006/relationships/slide" Target="slides/slide2008.xml"/><Relationship Id="rId2013" Type="http://schemas.openxmlformats.org/officeDocument/2006/relationships/slide" Target="slides/slide2009.xml"/><Relationship Id="rId2014" Type="http://schemas.openxmlformats.org/officeDocument/2006/relationships/slide" Target="slides/slide2010.xml"/><Relationship Id="rId2015" Type="http://schemas.openxmlformats.org/officeDocument/2006/relationships/slide" Target="slides/slide2011.xml"/><Relationship Id="rId2016" Type="http://schemas.openxmlformats.org/officeDocument/2006/relationships/slide" Target="slides/slide2012.xml"/><Relationship Id="rId2017" Type="http://schemas.openxmlformats.org/officeDocument/2006/relationships/slide" Target="slides/slide2013.xml"/><Relationship Id="rId2018" Type="http://schemas.openxmlformats.org/officeDocument/2006/relationships/slide" Target="slides/slide2014.xml"/><Relationship Id="rId2019" Type="http://schemas.openxmlformats.org/officeDocument/2006/relationships/slide" Target="slides/slide2015.xml"/><Relationship Id="rId2020" Type="http://schemas.openxmlformats.org/officeDocument/2006/relationships/slide" Target="slides/slide2016.xml"/><Relationship Id="rId2021" Type="http://schemas.openxmlformats.org/officeDocument/2006/relationships/notesMaster" Target="notesMasters/notesMaster1.xml"/><Relationship Id="rId2022" Type="http://schemas.openxmlformats.org/officeDocument/2006/relationships/presProps" Target="presProps.xml"/><Relationship Id="rId2023" Type="http://schemas.openxmlformats.org/officeDocument/2006/relationships/viewProps" Target="viewProps.xml"/><Relationship Id="rId2024" Type="http://schemas.openxmlformats.org/officeDocument/2006/relationships/theme" Target="theme/theme1.xml"/><Relationship Id="rId2025" Type="http://schemas.openxmlformats.org/officeDocument/2006/relationships/tableStyles" Target="tableStyles.xml"/><Relationship Id="rId2026" Type="http://schemas.microsoft.com/office/2018/10/relationships/authors" Target="authors.xml"/></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15.xml.rels><?xml version='1.0' encoding='UTF-8' standalone='yes'?>
<Relationships xmlns="http://schemas.openxmlformats.org/package/2006/relationships"><Relationship Id="rId1" Type="http://schemas.openxmlformats.org/officeDocument/2006/relationships/package" Target="../embeddings/Microsoft_Excel_Worksheet1114.xlsx"/></Relationships>
</file>

<file path=ppt/charts/_rels/chart1116.xml.rels><?xml version='1.0' encoding='UTF-8' standalone='yes'?>
<Relationships xmlns="http://schemas.openxmlformats.org/package/2006/relationships"><Relationship Id="rId1" Type="http://schemas.openxmlformats.org/officeDocument/2006/relationships/package" Target="../embeddings/Microsoft_Excel_Worksheet1115.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61.xml.rels><?xml version='1.0' encoding='UTF-8' standalone='yes'?>
<Relationships xmlns="http://schemas.openxmlformats.org/package/2006/relationships"><Relationship Id="rId1"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package" Target="../embeddings/Microsoft_Excel_Worksheet1163.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73.xml.rels><?xml version='1.0' encoding='UTF-8' standalone='yes'?>
<Relationships xmlns="http://schemas.openxmlformats.org/package/2006/relationships"><Relationship Id="rId1" Type="http://schemas.openxmlformats.org/officeDocument/2006/relationships/package" Target="../embeddings/Microsoft_Excel_Worksheet1172.xlsx"/></Relationships>
</file>

<file path=ppt/charts/_rels/chart1174.xml.rels><?xml version='1.0' encoding='UTF-8' standalone='yes'?>
<Relationships xmlns="http://schemas.openxmlformats.org/package/2006/relationships"><Relationship Id="rId1" Type="http://schemas.openxmlformats.org/officeDocument/2006/relationships/package" Target="../embeddings/Microsoft_Excel_Worksheet1173.xlsx"/></Relationships>
</file>

<file path=ppt/charts/_rels/chart1175.xml.rels><?xml version='1.0' encoding='UTF-8' standalone='yes'?>
<Relationships xmlns="http://schemas.openxmlformats.org/package/2006/relationships"><Relationship Id="rId1" Type="http://schemas.openxmlformats.org/officeDocument/2006/relationships/package" Target="../embeddings/Microsoft_Excel_Worksheet1174.xlsx"/></Relationships>
</file>

<file path=ppt/charts/_rels/chart1176.xml.rels><?xml version='1.0' encoding='UTF-8' standalone='yes'?>
<Relationships xmlns="http://schemas.openxmlformats.org/package/2006/relationships"><Relationship Id="rId1" Type="http://schemas.openxmlformats.org/officeDocument/2006/relationships/package" Target="../embeddings/Microsoft_Excel_Worksheet1175.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193.xml.rels><?xml version='1.0' encoding='UTF-8' standalone='yes'?>
<Relationships xmlns="http://schemas.openxmlformats.org/package/2006/relationships"><Relationship Id="rId1" Type="http://schemas.openxmlformats.org/officeDocument/2006/relationships/package" Target="../embeddings/Microsoft_Excel_Worksheet1192.xlsx"/></Relationships>
</file>

<file path=ppt/charts/_rels/chart1194.xml.rels><?xml version='1.0' encoding='UTF-8' standalone='yes'?>
<Relationships xmlns="http://schemas.openxmlformats.org/package/2006/relationships"><Relationship Id="rId1" Type="http://schemas.openxmlformats.org/officeDocument/2006/relationships/package" Target="../embeddings/Microsoft_Excel_Worksheet1193.xlsx"/></Relationships>
</file>

<file path=ppt/charts/_rels/chart1195.xml.rels><?xml version='1.0' encoding='UTF-8' standalone='yes'?>
<Relationships xmlns="http://schemas.openxmlformats.org/package/2006/relationships"><Relationship Id="rId1"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package" Target="../embeddings/Microsoft_Excel_Worksheet1195.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23.xml.rels><?xml version='1.0' encoding='UTF-8' standalone='yes'?>
<Relationships xmlns="http://schemas.openxmlformats.org/package/2006/relationships"><Relationship Id="rId1"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openxmlformats.org/officeDocument/2006/relationships/package" Target="../embeddings/Microsoft_Excel_Worksheet1223.xlsx"/></Relationships>
</file>

<file path=ppt/charts/_rels/chart1225.xml.rels><?xml version='1.0' encoding='UTF-8' standalone='yes'?>
<Relationships xmlns="http://schemas.openxmlformats.org/package/2006/relationships"><Relationship Id="rId1" Type="http://schemas.openxmlformats.org/officeDocument/2006/relationships/package" Target="../embeddings/Microsoft_Excel_Worksheet1224.xlsx"/></Relationships>
</file>

<file path=ppt/charts/_rels/chart1226.xml.rels><?xml version='1.0' encoding='UTF-8' standalone='yes'?>
<Relationships xmlns="http://schemas.openxmlformats.org/package/2006/relationships"><Relationship Id="rId1" Type="http://schemas.openxmlformats.org/officeDocument/2006/relationships/package" Target="../embeddings/Microsoft_Excel_Worksheet1225.xlsx"/></Relationships>
</file>

<file path=ppt/charts/_rels/chart1237.xml.rels><?xml version='1.0' encoding='UTF-8' standalone='yes'?>
<Relationships xmlns="http://schemas.openxmlformats.org/package/2006/relationships"><Relationship Id="rId1" Type="http://schemas.openxmlformats.org/officeDocument/2006/relationships/package" Target="../embeddings/Microsoft_Excel_Worksheet1236.xlsx"/></Relationships>
</file>

<file path=ppt/charts/_rels/chart1238.xml.rels><?xml version='1.0' encoding='UTF-8' standalone='yes'?>
<Relationships xmlns="http://schemas.openxmlformats.org/package/2006/relationships"><Relationship Id="rId1" Type="http://schemas.openxmlformats.org/officeDocument/2006/relationships/package" Target="../embeddings/Microsoft_Excel_Worksheet1237.xlsx"/></Relationships>
</file>

<file path=ppt/charts/_rels/chart1239.xml.rels><?xml version='1.0' encoding='UTF-8' standalone='yes'?>
<Relationships xmlns="http://schemas.openxmlformats.org/package/2006/relationships"><Relationship Id="rId1" Type="http://schemas.openxmlformats.org/officeDocument/2006/relationships/package" Target="../embeddings/Microsoft_Excel_Worksheet1238.xlsx"/></Relationships>
</file>

<file path=ppt/charts/_rels/chart1240.xml.rels><?xml version='1.0' encoding='UTF-8' standalone='yes'?>
<Relationships xmlns="http://schemas.openxmlformats.org/package/2006/relationships"><Relationship Id="rId1" Type="http://schemas.openxmlformats.org/officeDocument/2006/relationships/package" Target="../embeddings/Microsoft_Excel_Worksheet1239.xlsx"/></Relationships>
</file>

<file path=ppt/charts/_rels/chart1251.xml.rels><?xml version='1.0' encoding='UTF-8' standalone='yes'?>
<Relationships xmlns="http://schemas.openxmlformats.org/package/2006/relationships"><Relationship Id="rId1" Type="http://schemas.openxmlformats.org/officeDocument/2006/relationships/package" Target="../embeddings/Microsoft_Excel_Worksheet1250.xlsx"/></Relationships>
</file>

<file path=ppt/charts/_rels/chart1252.xml.rels><?xml version='1.0' encoding='UTF-8' standalone='yes'?>
<Relationships xmlns="http://schemas.openxmlformats.org/package/2006/relationships"><Relationship Id="rId1" Type="http://schemas.openxmlformats.org/officeDocument/2006/relationships/package" Target="../embeddings/Microsoft_Excel_Worksheet1251.xlsx"/></Relationships>
</file>

<file path=ppt/charts/_rels/chart1253.xml.rels><?xml version='1.0' encoding='UTF-8' standalone='yes'?>
<Relationships xmlns="http://schemas.openxmlformats.org/package/2006/relationships"><Relationship Id="rId1" Type="http://schemas.openxmlformats.org/officeDocument/2006/relationships/package" Target="../embeddings/Microsoft_Excel_Worksheet1252.xlsx"/></Relationships>
</file>

<file path=ppt/charts/_rels/chart1254.xml.rels><?xml version='1.0' encoding='UTF-8' standalone='yes'?>
<Relationships xmlns="http://schemas.openxmlformats.org/package/2006/relationships"><Relationship Id="rId1" Type="http://schemas.openxmlformats.org/officeDocument/2006/relationships/package" Target="../embeddings/Microsoft_Excel_Worksheet1253.xlsx"/></Relationships>
</file>

<file path=ppt/charts/_rels/chart1267.xml.rels><?xml version='1.0' encoding='UTF-8' standalone='yes'?>
<Relationships xmlns="http://schemas.openxmlformats.org/package/2006/relationships"><Relationship Id="rId1" Type="http://schemas.openxmlformats.org/officeDocument/2006/relationships/package" Target="../embeddings/Microsoft_Excel_Worksheet1266.xlsx"/></Relationships>
</file>

<file path=ppt/charts/_rels/chart1268.xml.rels><?xml version='1.0' encoding='UTF-8' standalone='yes'?>
<Relationships xmlns="http://schemas.openxmlformats.org/package/2006/relationships"><Relationship Id="rId1" Type="http://schemas.openxmlformats.org/officeDocument/2006/relationships/package" Target="../embeddings/Microsoft_Excel_Worksheet1267.xlsx"/></Relationships>
</file>

<file path=ppt/charts/_rels/chart1269.xml.rels><?xml version='1.0' encoding='UTF-8' standalone='yes'?>
<Relationships xmlns="http://schemas.openxmlformats.org/package/2006/relationships"><Relationship Id="rId1" Type="http://schemas.openxmlformats.org/officeDocument/2006/relationships/package" Target="../embeddings/Microsoft_Excel_Worksheet1268.xlsx"/></Relationships>
</file>

<file path=ppt/charts/_rels/chart1270.xml.rels><?xml version='1.0' encoding='UTF-8' standalone='yes'?>
<Relationships xmlns="http://schemas.openxmlformats.org/package/2006/relationships"><Relationship Id="rId1" Type="http://schemas.openxmlformats.org/officeDocument/2006/relationships/package" Target="../embeddings/Microsoft_Excel_Worksheet1269.xlsx"/></Relationships>
</file>

<file path=ppt/charts/_rels/chart1281.xml.rels><?xml version='1.0' encoding='UTF-8' standalone='yes'?>
<Relationships xmlns="http://schemas.openxmlformats.org/package/2006/relationships"><Relationship Id="rId1" Type="http://schemas.openxmlformats.org/officeDocument/2006/relationships/package" Target="../embeddings/Microsoft_Excel_Worksheet1280.xlsx"/></Relationships>
</file>

<file path=ppt/charts/_rels/chart1282.xml.rels><?xml version='1.0' encoding='UTF-8' standalone='yes'?>
<Relationships xmlns="http://schemas.openxmlformats.org/package/2006/relationships"><Relationship Id="rId1" Type="http://schemas.openxmlformats.org/officeDocument/2006/relationships/package" Target="../embeddings/Microsoft_Excel_Worksheet1281.xlsx"/></Relationships>
</file>

<file path=ppt/charts/_rels/chart1283.xml.rels><?xml version='1.0' encoding='UTF-8' standalone='yes'?>
<Relationships xmlns="http://schemas.openxmlformats.org/package/2006/relationships"><Relationship Id="rId1" Type="http://schemas.openxmlformats.org/officeDocument/2006/relationships/package" Target="../embeddings/Microsoft_Excel_Worksheet1282.xlsx"/></Relationships>
</file>

<file path=ppt/charts/_rels/chart1284.xml.rels><?xml version='1.0' encoding='UTF-8' standalone='yes'?>
<Relationships xmlns="http://schemas.openxmlformats.org/package/2006/relationships"><Relationship Id="rId1" Type="http://schemas.openxmlformats.org/officeDocument/2006/relationships/package" Target="../embeddings/Microsoft_Excel_Worksheet1283.xlsx"/></Relationships>
</file>

<file path=ppt/charts/_rels/chart1295.xml.rels><?xml version='1.0' encoding='UTF-8' standalone='yes'?>
<Relationships xmlns="http://schemas.openxmlformats.org/package/2006/relationships"><Relationship Id="rId1" Type="http://schemas.openxmlformats.org/officeDocument/2006/relationships/package" Target="../embeddings/Microsoft_Excel_Worksheet1294.xlsx"/></Relationships>
</file>

<file path=ppt/charts/_rels/chart1296.xml.rels><?xml version='1.0' encoding='UTF-8' standalone='yes'?>
<Relationships xmlns="http://schemas.openxmlformats.org/package/2006/relationships"><Relationship Id="rId1" Type="http://schemas.openxmlformats.org/officeDocument/2006/relationships/package" Target="../embeddings/Microsoft_Excel_Worksheet1295.xlsx"/></Relationships>
</file>

<file path=ppt/charts/_rels/chart1297.xml.rels><?xml version='1.0' encoding='UTF-8' standalone='yes'?>
<Relationships xmlns="http://schemas.openxmlformats.org/package/2006/relationships"><Relationship Id="rId1" Type="http://schemas.openxmlformats.org/officeDocument/2006/relationships/package" Target="../embeddings/Microsoft_Excel_Worksheet1296.xlsx"/></Relationships>
</file>

<file path=ppt/charts/_rels/chart1298.xml.rels><?xml version='1.0' encoding='UTF-8' standalone='yes'?>
<Relationships xmlns="http://schemas.openxmlformats.org/package/2006/relationships"><Relationship Id="rId1" Type="http://schemas.openxmlformats.org/officeDocument/2006/relationships/package" Target="../embeddings/Microsoft_Excel_Worksheet1297.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25.xml.rels><?xml version='1.0' encoding='UTF-8' standalone='yes'?>
<Relationships xmlns="http://schemas.openxmlformats.org/package/2006/relationships"><Relationship Id="rId1" Type="http://schemas.openxmlformats.org/officeDocument/2006/relationships/package" Target="../embeddings/Microsoft_Excel_Worksheet1324.xlsx"/></Relationships>
</file>

<file path=ppt/charts/_rels/chart1326.xml.rels><?xml version='1.0' encoding='UTF-8' standalone='yes'?>
<Relationships xmlns="http://schemas.openxmlformats.org/package/2006/relationships"><Relationship Id="rId1" Type="http://schemas.openxmlformats.org/officeDocument/2006/relationships/package" Target="../embeddings/Microsoft_Excel_Worksheet1325.xlsx"/></Relationships>
</file>

<file path=ppt/charts/_rels/chart1327.xml.rels><?xml version='1.0' encoding='UTF-8' standalone='yes'?>
<Relationships xmlns="http://schemas.openxmlformats.org/package/2006/relationships"><Relationship Id="rId1" Type="http://schemas.openxmlformats.org/officeDocument/2006/relationships/package" Target="../embeddings/Microsoft_Excel_Worksheet1326.xlsx"/></Relationships>
</file>

<file path=ppt/charts/_rels/chart1328.xml.rels><?xml version='1.0' encoding='UTF-8' standalone='yes'?>
<Relationships xmlns="http://schemas.openxmlformats.org/package/2006/relationships"><Relationship Id="rId1" Type="http://schemas.openxmlformats.org/officeDocument/2006/relationships/package" Target="../embeddings/Microsoft_Excel_Worksheet1327.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39.xml.rels><?xml version='1.0' encoding='UTF-8' standalone='yes'?>
<Relationships xmlns="http://schemas.openxmlformats.org/package/2006/relationships"><Relationship Id="rId1" Type="http://schemas.openxmlformats.org/officeDocument/2006/relationships/package" Target="../embeddings/Microsoft_Excel_Worksheet1338.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40.xml.rels><?xml version='1.0' encoding='UTF-8' standalone='yes'?>
<Relationships xmlns="http://schemas.openxmlformats.org/package/2006/relationships"><Relationship Id="rId1" Type="http://schemas.openxmlformats.org/officeDocument/2006/relationships/package" Target="../embeddings/Microsoft_Excel_Worksheet1339.xlsx"/></Relationships>
</file>

<file path=ppt/charts/_rels/chart1341.xml.rels><?xml version='1.0' encoding='UTF-8' standalone='yes'?>
<Relationships xmlns="http://schemas.openxmlformats.org/package/2006/relationships"><Relationship Id="rId1" Type="http://schemas.openxmlformats.org/officeDocument/2006/relationships/package" Target="../embeddings/Microsoft_Excel_Worksheet1340.xlsx"/></Relationships>
</file>

<file path=ppt/charts/_rels/chart1342.xml.rels><?xml version='1.0' encoding='UTF-8' standalone='yes'?>
<Relationships xmlns="http://schemas.openxmlformats.org/package/2006/relationships"><Relationship Id="rId1" Type="http://schemas.openxmlformats.org/officeDocument/2006/relationships/package" Target="../embeddings/Microsoft_Excel_Worksheet1341.xlsx"/></Relationships>
</file>

<file path=ppt/charts/_rels/chart1351.xml.rels><?xml version='1.0' encoding='UTF-8' standalone='yes'?>
<Relationships xmlns="http://schemas.openxmlformats.org/package/2006/relationships"><Relationship Id="rId1" Type="http://schemas.openxmlformats.org/officeDocument/2006/relationships/package" Target="../embeddings/Microsoft_Excel_Worksheet1350.xlsx"/></Relationships>
</file>

<file path=ppt/charts/_rels/chart1352.xml.rels><?xml version='1.0' encoding='UTF-8' standalone='yes'?>
<Relationships xmlns="http://schemas.openxmlformats.org/package/2006/relationships"><Relationship Id="rId1" Type="http://schemas.openxmlformats.org/officeDocument/2006/relationships/package" Target="../embeddings/Microsoft_Excel_Worksheet1351.xlsx"/></Relationships>
</file>

<file path=ppt/charts/_rels/chart1353.xml.rels><?xml version='1.0' encoding='UTF-8' standalone='yes'?>
<Relationships xmlns="http://schemas.openxmlformats.org/package/2006/relationships"><Relationship Id="rId1" Type="http://schemas.openxmlformats.org/officeDocument/2006/relationships/package" Target="../embeddings/Microsoft_Excel_Worksheet1352.xlsx"/></Relationships>
</file>

<file path=ppt/charts/_rels/chart1354.xml.rels><?xml version='1.0' encoding='UTF-8' standalone='yes'?>
<Relationships xmlns="http://schemas.openxmlformats.org/package/2006/relationships"><Relationship Id="rId1"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openxmlformats.org/officeDocument/2006/relationships/package" Target="../embeddings/Microsoft_Excel_Worksheet1355.xlsx"/></Relationships>
</file>

<file path=ppt/charts/_rels/chart1369.xml.rels><?xml version='1.0' encoding='UTF-8' standalone='yes'?>
<Relationships xmlns="http://schemas.openxmlformats.org/package/2006/relationships"><Relationship Id="rId1" Type="http://schemas.openxmlformats.org/officeDocument/2006/relationships/package" Target="../embeddings/Microsoft_Excel_Worksheet1368.xlsx"/></Relationships>
</file>

<file path=ppt/charts/_rels/chart1370.xml.rels><?xml version='1.0' encoding='UTF-8' standalone='yes'?>
<Relationships xmlns="http://schemas.openxmlformats.org/package/2006/relationships"><Relationship Id="rId1" Type="http://schemas.openxmlformats.org/officeDocument/2006/relationships/package" Target="../embeddings/Microsoft_Excel_Worksheet1369.xlsx"/></Relationships>
</file>

<file path=ppt/charts/_rels/chart1383.xml.rels><?xml version='1.0' encoding='UTF-8' standalone='yes'?>
<Relationships xmlns="http://schemas.openxmlformats.org/package/2006/relationships"><Relationship Id="rId1"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openxmlformats.org/officeDocument/2006/relationships/package" Target="../embeddings/Microsoft_Excel_Worksheet1385.xlsx"/></Relationships>
</file>

<file path=ppt/charts/_rels/chart1401.xml.rels><?xml version='1.0' encoding='UTF-8' standalone='yes'?>
<Relationships xmlns="http://schemas.openxmlformats.org/package/2006/relationships"><Relationship Id="rId1" Type="http://schemas.openxmlformats.org/officeDocument/2006/relationships/package" Target="../embeddings/Microsoft_Excel_Worksheet1400.xlsx"/></Relationships>
</file>

<file path=ppt/charts/_rels/chart1402.xml.rels><?xml version='1.0' encoding='UTF-8' standalone='yes'?>
<Relationships xmlns="http://schemas.openxmlformats.org/package/2006/relationships"><Relationship Id="rId1" Type="http://schemas.openxmlformats.org/officeDocument/2006/relationships/package" Target="../embeddings/Microsoft_Excel_Worksheet1401.xlsx"/></Relationships>
</file>

<file path=ppt/charts/_rels/chart1403.xml.rels><?xml version='1.0' encoding='UTF-8' standalone='yes'?>
<Relationships xmlns="http://schemas.openxmlformats.org/package/2006/relationships"><Relationship Id="rId1" Type="http://schemas.openxmlformats.org/officeDocument/2006/relationships/package" Target="../embeddings/Microsoft_Excel_Worksheet1402.xlsx"/></Relationships>
</file>

<file path=ppt/charts/_rels/chart1404.xml.rels><?xml version='1.0' encoding='UTF-8' standalone='yes'?>
<Relationships xmlns="http://schemas.openxmlformats.org/package/2006/relationships"><Relationship Id="rId1" Type="http://schemas.openxmlformats.org/officeDocument/2006/relationships/package" Target="../embeddings/Microsoft_Excel_Worksheet1403.xlsx"/></Relationships>
</file>

<file path=ppt/charts/_rels/chart1405.xml.rels><?xml version='1.0' encoding='UTF-8' standalone='yes'?>
<Relationships xmlns="http://schemas.openxmlformats.org/package/2006/relationships"><Relationship Id="rId1" Type="http://schemas.openxmlformats.org/officeDocument/2006/relationships/package" Target="../embeddings/Microsoft_Excel_Worksheet1404.xlsx"/></Relationships>
</file>

<file path=ppt/charts/_rels/chart1406.xml.rels><?xml version='1.0' encoding='UTF-8' standalone='yes'?>
<Relationships xmlns="http://schemas.openxmlformats.org/package/2006/relationships"><Relationship Id="rId1" Type="http://schemas.openxmlformats.org/officeDocument/2006/relationships/package" Target="../embeddings/Microsoft_Excel_Worksheet1405.xlsx"/></Relationships>
</file>

<file path=ppt/charts/_rels/chart1415.xml.rels><?xml version='1.0' encoding='UTF-8' standalone='yes'?>
<Relationships xmlns="http://schemas.openxmlformats.org/package/2006/relationships"><Relationship Id="rId1" Type="http://schemas.openxmlformats.org/officeDocument/2006/relationships/package" Target="../embeddings/Microsoft_Excel_Worksheet1414.xlsx"/></Relationships>
</file>

<file path=ppt/charts/_rels/chart1416.xml.rels><?xml version='1.0' encoding='UTF-8' standalone='yes'?>
<Relationships xmlns="http://schemas.openxmlformats.org/package/2006/relationships"><Relationship Id="rId1" Type="http://schemas.openxmlformats.org/officeDocument/2006/relationships/package" Target="../embeddings/Microsoft_Excel_Worksheet1415.xlsx"/></Relationships>
</file>

<file path=ppt/charts/_rels/chart1417.xml.rels><?xml version='1.0' encoding='UTF-8' standalone='yes'?>
<Relationships xmlns="http://schemas.openxmlformats.org/package/2006/relationships"><Relationship Id="rId1" Type="http://schemas.openxmlformats.org/officeDocument/2006/relationships/package" Target="../embeddings/Microsoft_Excel_Worksheet1416.xlsx"/></Relationships>
</file>

<file path=ppt/charts/_rels/chart1418.xml.rels><?xml version='1.0' encoding='UTF-8' standalone='yes'?>
<Relationships xmlns="http://schemas.openxmlformats.org/package/2006/relationships"><Relationship Id="rId1" Type="http://schemas.openxmlformats.org/officeDocument/2006/relationships/package" Target="../embeddings/Microsoft_Excel_Worksheet1417.xlsx"/></Relationships>
</file>

<file path=ppt/charts/_rels/chart1431.xml.rels><?xml version='1.0' encoding='UTF-8' standalone='yes'?>
<Relationships xmlns="http://schemas.openxmlformats.org/package/2006/relationships"><Relationship Id="rId1" Type="http://schemas.openxmlformats.org/officeDocument/2006/relationships/package" Target="../embeddings/Microsoft_Excel_Worksheet1430.xlsx"/></Relationships>
</file>

<file path=ppt/charts/_rels/chart1432.xml.rels><?xml version='1.0' encoding='UTF-8' standalone='yes'?>
<Relationships xmlns="http://schemas.openxmlformats.org/package/2006/relationships"><Relationship Id="rId1" Type="http://schemas.openxmlformats.org/officeDocument/2006/relationships/package" Target="../embeddings/Microsoft_Excel_Worksheet1431.xlsx"/></Relationships>
</file>

<file path=ppt/charts/_rels/chart1445.xml.rels><?xml version='1.0' encoding='UTF-8' standalone='yes'?>
<Relationships xmlns="http://schemas.openxmlformats.org/package/2006/relationships"><Relationship Id="rId1" Type="http://schemas.openxmlformats.org/officeDocument/2006/relationships/package" Target="../embeddings/Microsoft_Excel_Worksheet1444.xlsx"/></Relationships>
</file>

<file path=ppt/charts/_rels/chart1446.xml.rels><?xml version='1.0' encoding='UTF-8' standalone='yes'?>
<Relationships xmlns="http://schemas.openxmlformats.org/package/2006/relationships"><Relationship Id="rId1" Type="http://schemas.openxmlformats.org/officeDocument/2006/relationships/package" Target="../embeddings/Microsoft_Excel_Worksheet1445.xlsx"/></Relationships>
</file>

<file path=ppt/charts/_rels/chart1447.xml.rels><?xml version='1.0' encoding='UTF-8' standalone='yes'?>
<Relationships xmlns="http://schemas.openxmlformats.org/package/2006/relationships"><Relationship Id="rId1" Type="http://schemas.openxmlformats.org/officeDocument/2006/relationships/package" Target="../embeddings/Microsoft_Excel_Worksheet1446.xlsx"/></Relationships>
</file>

<file path=ppt/charts/_rels/chart1448.xml.rels><?xml version='1.0' encoding='UTF-8' standalone='yes'?>
<Relationships xmlns="http://schemas.openxmlformats.org/package/2006/relationships"><Relationship Id="rId1" Type="http://schemas.openxmlformats.org/officeDocument/2006/relationships/package" Target="../embeddings/Microsoft_Excel_Worksheet1447.xlsx"/></Relationships>
</file>

<file path=ppt/charts/_rels/chart1449.xml.rels><?xml version='1.0' encoding='UTF-8' standalone='yes'?>
<Relationships xmlns="http://schemas.openxmlformats.org/package/2006/relationships"><Relationship Id="rId1" Type="http://schemas.openxmlformats.org/officeDocument/2006/relationships/package" Target="../embeddings/Microsoft_Excel_Worksheet1448.xlsx"/></Relationships>
</file>

<file path=ppt/charts/_rels/chart1450.xml.rels><?xml version='1.0' encoding='UTF-8' standalone='yes'?>
<Relationships xmlns="http://schemas.openxmlformats.org/package/2006/relationships"><Relationship Id="rId1" Type="http://schemas.openxmlformats.org/officeDocument/2006/relationships/package" Target="../embeddings/Microsoft_Excel_Worksheet1449.xlsx"/></Relationships>
</file>

<file path=ppt/charts/_rels/chart1459.xml.rels><?xml version='1.0' encoding='UTF-8' standalone='yes'?>
<Relationships xmlns="http://schemas.openxmlformats.org/package/2006/relationships"><Relationship Id="rId1" Type="http://schemas.openxmlformats.org/officeDocument/2006/relationships/package" Target="../embeddings/Microsoft_Excel_Worksheet1458.xlsx"/></Relationships>
</file>

<file path=ppt/charts/_rels/chart1460.xml.rels><?xml version='1.0' encoding='UTF-8' standalone='yes'?>
<Relationships xmlns="http://schemas.openxmlformats.org/package/2006/relationships"><Relationship Id="rId1" Type="http://schemas.openxmlformats.org/officeDocument/2006/relationships/package" Target="../embeddings/Microsoft_Excel_Worksheet1459.xlsx"/></Relationships>
</file>

<file path=ppt/charts/_rels/chart1461.xml.rels><?xml version='1.0' encoding='UTF-8' standalone='yes'?>
<Relationships xmlns="http://schemas.openxmlformats.org/package/2006/relationships"><Relationship Id="rId1" Type="http://schemas.openxmlformats.org/officeDocument/2006/relationships/package" Target="../embeddings/Microsoft_Excel_Worksheet1460.xlsx"/></Relationships>
</file>

<file path=ppt/charts/_rels/chart1462.xml.rels><?xml version='1.0' encoding='UTF-8' standalone='yes'?>
<Relationships xmlns="http://schemas.openxmlformats.org/package/2006/relationships"><Relationship Id="rId1" Type="http://schemas.openxmlformats.org/officeDocument/2006/relationships/package" Target="../embeddings/Microsoft_Excel_Worksheet1461.xlsx"/></Relationships>
</file>

<file path=ppt/charts/_rels/chart1473.xml.rels><?xml version='1.0' encoding='UTF-8' standalone='yes'?>
<Relationships xmlns="http://schemas.openxmlformats.org/package/2006/relationships"><Relationship Id="rId1" Type="http://schemas.openxmlformats.org/officeDocument/2006/relationships/package" Target="../embeddings/Microsoft_Excel_Worksheet1472.xlsx"/></Relationships>
</file>

<file path=ppt/charts/_rels/chart1474.xml.rels><?xml version='1.0' encoding='UTF-8' standalone='yes'?>
<Relationships xmlns="http://schemas.openxmlformats.org/package/2006/relationships"><Relationship Id="rId1" Type="http://schemas.openxmlformats.org/officeDocument/2006/relationships/package" Target="../embeddings/Microsoft_Excel_Worksheet1473.xlsx"/></Relationships>
</file>

<file path=ppt/charts/_rels/chart1475.xml.rels><?xml version='1.0' encoding='UTF-8' standalone='yes'?>
<Relationships xmlns="http://schemas.openxmlformats.org/package/2006/relationships"><Relationship Id="rId1" Type="http://schemas.openxmlformats.org/officeDocument/2006/relationships/package" Target="../embeddings/Microsoft_Excel_Worksheet1474.xlsx"/></Relationships>
</file>

<file path=ppt/charts/_rels/chart1476.xml.rels><?xml version='1.0' encoding='UTF-8' standalone='yes'?>
<Relationships xmlns="http://schemas.openxmlformats.org/package/2006/relationships"><Relationship Id="rId1" Type="http://schemas.openxmlformats.org/officeDocument/2006/relationships/package" Target="../embeddings/Microsoft_Excel_Worksheet1475.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03.xml.rels><?xml version='1.0' encoding='UTF-8' standalone='yes'?>
<Relationships xmlns="http://schemas.openxmlformats.org/package/2006/relationships"><Relationship Id="rId1" Type="http://schemas.openxmlformats.org/officeDocument/2006/relationships/package" Target="../embeddings/Microsoft_Excel_Worksheet1502.xlsx"/></Relationships>
</file>

<file path=ppt/charts/_rels/chart1504.xml.rels><?xml version='1.0' encoding='UTF-8' standalone='yes'?>
<Relationships xmlns="http://schemas.openxmlformats.org/package/2006/relationships"><Relationship Id="rId1" Type="http://schemas.openxmlformats.org/officeDocument/2006/relationships/package" Target="../embeddings/Microsoft_Excel_Worksheet1503.xlsx"/></Relationships>
</file>

<file path=ppt/charts/_rels/chart1505.xml.rels><?xml version='1.0' encoding='UTF-8' standalone='yes'?>
<Relationships xmlns="http://schemas.openxmlformats.org/package/2006/relationships"><Relationship Id="rId1" Type="http://schemas.openxmlformats.org/officeDocument/2006/relationships/package" Target="../embeddings/Microsoft_Excel_Worksheet1504.xlsx"/></Relationships>
</file>

<file path=ppt/charts/_rels/chart1506.xml.rels><?xml version='1.0' encoding='UTF-8' standalone='yes'?>
<Relationships xmlns="http://schemas.openxmlformats.org/package/2006/relationships"><Relationship Id="rId1" Type="http://schemas.openxmlformats.org/officeDocument/2006/relationships/package" Target="../embeddings/Microsoft_Excel_Worksheet1505.xlsx"/></Relationships>
</file>

<file path=ppt/charts/_rels/chart1517.xml.rels><?xml version='1.0' encoding='UTF-8' standalone='yes'?>
<Relationships xmlns="http://schemas.openxmlformats.org/package/2006/relationships"><Relationship Id="rId1" Type="http://schemas.openxmlformats.org/officeDocument/2006/relationships/package" Target="../embeddings/Microsoft_Excel_Worksheet1516.xlsx"/></Relationships>
</file>

<file path=ppt/charts/_rels/chart1518.xml.rels><?xml version='1.0' encoding='UTF-8' standalone='yes'?>
<Relationships xmlns="http://schemas.openxmlformats.org/package/2006/relationships"><Relationship Id="rId1" Type="http://schemas.openxmlformats.org/officeDocument/2006/relationships/package" Target="../embeddings/Microsoft_Excel_Worksheet1517.xlsx"/></Relationships>
</file>

<file path=ppt/charts/_rels/chart1519.xml.rels><?xml version='1.0' encoding='UTF-8' standalone='yes'?>
<Relationships xmlns="http://schemas.openxmlformats.org/package/2006/relationships"><Relationship Id="rId1" Type="http://schemas.openxmlformats.org/officeDocument/2006/relationships/package" Target="../embeddings/Microsoft_Excel_Worksheet1518.xlsx"/></Relationships>
</file>

<file path=ppt/charts/_rels/chart1520.xml.rels><?xml version='1.0' encoding='UTF-8' standalone='yes'?>
<Relationships xmlns="http://schemas.openxmlformats.org/package/2006/relationships"><Relationship Id="rId1" Type="http://schemas.openxmlformats.org/officeDocument/2006/relationships/package" Target="../embeddings/Microsoft_Excel_Worksheet1519.xlsx"/></Relationships>
</file>

<file path=ppt/charts/_rels/chart1531.xml.rels><?xml version='1.0' encoding='UTF-8' standalone='yes'?>
<Relationships xmlns="http://schemas.openxmlformats.org/package/2006/relationships"><Relationship Id="rId1" Type="http://schemas.openxmlformats.org/officeDocument/2006/relationships/package" Target="../embeddings/Microsoft_Excel_Worksheet1530.xlsx"/></Relationships>
</file>

<file path=ppt/charts/_rels/chart1532.xml.rels><?xml version='1.0' encoding='UTF-8' standalone='yes'?>
<Relationships xmlns="http://schemas.openxmlformats.org/package/2006/relationships"><Relationship Id="rId1" Type="http://schemas.openxmlformats.org/officeDocument/2006/relationships/package" Target="../embeddings/Microsoft_Excel_Worksheet1531.xlsx"/></Relationships>
</file>

<file path=ppt/charts/_rels/chart1533.xml.rels><?xml version='1.0' encoding='UTF-8' standalone='yes'?>
<Relationships xmlns="http://schemas.openxmlformats.org/package/2006/relationships"><Relationship Id="rId1" Type="http://schemas.openxmlformats.org/officeDocument/2006/relationships/package" Target="../embeddings/Microsoft_Excel_Worksheet1532.xlsx"/></Relationships>
</file>

<file path=ppt/charts/_rels/chart1534.xml.rels><?xml version='1.0' encoding='UTF-8' standalone='yes'?>
<Relationships xmlns="http://schemas.openxmlformats.org/package/2006/relationships"><Relationship Id="rId1" Type="http://schemas.openxmlformats.org/officeDocument/2006/relationships/package" Target="../embeddings/Microsoft_Excel_Worksheet1533.xlsx"/></Relationships>
</file>

<file path=ppt/charts/_rels/chart1547.xml.rels><?xml version='1.0' encoding='UTF-8' standalone='yes'?>
<Relationships xmlns="http://schemas.openxmlformats.org/package/2006/relationships"><Relationship Id="rId1" Type="http://schemas.openxmlformats.org/officeDocument/2006/relationships/package" Target="../embeddings/Microsoft_Excel_Worksheet1546.xlsx"/></Relationships>
</file>

<file path=ppt/charts/_rels/chart1548.xml.rels><?xml version='1.0' encoding='UTF-8' standalone='yes'?>
<Relationships xmlns="http://schemas.openxmlformats.org/package/2006/relationships"><Relationship Id="rId1" Type="http://schemas.openxmlformats.org/officeDocument/2006/relationships/package" Target="../embeddings/Microsoft_Excel_Worksheet1547.xlsx"/></Relationships>
</file>

<file path=ppt/charts/_rels/chart1549.xml.rels><?xml version='1.0' encoding='UTF-8' standalone='yes'?>
<Relationships xmlns="http://schemas.openxmlformats.org/package/2006/relationships"><Relationship Id="rId1" Type="http://schemas.openxmlformats.org/officeDocument/2006/relationships/package" Target="../embeddings/Microsoft_Excel_Worksheet1548.xlsx"/></Relationships>
</file>

<file path=ppt/charts/_rels/chart1550.xml.rels><?xml version='1.0' encoding='UTF-8' standalone='yes'?>
<Relationships xmlns="http://schemas.openxmlformats.org/package/2006/relationships"><Relationship Id="rId1" Type="http://schemas.openxmlformats.org/officeDocument/2006/relationships/package" Target="../embeddings/Microsoft_Excel_Worksheet1549.xlsx"/></Relationships>
</file>

<file path=ppt/charts/_rels/chart1561.xml.rels><?xml version='1.0' encoding='UTF-8' standalone='yes'?>
<Relationships xmlns="http://schemas.openxmlformats.org/package/2006/relationships"><Relationship Id="rId1" Type="http://schemas.openxmlformats.org/officeDocument/2006/relationships/package" Target="../embeddings/Microsoft_Excel_Worksheet1560.xlsx"/></Relationships>
</file>

<file path=ppt/charts/_rels/chart1562.xml.rels><?xml version='1.0' encoding='UTF-8' standalone='yes'?>
<Relationships xmlns="http://schemas.openxmlformats.org/package/2006/relationships"><Relationship Id="rId1" Type="http://schemas.openxmlformats.org/officeDocument/2006/relationships/package" Target="../embeddings/Microsoft_Excel_Worksheet1561.xlsx"/></Relationships>
</file>

<file path=ppt/charts/_rels/chart1563.xml.rels><?xml version='1.0' encoding='UTF-8' standalone='yes'?>
<Relationships xmlns="http://schemas.openxmlformats.org/package/2006/relationships"><Relationship Id="rId1" Type="http://schemas.openxmlformats.org/officeDocument/2006/relationships/package" Target="../embeddings/Microsoft_Excel_Worksheet1562.xlsx"/></Relationships>
</file>

<file path=ppt/charts/_rels/chart1564.xml.rels><?xml version='1.0' encoding='UTF-8' standalone='yes'?>
<Relationships xmlns="http://schemas.openxmlformats.org/package/2006/relationships"><Relationship Id="rId1" Type="http://schemas.openxmlformats.org/officeDocument/2006/relationships/package" Target="../embeddings/Microsoft_Excel_Worksheet1563.xlsx"/></Relationships>
</file>

<file path=ppt/charts/_rels/chart1575.xml.rels><?xml version='1.0' encoding='UTF-8' standalone='yes'?>
<Relationships xmlns="http://schemas.openxmlformats.org/package/2006/relationships"><Relationship Id="rId1" Type="http://schemas.openxmlformats.org/officeDocument/2006/relationships/package" Target="../embeddings/Microsoft_Excel_Worksheet1574.xlsx"/></Relationships>
</file>

<file path=ppt/charts/_rels/chart1576.xml.rels><?xml version='1.0' encoding='UTF-8' standalone='yes'?>
<Relationships xmlns="http://schemas.openxmlformats.org/package/2006/relationships"><Relationship Id="rId1" Type="http://schemas.openxmlformats.org/officeDocument/2006/relationships/package" Target="../embeddings/Microsoft_Excel_Worksheet1575.xlsx"/></Relationships>
</file>

<file path=ppt/charts/_rels/chart1577.xml.rels><?xml version='1.0' encoding='UTF-8' standalone='yes'?>
<Relationships xmlns="http://schemas.openxmlformats.org/package/2006/relationships"><Relationship Id="rId1" Type="http://schemas.openxmlformats.org/officeDocument/2006/relationships/package" Target="../embeddings/Microsoft_Excel_Worksheet1576.xlsx"/></Relationships>
</file>

<file path=ppt/charts/_rels/chart1578.xml.rels><?xml version='1.0' encoding='UTF-8' standalone='yes'?>
<Relationships xmlns="http://schemas.openxmlformats.org/package/2006/relationships"><Relationship Id="rId1" Type="http://schemas.openxmlformats.org/officeDocument/2006/relationships/package" Target="../embeddings/Microsoft_Excel_Worksheet1577.xlsx"/></Relationships>
</file>

<file path=ppt/charts/_rels/chart1593.xml.rels><?xml version='1.0' encoding='UTF-8' standalone='yes'?>
<Relationships xmlns="http://schemas.openxmlformats.org/package/2006/relationships"><Relationship Id="rId1" Type="http://schemas.openxmlformats.org/officeDocument/2006/relationships/package" Target="../embeddings/Microsoft_Excel_Worksheet1592.xlsx"/></Relationships>
</file>

<file path=ppt/charts/_rels/chart1594.xml.rels><?xml version='1.0' encoding='UTF-8' standalone='yes'?>
<Relationships xmlns="http://schemas.openxmlformats.org/package/2006/relationships"><Relationship Id="rId1" Type="http://schemas.openxmlformats.org/officeDocument/2006/relationships/package" Target="../embeddings/Microsoft_Excel_Worksheet1593.xlsx"/></Relationships>
</file>

<file path=ppt/charts/_rels/chart1595.xml.rels><?xml version='1.0' encoding='UTF-8' standalone='yes'?>
<Relationships xmlns="http://schemas.openxmlformats.org/package/2006/relationships"><Relationship Id="rId1" Type="http://schemas.openxmlformats.org/officeDocument/2006/relationships/package" Target="../embeddings/Microsoft_Excel_Worksheet1594.xlsx"/></Relationships>
</file>

<file path=ppt/charts/_rels/chart1596.xml.rels><?xml version='1.0' encoding='UTF-8' standalone='yes'?>
<Relationships xmlns="http://schemas.openxmlformats.org/package/2006/relationships"><Relationship Id="rId1" Type="http://schemas.openxmlformats.org/officeDocument/2006/relationships/package" Target="../embeddings/Microsoft_Excel_Worksheet1595.xlsx"/></Relationships>
</file>

<file path=ppt/charts/_rels/chart1625.xml.rels><?xml version='1.0' encoding='UTF-8' standalone='yes'?>
<Relationships xmlns="http://schemas.openxmlformats.org/package/2006/relationships"><Relationship Id="rId1" Type="http://schemas.openxmlformats.org/officeDocument/2006/relationships/package" Target="../embeddings/Microsoft_Excel_Worksheet1624.xlsx"/></Relationships>
</file>

<file path=ppt/charts/_rels/chart1626.xml.rels><?xml version='1.0' encoding='UTF-8' standalone='yes'?>
<Relationships xmlns="http://schemas.openxmlformats.org/package/2006/relationships"><Relationship Id="rId1" Type="http://schemas.openxmlformats.org/officeDocument/2006/relationships/package" Target="../embeddings/Microsoft_Excel_Worksheet1625.xlsx"/></Relationships>
</file>

<file path=ppt/charts/_rels/chart1627.xml.rels><?xml version='1.0' encoding='UTF-8' standalone='yes'?>
<Relationships xmlns="http://schemas.openxmlformats.org/package/2006/relationships"><Relationship Id="rId1" Type="http://schemas.openxmlformats.org/officeDocument/2006/relationships/package" Target="../embeddings/Microsoft_Excel_Worksheet1626.xlsx"/></Relationships>
</file>

<file path=ppt/charts/_rels/chart1628.xml.rels><?xml version='1.0' encoding='UTF-8' standalone='yes'?>
<Relationships xmlns="http://schemas.openxmlformats.org/package/2006/relationships"><Relationship Id="rId1" Type="http://schemas.openxmlformats.org/officeDocument/2006/relationships/package" Target="../embeddings/Microsoft_Excel_Worksheet1627.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37.xml.rels><?xml version='1.0' encoding='UTF-8' standalone='yes'?>
<Relationships xmlns="http://schemas.openxmlformats.org/package/2006/relationships"><Relationship Id="rId1" Type="http://schemas.openxmlformats.org/officeDocument/2006/relationships/package" Target="../embeddings/Microsoft_Excel_Worksheet1636.xlsx"/></Relationships>
</file>

<file path=ppt/charts/_rels/chart1638.xml.rels><?xml version='1.0' encoding='UTF-8' standalone='yes'?>
<Relationships xmlns="http://schemas.openxmlformats.org/package/2006/relationships"><Relationship Id="rId1" Type="http://schemas.openxmlformats.org/officeDocument/2006/relationships/package" Target="../embeddings/Microsoft_Excel_Worksheet1637.xlsx"/></Relationships>
</file>

<file path=ppt/charts/_rels/chart1639.xml.rels><?xml version='1.0' encoding='UTF-8' standalone='yes'?>
<Relationships xmlns="http://schemas.openxmlformats.org/package/2006/relationships"><Relationship Id="rId1" Type="http://schemas.openxmlformats.org/officeDocument/2006/relationships/package" Target="../embeddings/Microsoft_Excel_Worksheet1638.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40.xml.rels><?xml version='1.0' encoding='UTF-8' standalone='yes'?>
<Relationships xmlns="http://schemas.openxmlformats.org/package/2006/relationships"><Relationship Id="rId1" Type="http://schemas.openxmlformats.org/officeDocument/2006/relationships/package" Target="../embeddings/Microsoft_Excel_Worksheet1639.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51.xml.rels><?xml version='1.0' encoding='UTF-8' standalone='yes'?>
<Relationships xmlns="http://schemas.openxmlformats.org/package/2006/relationships"><Relationship Id="rId1" Type="http://schemas.openxmlformats.org/officeDocument/2006/relationships/package" Target="../embeddings/Microsoft_Excel_Worksheet1650.xlsx"/></Relationships>
</file>

<file path=ppt/charts/_rels/chart1652.xml.rels><?xml version='1.0' encoding='UTF-8' standalone='yes'?>
<Relationships xmlns="http://schemas.openxmlformats.org/package/2006/relationships"><Relationship Id="rId1" Type="http://schemas.openxmlformats.org/officeDocument/2006/relationships/package" Target="../embeddings/Microsoft_Excel_Worksheet1651.xlsx"/></Relationships>
</file>

<file path=ppt/charts/_rels/chart1653.xml.rels><?xml version='1.0' encoding='UTF-8' standalone='yes'?>
<Relationships xmlns="http://schemas.openxmlformats.org/package/2006/relationships"><Relationship Id="rId1" Type="http://schemas.openxmlformats.org/officeDocument/2006/relationships/package" Target="../embeddings/Microsoft_Excel_Worksheet1652.xlsx"/></Relationships>
</file>

<file path=ppt/charts/_rels/chart1654.xml.rels><?xml version='1.0' encoding='UTF-8' standalone='yes'?>
<Relationships xmlns="http://schemas.openxmlformats.org/package/2006/relationships"><Relationship Id="rId1" Type="http://schemas.openxmlformats.org/officeDocument/2006/relationships/package" Target="../embeddings/Microsoft_Excel_Worksheet1653.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69.xml.rels><?xml version='1.0' encoding='UTF-8' standalone='yes'?>
<Relationships xmlns="http://schemas.openxmlformats.org/package/2006/relationships"><Relationship Id="rId1" Type="http://schemas.openxmlformats.org/officeDocument/2006/relationships/package" Target="../embeddings/Microsoft_Excel_Worksheet1668.xlsx"/></Relationships>
</file>

<file path=ppt/charts/_rels/chart1670.xml.rels><?xml version='1.0' encoding='UTF-8' standalone='yes'?>
<Relationships xmlns="http://schemas.openxmlformats.org/package/2006/relationships"><Relationship Id="rId1" Type="http://schemas.openxmlformats.org/officeDocument/2006/relationships/package" Target="../embeddings/Microsoft_Excel_Worksheet1669.xlsx"/></Relationships>
</file>

<file path=ppt/charts/_rels/chart1681.xml.rels><?xml version='1.0' encoding='UTF-8' standalone='yes'?>
<Relationships xmlns="http://schemas.openxmlformats.org/package/2006/relationships"><Relationship Id="rId1" Type="http://schemas.openxmlformats.org/officeDocument/2006/relationships/package" Target="../embeddings/Microsoft_Excel_Worksheet1680.xlsx"/></Relationships>
</file>

<file path=ppt/charts/_rels/chart1682.xml.rels><?xml version='1.0' encoding='UTF-8' standalone='yes'?>
<Relationships xmlns="http://schemas.openxmlformats.org/package/2006/relationships"><Relationship Id="rId1" Type="http://schemas.openxmlformats.org/officeDocument/2006/relationships/package" Target="../embeddings/Microsoft_Excel_Worksheet1681.xlsx"/></Relationships>
</file>

<file path=ppt/charts/_rels/chart1683.xml.rels><?xml version='1.0' encoding='UTF-8' standalone='yes'?>
<Relationships xmlns="http://schemas.openxmlformats.org/package/2006/relationships"><Relationship Id="rId1" Type="http://schemas.openxmlformats.org/officeDocument/2006/relationships/package" Target="../embeddings/Microsoft_Excel_Worksheet1682.xlsx"/></Relationships>
</file>

<file path=ppt/charts/_rels/chart1684.xml.rels><?xml version='1.0' encoding='UTF-8' standalone='yes'?>
<Relationships xmlns="http://schemas.openxmlformats.org/package/2006/relationships"><Relationship Id="rId1" Type="http://schemas.openxmlformats.org/officeDocument/2006/relationships/package" Target="../embeddings/Microsoft_Excel_Worksheet1683.xlsx"/></Relationships>
</file>

<file path=ppt/charts/_rels/chart1685.xml.rels><?xml version='1.0' encoding='UTF-8' standalone='yes'?>
<Relationships xmlns="http://schemas.openxmlformats.org/package/2006/relationships"><Relationship Id="rId1" Type="http://schemas.openxmlformats.org/officeDocument/2006/relationships/package" Target="../embeddings/Microsoft_Excel_Worksheet1684.xlsx"/></Relationships>
</file>

<file path=ppt/charts/_rels/chart1686.xml.rels><?xml version='1.0' encoding='UTF-8' standalone='yes'?>
<Relationships xmlns="http://schemas.openxmlformats.org/package/2006/relationships"><Relationship Id="rId1" Type="http://schemas.openxmlformats.org/officeDocument/2006/relationships/package" Target="../embeddings/Microsoft_Excel_Worksheet1685.xlsx"/></Relationships>
</file>

<file path=ppt/charts/_rels/chart1695.xml.rels><?xml version='1.0' encoding='UTF-8' standalone='yes'?>
<Relationships xmlns="http://schemas.openxmlformats.org/package/2006/relationships"><Relationship Id="rId1" Type="http://schemas.openxmlformats.org/officeDocument/2006/relationships/package" Target="../embeddings/Microsoft_Excel_Worksheet1694.xlsx"/></Relationships>
</file>

<file path=ppt/charts/_rels/chart1696.xml.rels><?xml version='1.0' encoding='UTF-8' standalone='yes'?>
<Relationships xmlns="http://schemas.openxmlformats.org/package/2006/relationships"><Relationship Id="rId1" Type="http://schemas.openxmlformats.org/officeDocument/2006/relationships/package" Target="../embeddings/Microsoft_Excel_Worksheet1695.xlsx"/></Relationships>
</file>

<file path=ppt/charts/_rels/chart1697.xml.rels><?xml version='1.0' encoding='UTF-8' standalone='yes'?>
<Relationships xmlns="http://schemas.openxmlformats.org/package/2006/relationships"><Relationship Id="rId1" Type="http://schemas.openxmlformats.org/officeDocument/2006/relationships/package" Target="../embeddings/Microsoft_Excel_Worksheet1696.xlsx"/></Relationships>
</file>

<file path=ppt/charts/_rels/chart1698.xml.rels><?xml version='1.0' encoding='UTF-8' standalone='yes'?>
<Relationships xmlns="http://schemas.openxmlformats.org/package/2006/relationships"><Relationship Id="rId1" Type="http://schemas.openxmlformats.org/officeDocument/2006/relationships/package" Target="../embeddings/Microsoft_Excel_Worksheet1697.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11.xml.rels><?xml version='1.0' encoding='UTF-8' standalone='yes'?>
<Relationships xmlns="http://schemas.openxmlformats.org/package/2006/relationships"><Relationship Id="rId1" Type="http://schemas.openxmlformats.org/officeDocument/2006/relationships/package" Target="../embeddings/Microsoft_Excel_Worksheet1710.xlsx"/></Relationships>
</file>

<file path=ppt/charts/_rels/chart1712.xml.rels><?xml version='1.0' encoding='UTF-8' standalone='yes'?>
<Relationships xmlns="http://schemas.openxmlformats.org/package/2006/relationships"><Relationship Id="rId1" Type="http://schemas.openxmlformats.org/officeDocument/2006/relationships/package" Target="../embeddings/Microsoft_Excel_Worksheet1711.xlsx"/></Relationships>
</file>

<file path=ppt/charts/_rels/chart1725.xml.rels><?xml version='1.0' encoding='UTF-8' standalone='yes'?>
<Relationships xmlns="http://schemas.openxmlformats.org/package/2006/relationships"><Relationship Id="rId1" Type="http://schemas.openxmlformats.org/officeDocument/2006/relationships/package" Target="../embeddings/Microsoft_Excel_Worksheet1724.xlsx"/></Relationships>
</file>

<file path=ppt/charts/_rels/chart1726.xml.rels><?xml version='1.0' encoding='UTF-8' standalone='yes'?>
<Relationships xmlns="http://schemas.openxmlformats.org/package/2006/relationships"><Relationship Id="rId1" Type="http://schemas.openxmlformats.org/officeDocument/2006/relationships/package" Target="../embeddings/Microsoft_Excel_Worksheet1725.xlsx"/></Relationships>
</file>

<file path=ppt/charts/_rels/chart1727.xml.rels><?xml version='1.0' encoding='UTF-8' standalone='yes'?>
<Relationships xmlns="http://schemas.openxmlformats.org/package/2006/relationships"><Relationship Id="rId1" Type="http://schemas.openxmlformats.org/officeDocument/2006/relationships/package" Target="../embeddings/Microsoft_Excel_Worksheet1726.xlsx"/></Relationships>
</file>

<file path=ppt/charts/_rels/chart1728.xml.rels><?xml version='1.0' encoding='UTF-8' standalone='yes'?>
<Relationships xmlns="http://schemas.openxmlformats.org/package/2006/relationships"><Relationship Id="rId1" Type="http://schemas.openxmlformats.org/officeDocument/2006/relationships/package" Target="../embeddings/Microsoft_Excel_Worksheet1727.xlsx"/></Relationships>
</file>

<file path=ppt/charts/_rels/chart1729.xml.rels><?xml version='1.0' encoding='UTF-8' standalone='yes'?>
<Relationships xmlns="http://schemas.openxmlformats.org/package/2006/relationships"><Relationship Id="rId1" Type="http://schemas.openxmlformats.org/officeDocument/2006/relationships/package" Target="../embeddings/Microsoft_Excel_Worksheet1728.xlsx"/></Relationships>
</file>

<file path=ppt/charts/_rels/chart1730.xml.rels><?xml version='1.0' encoding='UTF-8' standalone='yes'?>
<Relationships xmlns="http://schemas.openxmlformats.org/package/2006/relationships"><Relationship Id="rId1" Type="http://schemas.openxmlformats.org/officeDocument/2006/relationships/package" Target="../embeddings/Microsoft_Excel_Worksheet1729.xlsx"/></Relationships>
</file>

<file path=ppt/charts/_rels/chart1739.xml.rels><?xml version='1.0' encoding='UTF-8' standalone='yes'?>
<Relationships xmlns="http://schemas.openxmlformats.org/package/2006/relationships"><Relationship Id="rId1" Type="http://schemas.openxmlformats.org/officeDocument/2006/relationships/package" Target="../embeddings/Microsoft_Excel_Worksheet1738.xlsx"/></Relationships>
</file>

<file path=ppt/charts/_rels/chart1740.xml.rels><?xml version='1.0' encoding='UTF-8' standalone='yes'?>
<Relationships xmlns="http://schemas.openxmlformats.org/package/2006/relationships"><Relationship Id="rId1" Type="http://schemas.openxmlformats.org/officeDocument/2006/relationships/package" Target="../embeddings/Microsoft_Excel_Worksheet1739.xlsx"/></Relationships>
</file>

<file path=ppt/charts/_rels/chart1741.xml.rels><?xml version='1.0' encoding='UTF-8' standalone='yes'?>
<Relationships xmlns="http://schemas.openxmlformats.org/package/2006/relationships"><Relationship Id="rId1" Type="http://schemas.openxmlformats.org/officeDocument/2006/relationships/package" Target="../embeddings/Microsoft_Excel_Worksheet1740.xlsx"/></Relationships>
</file>

<file path=ppt/charts/_rels/chart1742.xml.rels><?xml version='1.0' encoding='UTF-8' standalone='yes'?>
<Relationships xmlns="http://schemas.openxmlformats.org/package/2006/relationships"><Relationship Id="rId1" Type="http://schemas.openxmlformats.org/officeDocument/2006/relationships/package" Target="../embeddings/Microsoft_Excel_Worksheet1741.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53.xml.rels><?xml version='1.0' encoding='UTF-8' standalone='yes'?>
<Relationships xmlns="http://schemas.openxmlformats.org/package/2006/relationships"><Relationship Id="rId1" Type="http://schemas.openxmlformats.org/officeDocument/2006/relationships/package" Target="../embeddings/Microsoft_Excel_Worksheet1752.xlsx"/></Relationships>
</file>

<file path=ppt/charts/_rels/chart1754.xml.rels><?xml version='1.0' encoding='UTF-8' standalone='yes'?>
<Relationships xmlns="http://schemas.openxmlformats.org/package/2006/relationships"><Relationship Id="rId1" Type="http://schemas.openxmlformats.org/officeDocument/2006/relationships/package" Target="../embeddings/Microsoft_Excel_Worksheet1753.xlsx"/></Relationships>
</file>

<file path=ppt/charts/_rels/chart1755.xml.rels><?xml version='1.0' encoding='UTF-8' standalone='yes'?>
<Relationships xmlns="http://schemas.openxmlformats.org/package/2006/relationships"><Relationship Id="rId1" Type="http://schemas.openxmlformats.org/officeDocument/2006/relationships/package" Target="../embeddings/Microsoft_Excel_Worksheet1754.xlsx"/></Relationships>
</file>

<file path=ppt/charts/_rels/chart1756.xml.rels><?xml version='1.0' encoding='UTF-8' standalone='yes'?>
<Relationships xmlns="http://schemas.openxmlformats.org/package/2006/relationships"><Relationship Id="rId1" Type="http://schemas.openxmlformats.org/officeDocument/2006/relationships/package" Target="../embeddings/Microsoft_Excel_Worksheet1755.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83.xml.rels><?xml version='1.0' encoding='UTF-8' standalone='yes'?>
<Relationships xmlns="http://schemas.openxmlformats.org/package/2006/relationships"><Relationship Id="rId1" Type="http://schemas.openxmlformats.org/officeDocument/2006/relationships/package" Target="../embeddings/Microsoft_Excel_Worksheet1782.xlsx"/></Relationships>
</file>

<file path=ppt/charts/_rels/chart1784.xml.rels><?xml version='1.0' encoding='UTF-8' standalone='yes'?>
<Relationships xmlns="http://schemas.openxmlformats.org/package/2006/relationships"><Relationship Id="rId1" Type="http://schemas.openxmlformats.org/officeDocument/2006/relationships/package" Target="../embeddings/Microsoft_Excel_Worksheet1783.xlsx"/></Relationships>
</file>

<file path=ppt/charts/_rels/chart1785.xml.rels><?xml version='1.0' encoding='UTF-8' standalone='yes'?>
<Relationships xmlns="http://schemas.openxmlformats.org/package/2006/relationships"><Relationship Id="rId1" Type="http://schemas.openxmlformats.org/officeDocument/2006/relationships/package" Target="../embeddings/Microsoft_Excel_Worksheet1784.xlsx"/></Relationships>
</file>

<file path=ppt/charts/_rels/chart1786.xml.rels><?xml version='1.0' encoding='UTF-8' standalone='yes'?>
<Relationships xmlns="http://schemas.openxmlformats.org/package/2006/relationships"><Relationship Id="rId1" Type="http://schemas.openxmlformats.org/officeDocument/2006/relationships/package" Target="../embeddings/Microsoft_Excel_Worksheet178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3.xml.rels><?xml version='1.0' encoding='UTF-8' standalone='yes'?>
<Relationships xmlns="http://schemas.openxmlformats.org/package/2006/relationships"><Relationship Id="rId1" Type="http://schemas.openxmlformats.org/officeDocument/2006/relationships/package" Target="../embeddings/Microsoft_Excel_Worksheet1802.xlsx"/></Relationships>
</file>

<file path=ppt/charts/_rels/chart1804.xml.rels><?xml version='1.0' encoding='UTF-8' standalone='yes'?>
<Relationships xmlns="http://schemas.openxmlformats.org/package/2006/relationships"><Relationship Id="rId1" Type="http://schemas.openxmlformats.org/officeDocument/2006/relationships/package" Target="../embeddings/Microsoft_Excel_Worksheet1803.xlsx"/></Relationships>
</file>

<file path=ppt/charts/_rels/chart1805.xml.rels><?xml version='1.0' encoding='UTF-8' standalone='yes'?>
<Relationships xmlns="http://schemas.openxmlformats.org/package/2006/relationships"><Relationship Id="rId1" Type="http://schemas.openxmlformats.org/officeDocument/2006/relationships/package" Target="../embeddings/Microsoft_Excel_Worksheet1804.xlsx"/></Relationships>
</file>

<file path=ppt/charts/_rels/chart1806.xml.rels><?xml version='1.0' encoding='UTF-8' standalone='yes'?>
<Relationships xmlns="http://schemas.openxmlformats.org/package/2006/relationships"><Relationship Id="rId1" Type="http://schemas.openxmlformats.org/officeDocument/2006/relationships/package" Target="../embeddings/Microsoft_Excel_Worksheet1805.xlsx"/></Relationships>
</file>

<file path=ppt/charts/_rels/chart1815.xml.rels><?xml version='1.0' encoding='UTF-8' standalone='yes'?>
<Relationships xmlns="http://schemas.openxmlformats.org/package/2006/relationships"><Relationship Id="rId1" Type="http://schemas.openxmlformats.org/officeDocument/2006/relationships/package" Target="../embeddings/Microsoft_Excel_Worksheet1814.xlsx"/></Relationships>
</file>

<file path=ppt/charts/_rels/chart1816.xml.rels><?xml version='1.0' encoding='UTF-8' standalone='yes'?>
<Relationships xmlns="http://schemas.openxmlformats.org/package/2006/relationships"><Relationship Id="rId1" Type="http://schemas.openxmlformats.org/officeDocument/2006/relationships/package" Target="../embeddings/Microsoft_Excel_Worksheet1815.xlsx"/></Relationships>
</file>

<file path=ppt/charts/_rels/chart1817.xml.rels><?xml version='1.0' encoding='UTF-8' standalone='yes'?>
<Relationships xmlns="http://schemas.openxmlformats.org/package/2006/relationships"><Relationship Id="rId1" Type="http://schemas.openxmlformats.org/officeDocument/2006/relationships/package" Target="../embeddings/Microsoft_Excel_Worksheet1816.xlsx"/></Relationships>
</file>

<file path=ppt/charts/_rels/chart1818.xml.rels><?xml version='1.0' encoding='UTF-8' standalone='yes'?>
<Relationships xmlns="http://schemas.openxmlformats.org/package/2006/relationships"><Relationship Id="rId1" Type="http://schemas.openxmlformats.org/officeDocument/2006/relationships/package" Target="../embeddings/Microsoft_Excel_Worksheet1817.xlsx"/></Relationships>
</file>

<file path=ppt/charts/_rels/chart1819.xml.rels><?xml version='1.0' encoding='UTF-8' standalone='yes'?>
<Relationships xmlns="http://schemas.openxmlformats.org/package/2006/relationships"><Relationship Id="rId1" Type="http://schemas.openxmlformats.org/officeDocument/2006/relationships/package" Target="../embeddings/Microsoft_Excel_Worksheet1818.xlsx"/></Relationships>
</file>

<file path=ppt/charts/_rels/chart1820.xml.rels><?xml version='1.0' encoding='UTF-8' standalone='yes'?>
<Relationships xmlns="http://schemas.openxmlformats.org/package/2006/relationships"><Relationship Id="rId1" Type="http://schemas.openxmlformats.org/officeDocument/2006/relationships/package" Target="../embeddings/Microsoft_Excel_Worksheet1819.xlsx"/></Relationships>
</file>

<file path=ppt/charts/_rels/chart1831.xml.rels><?xml version='1.0' encoding='UTF-8' standalone='yes'?>
<Relationships xmlns="http://schemas.openxmlformats.org/package/2006/relationships"><Relationship Id="rId1" Type="http://schemas.openxmlformats.org/officeDocument/2006/relationships/package" Target="../embeddings/Microsoft_Excel_Worksheet1830.xlsx"/></Relationships>
</file>

<file path=ppt/charts/_rels/chart1832.xml.rels><?xml version='1.0' encoding='UTF-8' standalone='yes'?>
<Relationships xmlns="http://schemas.openxmlformats.org/package/2006/relationships"><Relationship Id="rId1" Type="http://schemas.openxmlformats.org/officeDocument/2006/relationships/package" Target="../embeddings/Microsoft_Excel_Worksheet1831.xlsx"/></Relationships>
</file>

<file path=ppt/charts/_rels/chart1847.xml.rels><?xml version='1.0' encoding='UTF-8' standalone='yes'?>
<Relationships xmlns="http://schemas.openxmlformats.org/package/2006/relationships"><Relationship Id="rId1" Type="http://schemas.openxmlformats.org/officeDocument/2006/relationships/package" Target="../embeddings/Microsoft_Excel_Worksheet1846.xlsx"/></Relationships>
</file>

<file path=ppt/charts/_rels/chart1848.xml.rels><?xml version='1.0' encoding='UTF-8' standalone='yes'?>
<Relationships xmlns="http://schemas.openxmlformats.org/package/2006/relationships"><Relationship Id="rId1" Type="http://schemas.openxmlformats.org/officeDocument/2006/relationships/package" Target="../embeddings/Microsoft_Excel_Worksheet1847.xlsx"/></Relationships>
</file>

<file path=ppt/charts/_rels/chart1849.xml.rels><?xml version='1.0' encoding='UTF-8' standalone='yes'?>
<Relationships xmlns="http://schemas.openxmlformats.org/package/2006/relationships"><Relationship Id="rId1" Type="http://schemas.openxmlformats.org/officeDocument/2006/relationships/package" Target="../embeddings/Microsoft_Excel_Worksheet1848.xlsx"/></Relationships>
</file>

<file path=ppt/charts/_rels/chart1850.xml.rels><?xml version='1.0' encoding='UTF-8' standalone='yes'?>
<Relationships xmlns="http://schemas.openxmlformats.org/package/2006/relationships"><Relationship Id="rId1" Type="http://schemas.openxmlformats.org/officeDocument/2006/relationships/package" Target="../embeddings/Microsoft_Excel_Worksheet1849.xlsx"/></Relationships>
</file>

<file path=ppt/charts/_rels/chart1859.xml.rels><?xml version='1.0' encoding='UTF-8' standalone='yes'?>
<Relationships xmlns="http://schemas.openxmlformats.org/package/2006/relationships"><Relationship Id="rId1" Type="http://schemas.openxmlformats.org/officeDocument/2006/relationships/package" Target="../embeddings/Microsoft_Excel_Worksheet1858.xlsx"/></Relationships>
</file>

<file path=ppt/charts/_rels/chart1860.xml.rels><?xml version='1.0' encoding='UTF-8' standalone='yes'?>
<Relationships xmlns="http://schemas.openxmlformats.org/package/2006/relationships"><Relationship Id="rId1" Type="http://schemas.openxmlformats.org/officeDocument/2006/relationships/package" Target="../embeddings/Microsoft_Excel_Worksheet1859.xlsx"/></Relationships>
</file>

<file path=ppt/charts/_rels/chart1861.xml.rels><?xml version='1.0' encoding='UTF-8' standalone='yes'?>
<Relationships xmlns="http://schemas.openxmlformats.org/package/2006/relationships"><Relationship Id="rId1" Type="http://schemas.openxmlformats.org/officeDocument/2006/relationships/package" Target="../embeddings/Microsoft_Excel_Worksheet1860.xlsx"/></Relationships>
</file>

<file path=ppt/charts/_rels/chart1862.xml.rels><?xml version='1.0' encoding='UTF-8' standalone='yes'?>
<Relationships xmlns="http://schemas.openxmlformats.org/package/2006/relationships"><Relationship Id="rId1" Type="http://schemas.openxmlformats.org/officeDocument/2006/relationships/package" Target="../embeddings/Microsoft_Excel_Worksheet1861.xlsx"/></Relationships>
</file>

<file path=ppt/charts/_rels/chart1863.xml.rels><?xml version='1.0' encoding='UTF-8' standalone='yes'?>
<Relationships xmlns="http://schemas.openxmlformats.org/package/2006/relationships"><Relationship Id="rId1" Type="http://schemas.openxmlformats.org/officeDocument/2006/relationships/package" Target="../embeddings/Microsoft_Excel_Worksheet1862.xlsx"/></Relationships>
</file>

<file path=ppt/charts/_rels/chart1864.xml.rels><?xml version='1.0' encoding='UTF-8' standalone='yes'?>
<Relationships xmlns="http://schemas.openxmlformats.org/package/2006/relationships"><Relationship Id="rId1" Type="http://schemas.openxmlformats.org/officeDocument/2006/relationships/package" Target="../embeddings/Microsoft_Excel_Worksheet1863.xlsx"/></Relationships>
</file>

<file path=ppt/charts/_rels/chart1873.xml.rels><?xml version='1.0' encoding='UTF-8' standalone='yes'?>
<Relationships xmlns="http://schemas.openxmlformats.org/package/2006/relationships"><Relationship Id="rId1" Type="http://schemas.openxmlformats.org/officeDocument/2006/relationships/package" Target="../embeddings/Microsoft_Excel_Worksheet1872.xlsx"/></Relationships>
</file>

<file path=ppt/charts/_rels/chart1874.xml.rels><?xml version='1.0' encoding='UTF-8' standalone='yes'?>
<Relationships xmlns="http://schemas.openxmlformats.org/package/2006/relationships"><Relationship Id="rId1" Type="http://schemas.openxmlformats.org/officeDocument/2006/relationships/package" Target="../embeddings/Microsoft_Excel_Worksheet1873.xlsx"/></Relationships>
</file>

<file path=ppt/charts/_rels/chart1875.xml.rels><?xml version='1.0' encoding='UTF-8' standalone='yes'?>
<Relationships xmlns="http://schemas.openxmlformats.org/package/2006/relationships"><Relationship Id="rId1" Type="http://schemas.openxmlformats.org/officeDocument/2006/relationships/package" Target="../embeddings/Microsoft_Excel_Worksheet1874.xlsx"/></Relationships>
</file>

<file path=ppt/charts/_rels/chart1876.xml.rels><?xml version='1.0' encoding='UTF-8' standalone='yes'?>
<Relationships xmlns="http://schemas.openxmlformats.org/package/2006/relationships"><Relationship Id="rId1" Type="http://schemas.openxmlformats.org/officeDocument/2006/relationships/package" Target="../embeddings/Microsoft_Excel_Worksheet1875.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5.xml.rels><?xml version='1.0' encoding='UTF-8' standalone='yes'?>
<Relationships xmlns="http://schemas.openxmlformats.org/package/2006/relationships"><Relationship Id="rId1" Type="http://schemas.openxmlformats.org/officeDocument/2006/relationships/package" Target="../embeddings/Microsoft_Excel_Worksheet1904.xlsx"/></Relationships>
</file>

<file path=ppt/charts/_rels/chart1906.xml.rels><?xml version='1.0' encoding='UTF-8' standalone='yes'?>
<Relationships xmlns="http://schemas.openxmlformats.org/package/2006/relationships"><Relationship Id="rId1" Type="http://schemas.openxmlformats.org/officeDocument/2006/relationships/package" Target="../embeddings/Microsoft_Excel_Worksheet1905.xlsx"/></Relationships>
</file>

<file path=ppt/charts/_rels/chart1907.xml.rels><?xml version='1.0' encoding='UTF-8' standalone='yes'?>
<Relationships xmlns="http://schemas.openxmlformats.org/package/2006/relationships"><Relationship Id="rId1" Type="http://schemas.openxmlformats.org/officeDocument/2006/relationships/package" Target="../embeddings/Microsoft_Excel_Worksheet1906.xlsx"/></Relationships>
</file>

<file path=ppt/charts/_rels/chart1908.xml.rels><?xml version='1.0' encoding='UTF-8' standalone='yes'?>
<Relationships xmlns="http://schemas.openxmlformats.org/package/2006/relationships"><Relationship Id="rId1" Type="http://schemas.openxmlformats.org/officeDocument/2006/relationships/package" Target="../embeddings/Microsoft_Excel_Worksheet1907.xlsx"/></Relationships>
</file>

<file path=ppt/charts/_rels/chart1917.xml.rels><?xml version='1.0' encoding='UTF-8' standalone='yes'?>
<Relationships xmlns="http://schemas.openxmlformats.org/package/2006/relationships"><Relationship Id="rId1" Type="http://schemas.openxmlformats.org/officeDocument/2006/relationships/package" Target="../embeddings/Microsoft_Excel_Worksheet1916.xlsx"/></Relationships>
</file>

<file path=ppt/charts/_rels/chart1918.xml.rels><?xml version='1.0' encoding='UTF-8' standalone='yes'?>
<Relationships xmlns="http://schemas.openxmlformats.org/package/2006/relationships"><Relationship Id="rId1" Type="http://schemas.openxmlformats.org/officeDocument/2006/relationships/package" Target="../embeddings/Microsoft_Excel_Worksheet1917.xlsx"/></Relationships>
</file>

<file path=ppt/charts/_rels/chart1919.xml.rels><?xml version='1.0' encoding='UTF-8' standalone='yes'?>
<Relationships xmlns="http://schemas.openxmlformats.org/package/2006/relationships"><Relationship Id="rId1" Type="http://schemas.openxmlformats.org/officeDocument/2006/relationships/package" Target="../embeddings/Microsoft_Excel_Worksheet1918.xlsx"/></Relationships>
</file>

<file path=ppt/charts/_rels/chart1920.xml.rels><?xml version='1.0' encoding='UTF-8' standalone='yes'?>
<Relationships xmlns="http://schemas.openxmlformats.org/package/2006/relationships"><Relationship Id="rId1" Type="http://schemas.openxmlformats.org/officeDocument/2006/relationships/package" Target="../embeddings/Microsoft_Excel_Worksheet1919.xlsx"/></Relationships>
</file>

<file path=ppt/charts/_rels/chart1931.xml.rels><?xml version='1.0' encoding='UTF-8' standalone='yes'?>
<Relationships xmlns="http://schemas.openxmlformats.org/package/2006/relationships"><Relationship Id="rId1" Type="http://schemas.openxmlformats.org/officeDocument/2006/relationships/package" Target="../embeddings/Microsoft_Excel_Worksheet1930.xlsx"/></Relationships>
</file>

<file path=ppt/charts/_rels/chart1932.xml.rels><?xml version='1.0' encoding='UTF-8' standalone='yes'?>
<Relationships xmlns="http://schemas.openxmlformats.org/package/2006/relationships"><Relationship Id="rId1" Type="http://schemas.openxmlformats.org/officeDocument/2006/relationships/package" Target="../embeddings/Microsoft_Excel_Worksheet1931.xlsx"/></Relationships>
</file>

<file path=ppt/charts/_rels/chart1933.xml.rels><?xml version='1.0' encoding='UTF-8' standalone='yes'?>
<Relationships xmlns="http://schemas.openxmlformats.org/package/2006/relationships"><Relationship Id="rId1" Type="http://schemas.openxmlformats.org/officeDocument/2006/relationships/package" Target="../embeddings/Microsoft_Excel_Worksheet1932.xlsx"/></Relationships>
</file>

<file path=ppt/charts/_rels/chart1934.xml.rels><?xml version='1.0' encoding='UTF-8' standalone='yes'?>
<Relationships xmlns="http://schemas.openxmlformats.org/package/2006/relationships"><Relationship Id="rId1" Type="http://schemas.openxmlformats.org/officeDocument/2006/relationships/package" Target="../embeddings/Microsoft_Excel_Worksheet1933.xlsx"/></Relationships>
</file>

<file path=ppt/charts/_rels/chart1949.xml.rels><?xml version='1.0' encoding='UTF-8' standalone='yes'?>
<Relationships xmlns="http://schemas.openxmlformats.org/package/2006/relationships"><Relationship Id="rId1" Type="http://schemas.openxmlformats.org/officeDocument/2006/relationships/package" Target="../embeddings/Microsoft_Excel_Worksheet1948.xlsx"/></Relationships>
</file>

<file path=ppt/charts/_rels/chart1950.xml.rels><?xml version='1.0' encoding='UTF-8' standalone='yes'?>
<Relationships xmlns="http://schemas.openxmlformats.org/package/2006/relationships"><Relationship Id="rId1" Type="http://schemas.openxmlformats.org/officeDocument/2006/relationships/package" Target="../embeddings/Microsoft_Excel_Worksheet1949.xlsx"/></Relationships>
</file>

<file path=ppt/charts/_rels/chart1961.xml.rels><?xml version='1.0' encoding='UTF-8' standalone='yes'?>
<Relationships xmlns="http://schemas.openxmlformats.org/package/2006/relationships"><Relationship Id="rId1" Type="http://schemas.openxmlformats.org/officeDocument/2006/relationships/package" Target="../embeddings/Microsoft_Excel_Worksheet1960.xlsx"/></Relationships>
</file>

<file path=ppt/charts/_rels/chart1962.xml.rels><?xml version='1.0' encoding='UTF-8' standalone='yes'?>
<Relationships xmlns="http://schemas.openxmlformats.org/package/2006/relationships"><Relationship Id="rId1" Type="http://schemas.openxmlformats.org/officeDocument/2006/relationships/package" Target="../embeddings/Microsoft_Excel_Worksheet1961.xlsx"/></Relationships>
</file>

<file path=ppt/charts/_rels/chart1963.xml.rels><?xml version='1.0' encoding='UTF-8' standalone='yes'?>
<Relationships xmlns="http://schemas.openxmlformats.org/package/2006/relationships"><Relationship Id="rId1" Type="http://schemas.openxmlformats.org/officeDocument/2006/relationships/package" Target="../embeddings/Microsoft_Excel_Worksheet1962.xlsx"/></Relationships>
</file>

<file path=ppt/charts/_rels/chart1964.xml.rels><?xml version='1.0' encoding='UTF-8' standalone='yes'?>
<Relationships xmlns="http://schemas.openxmlformats.org/package/2006/relationships"><Relationship Id="rId1" Type="http://schemas.openxmlformats.org/officeDocument/2006/relationships/package" Target="../embeddings/Microsoft_Excel_Worksheet1963.xlsx"/></Relationships>
</file>

<file path=ppt/charts/_rels/chart1965.xml.rels><?xml version='1.0' encoding='UTF-8' standalone='yes'?>
<Relationships xmlns="http://schemas.openxmlformats.org/package/2006/relationships"><Relationship Id="rId1" Type="http://schemas.openxmlformats.org/officeDocument/2006/relationships/package" Target="../embeddings/Microsoft_Excel_Worksheet1964.xlsx"/></Relationships>
</file>

<file path=ppt/charts/_rels/chart1966.xml.rels><?xml version='1.0' encoding='UTF-8' standalone='yes'?>
<Relationships xmlns="http://schemas.openxmlformats.org/package/2006/relationships"><Relationship Id="rId1" Type="http://schemas.openxmlformats.org/officeDocument/2006/relationships/package" Target="../embeddings/Microsoft_Excel_Worksheet1965.xlsx"/></Relationships>
</file>

<file path=ppt/charts/_rels/chart1975.xml.rels><?xml version='1.0' encoding='UTF-8' standalone='yes'?>
<Relationships xmlns="http://schemas.openxmlformats.org/package/2006/relationships"><Relationship Id="rId1" Type="http://schemas.openxmlformats.org/officeDocument/2006/relationships/package" Target="../embeddings/Microsoft_Excel_Worksheet1974.xlsx"/></Relationships>
</file>

<file path=ppt/charts/_rels/chart1976.xml.rels><?xml version='1.0' encoding='UTF-8' standalone='yes'?>
<Relationships xmlns="http://schemas.openxmlformats.org/package/2006/relationships"><Relationship Id="rId1" Type="http://schemas.openxmlformats.org/officeDocument/2006/relationships/package" Target="../embeddings/Microsoft_Excel_Worksheet1975.xlsx"/></Relationships>
</file>

<file path=ppt/charts/_rels/chart1977.xml.rels><?xml version='1.0' encoding='UTF-8' standalone='yes'?>
<Relationships xmlns="http://schemas.openxmlformats.org/package/2006/relationships"><Relationship Id="rId1" Type="http://schemas.openxmlformats.org/officeDocument/2006/relationships/package" Target="../embeddings/Microsoft_Excel_Worksheet1976.xlsx"/></Relationships>
</file>

<file path=ppt/charts/_rels/chart1978.xml.rels><?xml version='1.0' encoding='UTF-8' standalone='yes'?>
<Relationships xmlns="http://schemas.openxmlformats.org/package/2006/relationships"><Relationship Id="rId1" Type="http://schemas.openxmlformats.org/officeDocument/2006/relationships/package" Target="../embeddings/Microsoft_Excel_Worksheet197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1995.xml.rels><?xml version='1.0' encoding='UTF-8' standalone='yes'?>
<Relationships xmlns="http://schemas.openxmlformats.org/package/2006/relationships"><Relationship Id="rId1" Type="http://schemas.openxmlformats.org/officeDocument/2006/relationships/package" Target="../embeddings/Microsoft_Excel_Worksheet1994.xlsx"/></Relationships>
</file>

<file path=ppt/charts/_rels/chart1996.xml.rels><?xml version='1.0' encoding='UTF-8' standalone='yes'?>
<Relationships xmlns="http://schemas.openxmlformats.org/package/2006/relationships"><Relationship Id="rId1" Type="http://schemas.openxmlformats.org/officeDocument/2006/relationships/package" Target="../embeddings/Microsoft_Excel_Worksheet1995.xlsx"/></Relationships>
</file>

<file path=ppt/charts/_rels/chart1997.xml.rels><?xml version='1.0' encoding='UTF-8' standalone='yes'?>
<Relationships xmlns="http://schemas.openxmlformats.org/package/2006/relationships"><Relationship Id="rId1" Type="http://schemas.openxmlformats.org/officeDocument/2006/relationships/package" Target="../embeddings/Microsoft_Excel_Worksheet1996.xlsx"/></Relationships>
</file>

<file path=ppt/charts/_rels/chart1998.xml.rels><?xml version='1.0' encoding='UTF-8' standalone='yes'?>
<Relationships xmlns="http://schemas.openxmlformats.org/package/2006/relationships"><Relationship Id="rId1" Type="http://schemas.openxmlformats.org/officeDocument/2006/relationships/package" Target="../embeddings/Microsoft_Excel_Worksheet1997.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25.xml.rels><?xml version='1.0' encoding='UTF-8' standalone='yes'?>
<Relationships xmlns="http://schemas.openxmlformats.org/package/2006/relationships"><Relationship Id="rId1" Type="http://schemas.openxmlformats.org/officeDocument/2006/relationships/package" Target="../embeddings/Microsoft_Excel_Worksheet2024.xlsx"/></Relationships>
</file>

<file path=ppt/charts/_rels/chart2026.xml.rels><?xml version='1.0' encoding='UTF-8' standalone='yes'?>
<Relationships xmlns="http://schemas.openxmlformats.org/package/2006/relationships"><Relationship Id="rId1" Type="http://schemas.openxmlformats.org/officeDocument/2006/relationships/package" Target="../embeddings/Microsoft_Excel_Worksheet2025.xlsx"/></Relationships>
</file>

<file path=ppt/charts/_rels/chart2027.xml.rels><?xml version='1.0' encoding='UTF-8' standalone='yes'?>
<Relationships xmlns="http://schemas.openxmlformats.org/package/2006/relationships"><Relationship Id="rId1" Type="http://schemas.openxmlformats.org/officeDocument/2006/relationships/package" Target="../embeddings/Microsoft_Excel_Worksheet2026.xlsx"/></Relationships>
</file>

<file path=ppt/charts/_rels/chart2028.xml.rels><?xml version='1.0' encoding='UTF-8' standalone='yes'?>
<Relationships xmlns="http://schemas.openxmlformats.org/package/2006/relationships"><Relationship Id="rId1" Type="http://schemas.openxmlformats.org/officeDocument/2006/relationships/package" Target="../embeddings/Microsoft_Excel_Worksheet2027.xlsx"/></Relationships>
</file>

<file path=ppt/charts/_rels/chart2039.xml.rels><?xml version='1.0' encoding='UTF-8' standalone='yes'?>
<Relationships xmlns="http://schemas.openxmlformats.org/package/2006/relationships"><Relationship Id="rId1" Type="http://schemas.openxmlformats.org/officeDocument/2006/relationships/package" Target="../embeddings/Microsoft_Excel_Worksheet2038.xlsx"/></Relationships>
</file>

<file path=ppt/charts/_rels/chart2040.xml.rels><?xml version='1.0' encoding='UTF-8' standalone='yes'?>
<Relationships xmlns="http://schemas.openxmlformats.org/package/2006/relationships"><Relationship Id="rId1" Type="http://schemas.openxmlformats.org/officeDocument/2006/relationships/package" Target="../embeddings/Microsoft_Excel_Worksheet2039.xlsx"/></Relationships>
</file>

<file path=ppt/charts/_rels/chart2041.xml.rels><?xml version='1.0' encoding='UTF-8' standalone='yes'?>
<Relationships xmlns="http://schemas.openxmlformats.org/package/2006/relationships"><Relationship Id="rId1" Type="http://schemas.openxmlformats.org/officeDocument/2006/relationships/package" Target="../embeddings/Microsoft_Excel_Worksheet2040.xlsx"/></Relationships>
</file>

<file path=ppt/charts/_rels/chart2042.xml.rels><?xml version='1.0' encoding='UTF-8' standalone='yes'?>
<Relationships xmlns="http://schemas.openxmlformats.org/package/2006/relationships"><Relationship Id="rId1" Type="http://schemas.openxmlformats.org/officeDocument/2006/relationships/package" Target="../embeddings/Microsoft_Excel_Worksheet2041.xlsx"/></Relationships>
</file>

<file path=ppt/charts/_rels/chart2051.xml.rels><?xml version='1.0' encoding='UTF-8' standalone='yes'?>
<Relationships xmlns="http://schemas.openxmlformats.org/package/2006/relationships"><Relationship Id="rId1" Type="http://schemas.openxmlformats.org/officeDocument/2006/relationships/package" Target="../embeddings/Microsoft_Excel_Worksheet2050.xlsx"/></Relationships>
</file>

<file path=ppt/charts/_rels/chart2052.xml.rels><?xml version='1.0' encoding='UTF-8' standalone='yes'?>
<Relationships xmlns="http://schemas.openxmlformats.org/package/2006/relationships"><Relationship Id="rId1" Type="http://schemas.openxmlformats.org/officeDocument/2006/relationships/package" Target="../embeddings/Microsoft_Excel_Worksheet2051.xlsx"/></Relationships>
</file>

<file path=ppt/charts/_rels/chart2053.xml.rels><?xml version='1.0' encoding='UTF-8' standalone='yes'?>
<Relationships xmlns="http://schemas.openxmlformats.org/package/2006/relationships"><Relationship Id="rId1" Type="http://schemas.openxmlformats.org/officeDocument/2006/relationships/package" Target="../embeddings/Microsoft_Excel_Worksheet2052.xlsx"/></Relationships>
</file>

<file path=ppt/charts/_rels/chart2054.xml.rels><?xml version='1.0' encoding='UTF-8' standalone='yes'?>
<Relationships xmlns="http://schemas.openxmlformats.org/package/2006/relationships"><Relationship Id="rId1" Type="http://schemas.openxmlformats.org/officeDocument/2006/relationships/package" Target="../embeddings/Microsoft_Excel_Worksheet2053.xlsx"/></Relationships>
</file>

<file path=ppt/charts/_rels/chart2055.xml.rels><?xml version='1.0' encoding='UTF-8' standalone='yes'?>
<Relationships xmlns="http://schemas.openxmlformats.org/package/2006/relationships"><Relationship Id="rId1" Type="http://schemas.openxmlformats.org/officeDocument/2006/relationships/package" Target="../embeddings/Microsoft_Excel_Worksheet2054.xlsx"/></Relationships>
</file>

<file path=ppt/charts/_rels/chart2056.xml.rels><?xml version='1.0' encoding='UTF-8' standalone='yes'?>
<Relationships xmlns="http://schemas.openxmlformats.org/package/2006/relationships"><Relationship Id="rId1" Type="http://schemas.openxmlformats.org/officeDocument/2006/relationships/package" Target="../embeddings/Microsoft_Excel_Worksheet2055.xlsx"/></Relationships>
</file>

<file path=ppt/charts/_rels/chart2069.xml.rels><?xml version='1.0' encoding='UTF-8' standalone='yes'?>
<Relationships xmlns="http://schemas.openxmlformats.org/package/2006/relationships"><Relationship Id="rId1" Type="http://schemas.openxmlformats.org/officeDocument/2006/relationships/package" Target="../embeddings/Microsoft_Excel_Worksheet2068.xlsx"/></Relationships>
</file>

<file path=ppt/charts/_rels/chart2070.xml.rels><?xml version='1.0' encoding='UTF-8' standalone='yes'?>
<Relationships xmlns="http://schemas.openxmlformats.org/package/2006/relationships"><Relationship Id="rId1" Type="http://schemas.openxmlformats.org/officeDocument/2006/relationships/package" Target="../embeddings/Microsoft_Excel_Worksheet2069.xlsx"/></Relationships>
</file>

<file path=ppt/charts/_rels/chart2083.xml.rels><?xml version='1.0' encoding='UTF-8' standalone='yes'?>
<Relationships xmlns="http://schemas.openxmlformats.org/package/2006/relationships"><Relationship Id="rId1" Type="http://schemas.openxmlformats.org/officeDocument/2006/relationships/package" Target="../embeddings/Microsoft_Excel_Worksheet2082.xlsx"/></Relationships>
</file>

<file path=ppt/charts/_rels/chart2084.xml.rels><?xml version='1.0' encoding='UTF-8' standalone='yes'?>
<Relationships xmlns="http://schemas.openxmlformats.org/package/2006/relationships"><Relationship Id="rId1" Type="http://schemas.openxmlformats.org/officeDocument/2006/relationships/package" Target="../embeddings/Microsoft_Excel_Worksheet2083.xlsx"/></Relationships>
</file>

<file path=ppt/charts/_rels/chart2085.xml.rels><?xml version='1.0' encoding='UTF-8' standalone='yes'?>
<Relationships xmlns="http://schemas.openxmlformats.org/package/2006/relationships"><Relationship Id="rId1" Type="http://schemas.openxmlformats.org/officeDocument/2006/relationships/package" Target="../embeddings/Microsoft_Excel_Worksheet2084.xlsx"/></Relationships>
</file>

<file path=ppt/charts/_rels/chart2086.xml.rels><?xml version='1.0' encoding='UTF-8' standalone='yes'?>
<Relationships xmlns="http://schemas.openxmlformats.org/package/2006/relationships"><Relationship Id="rId1" Type="http://schemas.openxmlformats.org/officeDocument/2006/relationships/package" Target="../embeddings/Microsoft_Excel_Worksheet2085.xlsx"/></Relationships>
</file>

<file path=ppt/charts/_rels/chart2095.xml.rels><?xml version='1.0' encoding='UTF-8' standalone='yes'?>
<Relationships xmlns="http://schemas.openxmlformats.org/package/2006/relationships"><Relationship Id="rId1" Type="http://schemas.openxmlformats.org/officeDocument/2006/relationships/package" Target="../embeddings/Microsoft_Excel_Worksheet2094.xlsx"/></Relationships>
</file>

<file path=ppt/charts/_rels/chart2096.xml.rels><?xml version='1.0' encoding='UTF-8' standalone='yes'?>
<Relationships xmlns="http://schemas.openxmlformats.org/package/2006/relationships"><Relationship Id="rId1" Type="http://schemas.openxmlformats.org/officeDocument/2006/relationships/package" Target="../embeddings/Microsoft_Excel_Worksheet2095.xlsx"/></Relationships>
</file>

<file path=ppt/charts/_rels/chart2097.xml.rels><?xml version='1.0' encoding='UTF-8' standalone='yes'?>
<Relationships xmlns="http://schemas.openxmlformats.org/package/2006/relationships"><Relationship Id="rId1" Type="http://schemas.openxmlformats.org/officeDocument/2006/relationships/package" Target="../embeddings/Microsoft_Excel_Worksheet2096.xlsx"/></Relationships>
</file>

<file path=ppt/charts/_rels/chart2098.xml.rels><?xml version='1.0' encoding='UTF-8' standalone='yes'?>
<Relationships xmlns="http://schemas.openxmlformats.org/package/2006/relationships"><Relationship Id="rId1" Type="http://schemas.openxmlformats.org/officeDocument/2006/relationships/package" Target="../embeddings/Microsoft_Excel_Worksheet2097.xlsx"/></Relationships>
</file>

<file path=ppt/charts/_rels/chart2099.xml.rels><?xml version='1.0' encoding='UTF-8' standalone='yes'?>
<Relationships xmlns="http://schemas.openxmlformats.org/package/2006/relationships"><Relationship Id="rId1" Type="http://schemas.openxmlformats.org/officeDocument/2006/relationships/package" Target="../embeddings/Microsoft_Excel_Worksheet2098.xlsx"/></Relationships>
</file>

<file path=ppt/charts/_rels/chart2100.xml.rels><?xml version='1.0' encoding='UTF-8' standalone='yes'?>
<Relationships xmlns="http://schemas.openxmlformats.org/package/2006/relationships"><Relationship Id="rId1" Type="http://schemas.openxmlformats.org/officeDocument/2006/relationships/package" Target="../embeddings/Microsoft_Excel_Worksheet2099.xlsx"/></Relationships>
</file>

<file path=ppt/charts/_rels/chart2111.xml.rels><?xml version='1.0' encoding='UTF-8' standalone='yes'?>
<Relationships xmlns="http://schemas.openxmlformats.org/package/2006/relationships"><Relationship Id="rId1" Type="http://schemas.openxmlformats.org/officeDocument/2006/relationships/package" Target="../embeddings/Microsoft_Excel_Worksheet2110.xlsx"/></Relationships>
</file>

<file path=ppt/charts/_rels/chart2112.xml.rels><?xml version='1.0' encoding='UTF-8' standalone='yes'?>
<Relationships xmlns="http://schemas.openxmlformats.org/package/2006/relationships"><Relationship Id="rId1" Type="http://schemas.openxmlformats.org/officeDocument/2006/relationships/package" Target="../embeddings/Microsoft_Excel_Worksheet2111.xlsx"/></Relationships>
</file>

<file path=ppt/charts/_rels/chart2127.xml.rels><?xml version='1.0' encoding='UTF-8' standalone='yes'?>
<Relationships xmlns="http://schemas.openxmlformats.org/package/2006/relationships"><Relationship Id="rId1" Type="http://schemas.openxmlformats.org/officeDocument/2006/relationships/package" Target="../embeddings/Microsoft_Excel_Worksheet2126.xlsx"/></Relationships>
</file>

<file path=ppt/charts/_rels/chart2128.xml.rels><?xml version='1.0' encoding='UTF-8' standalone='yes'?>
<Relationships xmlns="http://schemas.openxmlformats.org/package/2006/relationships"><Relationship Id="rId1" Type="http://schemas.openxmlformats.org/officeDocument/2006/relationships/package" Target="../embeddings/Microsoft_Excel_Worksheet2127.xlsx"/></Relationships>
</file>

<file path=ppt/charts/_rels/chart2129.xml.rels><?xml version='1.0' encoding='UTF-8' standalone='yes'?>
<Relationships xmlns="http://schemas.openxmlformats.org/package/2006/relationships"><Relationship Id="rId1" Type="http://schemas.openxmlformats.org/officeDocument/2006/relationships/package" Target="../embeddings/Microsoft_Excel_Worksheet2128.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30.xml.rels><?xml version='1.0' encoding='UTF-8' standalone='yes'?>
<Relationships xmlns="http://schemas.openxmlformats.org/package/2006/relationships"><Relationship Id="rId1" Type="http://schemas.openxmlformats.org/officeDocument/2006/relationships/package" Target="../embeddings/Microsoft_Excel_Worksheet2129.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41.xml.rels><?xml version='1.0' encoding='UTF-8' standalone='yes'?>
<Relationships xmlns="http://schemas.openxmlformats.org/package/2006/relationships"><Relationship Id="rId1" Type="http://schemas.openxmlformats.org/officeDocument/2006/relationships/package" Target="../embeddings/Microsoft_Excel_Worksheet2140.xlsx"/></Relationships>
</file>

<file path=ppt/charts/_rels/chart2142.xml.rels><?xml version='1.0' encoding='UTF-8' standalone='yes'?>
<Relationships xmlns="http://schemas.openxmlformats.org/package/2006/relationships"><Relationship Id="rId1" Type="http://schemas.openxmlformats.org/officeDocument/2006/relationships/package" Target="../embeddings/Microsoft_Excel_Worksheet2141.xlsx"/></Relationships>
</file>

<file path=ppt/charts/_rels/chart2143.xml.rels><?xml version='1.0' encoding='UTF-8' standalone='yes'?>
<Relationships xmlns="http://schemas.openxmlformats.org/package/2006/relationships"><Relationship Id="rId1" Type="http://schemas.openxmlformats.org/officeDocument/2006/relationships/package" Target="../embeddings/Microsoft_Excel_Worksheet2142.xlsx"/></Relationships>
</file>

<file path=ppt/charts/_rels/chart2144.xml.rels><?xml version='1.0' encoding='UTF-8' standalone='yes'?>
<Relationships xmlns="http://schemas.openxmlformats.org/package/2006/relationships"><Relationship Id="rId1" Type="http://schemas.openxmlformats.org/officeDocument/2006/relationships/package" Target="../embeddings/Microsoft_Excel_Worksheet214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53.xml.rels><?xml version='1.0' encoding='UTF-8' standalone='yes'?>
<Relationships xmlns="http://schemas.openxmlformats.org/package/2006/relationships"><Relationship Id="rId1" Type="http://schemas.openxmlformats.org/officeDocument/2006/relationships/package" Target="../embeddings/Microsoft_Excel_Worksheet2152.xlsx"/></Relationships>
</file>

<file path=ppt/charts/_rels/chart2154.xml.rels><?xml version='1.0' encoding='UTF-8' standalone='yes'?>
<Relationships xmlns="http://schemas.openxmlformats.org/package/2006/relationships"><Relationship Id="rId1" Type="http://schemas.openxmlformats.org/officeDocument/2006/relationships/package" Target="../embeddings/Microsoft_Excel_Worksheet2153.xlsx"/></Relationships>
</file>

<file path=ppt/charts/_rels/chart2155.xml.rels><?xml version='1.0' encoding='UTF-8' standalone='yes'?>
<Relationships xmlns="http://schemas.openxmlformats.org/package/2006/relationships"><Relationship Id="rId1" Type="http://schemas.openxmlformats.org/officeDocument/2006/relationships/package" Target="../embeddings/Microsoft_Excel_Worksheet2154.xlsx"/></Relationships>
</file>

<file path=ppt/charts/_rels/chart2156.xml.rels><?xml version='1.0' encoding='UTF-8' standalone='yes'?>
<Relationships xmlns="http://schemas.openxmlformats.org/package/2006/relationships"><Relationship Id="rId1" Type="http://schemas.openxmlformats.org/officeDocument/2006/relationships/package" Target="../embeddings/Microsoft_Excel_Worksheet2155.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85.xml.rels><?xml version='1.0' encoding='UTF-8' standalone='yes'?>
<Relationships xmlns="http://schemas.openxmlformats.org/package/2006/relationships"><Relationship Id="rId1" Type="http://schemas.openxmlformats.org/officeDocument/2006/relationships/package" Target="../embeddings/Microsoft_Excel_Worksheet2184.xlsx"/></Relationships>
</file>

<file path=ppt/charts/_rels/chart2186.xml.rels><?xml version='1.0' encoding='UTF-8' standalone='yes'?>
<Relationships xmlns="http://schemas.openxmlformats.org/package/2006/relationships"><Relationship Id="rId1" Type="http://schemas.openxmlformats.org/officeDocument/2006/relationships/package" Target="../embeddings/Microsoft_Excel_Worksheet2185.xlsx"/></Relationships>
</file>

<file path=ppt/charts/_rels/chart2187.xml.rels><?xml version='1.0' encoding='UTF-8' standalone='yes'?>
<Relationships xmlns="http://schemas.openxmlformats.org/package/2006/relationships"><Relationship Id="rId1" Type="http://schemas.openxmlformats.org/officeDocument/2006/relationships/package" Target="../embeddings/Microsoft_Excel_Worksheet2186.xlsx"/></Relationships>
</file>

<file path=ppt/charts/_rels/chart2188.xml.rels><?xml version='1.0' encoding='UTF-8' standalone='yes'?>
<Relationships xmlns="http://schemas.openxmlformats.org/package/2006/relationships"><Relationship Id="rId1" Type="http://schemas.openxmlformats.org/officeDocument/2006/relationships/package" Target="../embeddings/Microsoft_Excel_Worksheet2187.xlsx"/></Relationships>
</file>

<file path=ppt/charts/_rels/chart2203.xml.rels><?xml version='1.0' encoding='UTF-8' standalone='yes'?>
<Relationships xmlns="http://schemas.openxmlformats.org/package/2006/relationships"><Relationship Id="rId1" Type="http://schemas.openxmlformats.org/officeDocument/2006/relationships/package" Target="../embeddings/Microsoft_Excel_Worksheet2202.xlsx"/></Relationships>
</file>

<file path=ppt/charts/_rels/chart2204.xml.rels><?xml version='1.0' encoding='UTF-8' standalone='yes'?>
<Relationships xmlns="http://schemas.openxmlformats.org/package/2006/relationships"><Relationship Id="rId1" Type="http://schemas.openxmlformats.org/officeDocument/2006/relationships/package" Target="../embeddings/Microsoft_Excel_Worksheet2203.xlsx"/></Relationships>
</file>

<file path=ppt/charts/_rels/chart2205.xml.rels><?xml version='1.0' encoding='UTF-8' standalone='yes'?>
<Relationships xmlns="http://schemas.openxmlformats.org/package/2006/relationships"><Relationship Id="rId1" Type="http://schemas.openxmlformats.org/officeDocument/2006/relationships/package" Target="../embeddings/Microsoft_Excel_Worksheet2204.xlsx"/></Relationships>
</file>

<file path=ppt/charts/_rels/chart2206.xml.rels><?xml version='1.0' encoding='UTF-8' standalone='yes'?>
<Relationships xmlns="http://schemas.openxmlformats.org/package/2006/relationships"><Relationship Id="rId1" Type="http://schemas.openxmlformats.org/officeDocument/2006/relationships/package" Target="../embeddings/Microsoft_Excel_Worksheet2205.xlsx"/></Relationships>
</file>

<file path=ppt/charts/_rels/chart2217.xml.rels><?xml version='1.0' encoding='UTF-8' standalone='yes'?>
<Relationships xmlns="http://schemas.openxmlformats.org/package/2006/relationships"><Relationship Id="rId1" Type="http://schemas.openxmlformats.org/officeDocument/2006/relationships/package" Target="../embeddings/Microsoft_Excel_Worksheet2216.xlsx"/></Relationships>
</file>

<file path=ppt/charts/_rels/chart2218.xml.rels><?xml version='1.0' encoding='UTF-8' standalone='yes'?>
<Relationships xmlns="http://schemas.openxmlformats.org/package/2006/relationships"><Relationship Id="rId1" Type="http://schemas.openxmlformats.org/officeDocument/2006/relationships/package" Target="../embeddings/Microsoft_Excel_Worksheet2217.xlsx"/></Relationships>
</file>

<file path=ppt/charts/_rels/chart2219.xml.rels><?xml version='1.0' encoding='UTF-8' standalone='yes'?>
<Relationships xmlns="http://schemas.openxmlformats.org/package/2006/relationships"><Relationship Id="rId1" Type="http://schemas.openxmlformats.org/officeDocument/2006/relationships/package" Target="../embeddings/Microsoft_Excel_Worksheet2218.xlsx"/></Relationships>
</file>

<file path=ppt/charts/_rels/chart2220.xml.rels><?xml version='1.0' encoding='UTF-8' standalone='yes'?>
<Relationships xmlns="http://schemas.openxmlformats.org/package/2006/relationships"><Relationship Id="rId1" Type="http://schemas.openxmlformats.org/officeDocument/2006/relationships/package" Target="../embeddings/Microsoft_Excel_Worksheet2219.xlsx"/></Relationships>
</file>

<file path=ppt/charts/_rels/chart2231.xml.rels><?xml version='1.0' encoding='UTF-8' standalone='yes'?>
<Relationships xmlns="http://schemas.openxmlformats.org/package/2006/relationships"><Relationship Id="rId1" Type="http://schemas.openxmlformats.org/officeDocument/2006/relationships/package" Target="../embeddings/Microsoft_Excel_Worksheet2230.xlsx"/></Relationships>
</file>

<file path=ppt/charts/_rels/chart2232.xml.rels><?xml version='1.0' encoding='UTF-8' standalone='yes'?>
<Relationships xmlns="http://schemas.openxmlformats.org/package/2006/relationships"><Relationship Id="rId1" Type="http://schemas.openxmlformats.org/officeDocument/2006/relationships/package" Target="../embeddings/Microsoft_Excel_Worksheet2231.xlsx"/></Relationships>
</file>

<file path=ppt/charts/_rels/chart2233.xml.rels><?xml version='1.0' encoding='UTF-8' standalone='yes'?>
<Relationships xmlns="http://schemas.openxmlformats.org/package/2006/relationships"><Relationship Id="rId1" Type="http://schemas.openxmlformats.org/officeDocument/2006/relationships/package" Target="../embeddings/Microsoft_Excel_Worksheet2232.xlsx"/></Relationships>
</file>

<file path=ppt/charts/_rels/chart2234.xml.rels><?xml version='1.0' encoding='UTF-8' standalone='yes'?>
<Relationships xmlns="http://schemas.openxmlformats.org/package/2006/relationships"><Relationship Id="rId1" Type="http://schemas.openxmlformats.org/officeDocument/2006/relationships/package" Target="../embeddings/Microsoft_Excel_Worksheet2233.xlsx"/></Relationships>
</file>

<file path=ppt/charts/_rels/chart2247.xml.rels><?xml version='1.0' encoding='UTF-8' standalone='yes'?>
<Relationships xmlns="http://schemas.openxmlformats.org/package/2006/relationships"><Relationship Id="rId1" Type="http://schemas.openxmlformats.org/officeDocument/2006/relationships/package" Target="../embeddings/Microsoft_Excel_Worksheet2246.xlsx"/></Relationships>
</file>

<file path=ppt/charts/_rels/chart2248.xml.rels><?xml version='1.0' encoding='UTF-8' standalone='yes'?>
<Relationships xmlns="http://schemas.openxmlformats.org/package/2006/relationships"><Relationship Id="rId1" Type="http://schemas.openxmlformats.org/officeDocument/2006/relationships/package" Target="../embeddings/Microsoft_Excel_Worksheet2247.xlsx"/></Relationships>
</file>

<file path=ppt/charts/_rels/chart2249.xml.rels><?xml version='1.0' encoding='UTF-8' standalone='yes'?>
<Relationships xmlns="http://schemas.openxmlformats.org/package/2006/relationships"><Relationship Id="rId1" Type="http://schemas.openxmlformats.org/officeDocument/2006/relationships/package" Target="../embeddings/Microsoft_Excel_Worksheet2248.xlsx"/></Relationships>
</file>

<file path=ppt/charts/_rels/chart2250.xml.rels><?xml version='1.0' encoding='UTF-8' standalone='yes'?>
<Relationships xmlns="http://schemas.openxmlformats.org/package/2006/relationships"><Relationship Id="rId1" Type="http://schemas.openxmlformats.org/officeDocument/2006/relationships/package" Target="../embeddings/Microsoft_Excel_Worksheet2249.xlsx"/></Relationships>
</file>

<file path=ppt/charts/_rels/chart2261.xml.rels><?xml version='1.0' encoding='UTF-8' standalone='yes'?>
<Relationships xmlns="http://schemas.openxmlformats.org/package/2006/relationships"><Relationship Id="rId1" Type="http://schemas.openxmlformats.org/officeDocument/2006/relationships/package" Target="../embeddings/Microsoft_Excel_Worksheet2260.xlsx"/></Relationships>
</file>

<file path=ppt/charts/_rels/chart2262.xml.rels><?xml version='1.0' encoding='UTF-8' standalone='yes'?>
<Relationships xmlns="http://schemas.openxmlformats.org/package/2006/relationships"><Relationship Id="rId1" Type="http://schemas.openxmlformats.org/officeDocument/2006/relationships/package" Target="../embeddings/Microsoft_Excel_Worksheet2261.xlsx"/></Relationships>
</file>

<file path=ppt/charts/_rels/chart2263.xml.rels><?xml version='1.0' encoding='UTF-8' standalone='yes'?>
<Relationships xmlns="http://schemas.openxmlformats.org/package/2006/relationships"><Relationship Id="rId1" Type="http://schemas.openxmlformats.org/officeDocument/2006/relationships/package" Target="../embeddings/Microsoft_Excel_Worksheet2262.xlsx"/></Relationships>
</file>

<file path=ppt/charts/_rels/chart2264.xml.rels><?xml version='1.0' encoding='UTF-8' standalone='yes'?>
<Relationships xmlns="http://schemas.openxmlformats.org/package/2006/relationships"><Relationship Id="rId1" Type="http://schemas.openxmlformats.org/officeDocument/2006/relationships/package" Target="../embeddings/Microsoft_Excel_Worksheet2263.xlsx"/></Relationships>
</file>

<file path=ppt/charts/_rels/chart2275.xml.rels><?xml version='1.0' encoding='UTF-8' standalone='yes'?>
<Relationships xmlns="http://schemas.openxmlformats.org/package/2006/relationships"><Relationship Id="rId1" Type="http://schemas.openxmlformats.org/officeDocument/2006/relationships/package" Target="../embeddings/Microsoft_Excel_Worksheet2274.xlsx"/></Relationships>
</file>

<file path=ppt/charts/_rels/chart2276.xml.rels><?xml version='1.0' encoding='UTF-8' standalone='yes'?>
<Relationships xmlns="http://schemas.openxmlformats.org/package/2006/relationships"><Relationship Id="rId1" Type="http://schemas.openxmlformats.org/officeDocument/2006/relationships/package" Target="../embeddings/Microsoft_Excel_Worksheet2275.xlsx"/></Relationships>
</file>

<file path=ppt/charts/_rels/chart2277.xml.rels><?xml version='1.0' encoding='UTF-8' standalone='yes'?>
<Relationships xmlns="http://schemas.openxmlformats.org/package/2006/relationships"><Relationship Id="rId1" Type="http://schemas.openxmlformats.org/officeDocument/2006/relationships/package" Target="../embeddings/Microsoft_Excel_Worksheet2276.xlsx"/></Relationships>
</file>

<file path=ppt/charts/_rels/chart2278.xml.rels><?xml version='1.0' encoding='UTF-8' standalone='yes'?>
<Relationships xmlns="http://schemas.openxmlformats.org/package/2006/relationships"><Relationship Id="rId1" Type="http://schemas.openxmlformats.org/officeDocument/2006/relationships/package" Target="../embeddings/Microsoft_Excel_Worksheet2277.xlsx"/></Relationships>
</file>

<file path=ppt/charts/_rels/chart2305.xml.rels><?xml version='1.0' encoding='UTF-8' standalone='yes'?>
<Relationships xmlns="http://schemas.openxmlformats.org/package/2006/relationships"><Relationship Id="rId1" Type="http://schemas.openxmlformats.org/officeDocument/2006/relationships/package" Target="../embeddings/Microsoft_Excel_Worksheet2304.xlsx"/></Relationships>
</file>

<file path=ppt/charts/_rels/chart2306.xml.rels><?xml version='1.0' encoding='UTF-8' standalone='yes'?>
<Relationships xmlns="http://schemas.openxmlformats.org/package/2006/relationships"><Relationship Id="rId1" Type="http://schemas.openxmlformats.org/officeDocument/2006/relationships/package" Target="../embeddings/Microsoft_Excel_Worksheet2305.xlsx"/></Relationships>
</file>

<file path=ppt/charts/_rels/chart2307.xml.rels><?xml version='1.0' encoding='UTF-8' standalone='yes'?>
<Relationships xmlns="http://schemas.openxmlformats.org/package/2006/relationships"><Relationship Id="rId1" Type="http://schemas.openxmlformats.org/officeDocument/2006/relationships/package" Target="../embeddings/Microsoft_Excel_Worksheet2306.xlsx"/></Relationships>
</file>

<file path=ppt/charts/_rels/chart2308.xml.rels><?xml version='1.0' encoding='UTF-8' standalone='yes'?>
<Relationships xmlns="http://schemas.openxmlformats.org/package/2006/relationships"><Relationship Id="rId1" Type="http://schemas.openxmlformats.org/officeDocument/2006/relationships/package" Target="../embeddings/Microsoft_Excel_Worksheet2307.xlsx"/></Relationships>
</file>

<file path=ppt/charts/_rels/chart2319.xml.rels><?xml version='1.0' encoding='UTF-8' standalone='yes'?>
<Relationships xmlns="http://schemas.openxmlformats.org/package/2006/relationships"><Relationship Id="rId1" Type="http://schemas.openxmlformats.org/officeDocument/2006/relationships/package" Target="../embeddings/Microsoft_Excel_Worksheet2318.xlsx"/></Relationships>
</file>

<file path=ppt/charts/_rels/chart2320.xml.rels><?xml version='1.0' encoding='UTF-8' standalone='yes'?>
<Relationships xmlns="http://schemas.openxmlformats.org/package/2006/relationships"><Relationship Id="rId1" Type="http://schemas.openxmlformats.org/officeDocument/2006/relationships/package" Target="../embeddings/Microsoft_Excel_Worksheet2319.xlsx"/></Relationships>
</file>

<file path=ppt/charts/_rels/chart2321.xml.rels><?xml version='1.0' encoding='UTF-8' standalone='yes'?>
<Relationships xmlns="http://schemas.openxmlformats.org/package/2006/relationships"><Relationship Id="rId1" Type="http://schemas.openxmlformats.org/officeDocument/2006/relationships/package" Target="../embeddings/Microsoft_Excel_Worksheet2320.xlsx"/></Relationships>
</file>

<file path=ppt/charts/_rels/chart2322.xml.rels><?xml version='1.0' encoding='UTF-8' standalone='yes'?>
<Relationships xmlns="http://schemas.openxmlformats.org/package/2006/relationships"><Relationship Id="rId1" Type="http://schemas.openxmlformats.org/officeDocument/2006/relationships/package" Target="../embeddings/Microsoft_Excel_Worksheet2321.xlsx"/></Relationships>
</file>

<file path=ppt/charts/_rels/chart2331.xml.rels><?xml version='1.0' encoding='UTF-8' standalone='yes'?>
<Relationships xmlns="http://schemas.openxmlformats.org/package/2006/relationships"><Relationship Id="rId1" Type="http://schemas.openxmlformats.org/officeDocument/2006/relationships/package" Target="../embeddings/Microsoft_Excel_Worksheet2330.xlsx"/></Relationships>
</file>

<file path=ppt/charts/_rels/chart2332.xml.rels><?xml version='1.0' encoding='UTF-8' standalone='yes'?>
<Relationships xmlns="http://schemas.openxmlformats.org/package/2006/relationships"><Relationship Id="rId1" Type="http://schemas.openxmlformats.org/officeDocument/2006/relationships/package" Target="../embeddings/Microsoft_Excel_Worksheet2331.xlsx"/></Relationships>
</file>

<file path=ppt/charts/_rels/chart2333.xml.rels><?xml version='1.0' encoding='UTF-8' standalone='yes'?>
<Relationships xmlns="http://schemas.openxmlformats.org/package/2006/relationships"><Relationship Id="rId1" Type="http://schemas.openxmlformats.org/officeDocument/2006/relationships/package" Target="../embeddings/Microsoft_Excel_Worksheet2332.xlsx"/></Relationships>
</file>

<file path=ppt/charts/_rels/chart2334.xml.rels><?xml version='1.0' encoding='UTF-8' standalone='yes'?>
<Relationships xmlns="http://schemas.openxmlformats.org/package/2006/relationships"><Relationship Id="rId1" Type="http://schemas.openxmlformats.org/officeDocument/2006/relationships/package" Target="../embeddings/Microsoft_Excel_Worksheet2333.xlsx"/></Relationships>
</file>

<file path=ppt/charts/_rels/chart2335.xml.rels><?xml version='1.0' encoding='UTF-8' standalone='yes'?>
<Relationships xmlns="http://schemas.openxmlformats.org/package/2006/relationships"><Relationship Id="rId1" Type="http://schemas.openxmlformats.org/officeDocument/2006/relationships/package" Target="../embeddings/Microsoft_Excel_Worksheet2334.xlsx"/></Relationships>
</file>

<file path=ppt/charts/_rels/chart2336.xml.rels><?xml version='1.0' encoding='UTF-8' standalone='yes'?>
<Relationships xmlns="http://schemas.openxmlformats.org/package/2006/relationships"><Relationship Id="rId1" Type="http://schemas.openxmlformats.org/officeDocument/2006/relationships/package" Target="../embeddings/Microsoft_Excel_Worksheet2335.xlsx"/></Relationships>
</file>

<file path=ppt/charts/_rels/chart2349.xml.rels><?xml version='1.0' encoding='UTF-8' standalone='yes'?>
<Relationships xmlns="http://schemas.openxmlformats.org/package/2006/relationships"><Relationship Id="rId1" Type="http://schemas.openxmlformats.org/officeDocument/2006/relationships/package" Target="../embeddings/Microsoft_Excel_Worksheet2348.xlsx"/></Relationships>
</file>

<file path=ppt/charts/_rels/chart2350.xml.rels><?xml version='1.0' encoding='UTF-8' standalone='yes'?>
<Relationships xmlns="http://schemas.openxmlformats.org/package/2006/relationships"><Relationship Id="rId1" Type="http://schemas.openxmlformats.org/officeDocument/2006/relationships/package" Target="../embeddings/Microsoft_Excel_Worksheet2349.xlsx"/></Relationships>
</file>

<file path=ppt/charts/_rels/chart2363.xml.rels><?xml version='1.0' encoding='UTF-8' standalone='yes'?>
<Relationships xmlns="http://schemas.openxmlformats.org/package/2006/relationships"><Relationship Id="rId1" Type="http://schemas.openxmlformats.org/officeDocument/2006/relationships/package" Target="../embeddings/Microsoft_Excel_Worksheet2362.xlsx"/></Relationships>
</file>

<file path=ppt/charts/_rels/chart2364.xml.rels><?xml version='1.0' encoding='UTF-8' standalone='yes'?>
<Relationships xmlns="http://schemas.openxmlformats.org/package/2006/relationships"><Relationship Id="rId1" Type="http://schemas.openxmlformats.org/officeDocument/2006/relationships/package" Target="../embeddings/Microsoft_Excel_Worksheet2363.xlsx"/></Relationships>
</file>

<file path=ppt/charts/_rels/chart2365.xml.rels><?xml version='1.0' encoding='UTF-8' standalone='yes'?>
<Relationships xmlns="http://schemas.openxmlformats.org/package/2006/relationships"><Relationship Id="rId1" Type="http://schemas.openxmlformats.org/officeDocument/2006/relationships/package" Target="../embeddings/Microsoft_Excel_Worksheet2364.xlsx"/></Relationships>
</file>

<file path=ppt/charts/_rels/chart2366.xml.rels><?xml version='1.0' encoding='UTF-8' standalone='yes'?>
<Relationships xmlns="http://schemas.openxmlformats.org/package/2006/relationships"><Relationship Id="rId1" Type="http://schemas.openxmlformats.org/officeDocument/2006/relationships/package" Target="../embeddings/Microsoft_Excel_Worksheet2365.xlsx"/></Relationships>
</file>

<file path=ppt/charts/_rels/chart2375.xml.rels><?xml version='1.0' encoding='UTF-8' standalone='yes'?>
<Relationships xmlns="http://schemas.openxmlformats.org/package/2006/relationships"><Relationship Id="rId1" Type="http://schemas.openxmlformats.org/officeDocument/2006/relationships/package" Target="../embeddings/Microsoft_Excel_Worksheet2374.xlsx"/></Relationships>
</file>

<file path=ppt/charts/_rels/chart2376.xml.rels><?xml version='1.0' encoding='UTF-8' standalone='yes'?>
<Relationships xmlns="http://schemas.openxmlformats.org/package/2006/relationships"><Relationship Id="rId1" Type="http://schemas.openxmlformats.org/officeDocument/2006/relationships/package" Target="../embeddings/Microsoft_Excel_Worksheet2375.xlsx"/></Relationships>
</file>

<file path=ppt/charts/_rels/chart2377.xml.rels><?xml version='1.0' encoding='UTF-8' standalone='yes'?>
<Relationships xmlns="http://schemas.openxmlformats.org/package/2006/relationships"><Relationship Id="rId1" Type="http://schemas.openxmlformats.org/officeDocument/2006/relationships/package" Target="../embeddings/Microsoft_Excel_Worksheet2376.xlsx"/></Relationships>
</file>

<file path=ppt/charts/_rels/chart2378.xml.rels><?xml version='1.0' encoding='UTF-8' standalone='yes'?>
<Relationships xmlns="http://schemas.openxmlformats.org/package/2006/relationships"><Relationship Id="rId1" Type="http://schemas.openxmlformats.org/officeDocument/2006/relationships/package" Target="../embeddings/Microsoft_Excel_Worksheet2377.xlsx"/></Relationships>
</file>

<file path=ppt/charts/_rels/chart2379.xml.rels><?xml version='1.0' encoding='UTF-8' standalone='yes'?>
<Relationships xmlns="http://schemas.openxmlformats.org/package/2006/relationships"><Relationship Id="rId1" Type="http://schemas.openxmlformats.org/officeDocument/2006/relationships/package" Target="../embeddings/Microsoft_Excel_Worksheet2378.xlsx"/></Relationships>
</file>

<file path=ppt/charts/_rels/chart2380.xml.rels><?xml version='1.0' encoding='UTF-8' standalone='yes'?>
<Relationships xmlns="http://schemas.openxmlformats.org/package/2006/relationships"><Relationship Id="rId1" Type="http://schemas.openxmlformats.org/officeDocument/2006/relationships/package" Target="../embeddings/Microsoft_Excel_Worksheet2379.xlsx"/></Relationships>
</file>

<file path=ppt/charts/_rels/chart2395.xml.rels><?xml version='1.0' encoding='UTF-8' standalone='yes'?>
<Relationships xmlns="http://schemas.openxmlformats.org/package/2006/relationships"><Relationship Id="rId1" Type="http://schemas.openxmlformats.org/officeDocument/2006/relationships/package" Target="../embeddings/Microsoft_Excel_Worksheet2394.xlsx"/></Relationships>
</file>

<file path=ppt/charts/_rels/chart2396.xml.rels><?xml version='1.0' encoding='UTF-8' standalone='yes'?>
<Relationships xmlns="http://schemas.openxmlformats.org/package/2006/relationships"><Relationship Id="rId1" Type="http://schemas.openxmlformats.org/officeDocument/2006/relationships/package" Target="../embeddings/Microsoft_Excel_Worksheet2395.xlsx"/></Relationships>
</file>

<file path=ppt/charts/_rels/chart2397.xml.rels><?xml version='1.0' encoding='UTF-8' standalone='yes'?>
<Relationships xmlns="http://schemas.openxmlformats.org/package/2006/relationships"><Relationship Id="rId1" Type="http://schemas.openxmlformats.org/officeDocument/2006/relationships/package" Target="../embeddings/Microsoft_Excel_Worksheet2396.xlsx"/></Relationships>
</file>

<file path=ppt/charts/_rels/chart2398.xml.rels><?xml version='1.0' encoding='UTF-8' standalone='yes'?>
<Relationships xmlns="http://schemas.openxmlformats.org/package/2006/relationships"><Relationship Id="rId1" Type="http://schemas.openxmlformats.org/officeDocument/2006/relationships/package" Target="../embeddings/Microsoft_Excel_Worksheet2397.xlsx"/></Relationships>
</file>

<file path=ppt/charts/_rels/chart2411.xml.rels><?xml version='1.0' encoding='UTF-8' standalone='yes'?>
<Relationships xmlns="http://schemas.openxmlformats.org/package/2006/relationships"><Relationship Id="rId1" Type="http://schemas.openxmlformats.org/officeDocument/2006/relationships/package" Target="../embeddings/Microsoft_Excel_Worksheet2410.xlsx"/></Relationships>
</file>

<file path=ppt/charts/_rels/chart2412.xml.rels><?xml version='1.0' encoding='UTF-8' standalone='yes'?>
<Relationships xmlns="http://schemas.openxmlformats.org/package/2006/relationships"><Relationship Id="rId1" Type="http://schemas.openxmlformats.org/officeDocument/2006/relationships/package" Target="../embeddings/Microsoft_Excel_Worksheet2411.xlsx"/></Relationships>
</file>

<file path=ppt/charts/_rels/chart2425.xml.rels><?xml version='1.0' encoding='UTF-8' standalone='yes'?>
<Relationships xmlns="http://schemas.openxmlformats.org/package/2006/relationships"><Relationship Id="rId1" Type="http://schemas.openxmlformats.org/officeDocument/2006/relationships/package" Target="../embeddings/Microsoft_Excel_Worksheet2424.xlsx"/></Relationships>
</file>

<file path=ppt/charts/_rels/chart2427.xml.rels><?xml version='1.0' encoding='UTF-8' standalone='yes'?>
<Relationships xmlns="http://schemas.openxmlformats.org/package/2006/relationships"><Relationship Id="rId1" Type="http://schemas.openxmlformats.org/officeDocument/2006/relationships/package" Target="../embeddings/Microsoft_Excel_Worksheet2426.xlsx"/></Relationships>
</file>

<file path=ppt/charts/_rels/chart2428.xml.rels><?xml version='1.0' encoding='UTF-8' standalone='yes'?>
<Relationships xmlns="http://schemas.openxmlformats.org/package/2006/relationships"><Relationship Id="rId1" Type="http://schemas.openxmlformats.org/officeDocument/2006/relationships/package" Target="../embeddings/Microsoft_Excel_Worksheet2427.xlsx"/></Relationships>
</file>

<file path=ppt/charts/_rels/chart2429.xml.rels><?xml version='1.0' encoding='UTF-8' standalone='yes'?>
<Relationships xmlns="http://schemas.openxmlformats.org/package/2006/relationships"><Relationship Id="rId1" Type="http://schemas.openxmlformats.org/officeDocument/2006/relationships/package" Target="../embeddings/Microsoft_Excel_Worksheet2428.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30.xml.rels><?xml version='1.0' encoding='UTF-8' standalone='yes'?>
<Relationships xmlns="http://schemas.openxmlformats.org/package/2006/relationships"><Relationship Id="rId1" Type="http://schemas.openxmlformats.org/officeDocument/2006/relationships/package" Target="../embeddings/Microsoft_Excel_Worksheet2429.xlsx"/></Relationships>
</file>

<file path=ppt/charts/_rels/chart2439.xml.rels><?xml version='1.0' encoding='UTF-8' standalone='yes'?>
<Relationships xmlns="http://schemas.openxmlformats.org/package/2006/relationships"><Relationship Id="rId1" Type="http://schemas.openxmlformats.org/officeDocument/2006/relationships/package" Target="../embeddings/Microsoft_Excel_Worksheet2438.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40.xml.rels><?xml version='1.0' encoding='UTF-8' standalone='yes'?>
<Relationships xmlns="http://schemas.openxmlformats.org/package/2006/relationships"><Relationship Id="rId1" Type="http://schemas.openxmlformats.org/officeDocument/2006/relationships/package" Target="../embeddings/Microsoft_Excel_Worksheet2439.xlsx"/></Relationships>
</file>

<file path=ppt/charts/_rels/chart2441.xml.rels><?xml version='1.0' encoding='UTF-8' standalone='yes'?>
<Relationships xmlns="http://schemas.openxmlformats.org/package/2006/relationships"><Relationship Id="rId1" Type="http://schemas.openxmlformats.org/officeDocument/2006/relationships/package" Target="../embeddings/Microsoft_Excel_Worksheet2440.xlsx"/></Relationships>
</file>

<file path=ppt/charts/_rels/chart2442.xml.rels><?xml version='1.0' encoding='UTF-8' standalone='yes'?>
<Relationships xmlns="http://schemas.openxmlformats.org/package/2006/relationships"><Relationship Id="rId1" Type="http://schemas.openxmlformats.org/officeDocument/2006/relationships/package" Target="../embeddings/Microsoft_Excel_Worksheet2441.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53.xml.rels><?xml version='1.0' encoding='UTF-8' standalone='yes'?>
<Relationships xmlns="http://schemas.openxmlformats.org/package/2006/relationships"><Relationship Id="rId1" Type="http://schemas.openxmlformats.org/officeDocument/2006/relationships/package" Target="../embeddings/Microsoft_Excel_Worksheet2452.xlsx"/></Relationships>
</file>

<file path=ppt/charts/_rels/chart2454.xml.rels><?xml version='1.0' encoding='UTF-8' standalone='yes'?>
<Relationships xmlns="http://schemas.openxmlformats.org/package/2006/relationships"><Relationship Id="rId1" Type="http://schemas.openxmlformats.org/officeDocument/2006/relationships/package" Target="../embeddings/Microsoft_Excel_Worksheet2453.xlsx"/></Relationships>
</file>

<file path=ppt/charts/_rels/chart2455.xml.rels><?xml version='1.0' encoding='UTF-8' standalone='yes'?>
<Relationships xmlns="http://schemas.openxmlformats.org/package/2006/relationships"><Relationship Id="rId1" Type="http://schemas.openxmlformats.org/officeDocument/2006/relationships/package" Target="../embeddings/Microsoft_Excel_Worksheet2454.xlsx"/></Relationships>
</file>

<file path=ppt/charts/_rels/chart2456.xml.rels><?xml version='1.0' encoding='UTF-8' standalone='yes'?>
<Relationships xmlns="http://schemas.openxmlformats.org/package/2006/relationships"><Relationship Id="rId1" Type="http://schemas.openxmlformats.org/officeDocument/2006/relationships/package" Target="../embeddings/Microsoft_Excel_Worksheet2455.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83.xml.rels><?xml version='1.0' encoding='UTF-8' standalone='yes'?>
<Relationships xmlns="http://schemas.openxmlformats.org/package/2006/relationships"><Relationship Id="rId1" Type="http://schemas.openxmlformats.org/officeDocument/2006/relationships/package" Target="../embeddings/Microsoft_Excel_Worksheet2482.xlsx"/></Relationships>
</file>

<file path=ppt/charts/_rels/chart2484.xml.rels><?xml version='1.0' encoding='UTF-8' standalone='yes'?>
<Relationships xmlns="http://schemas.openxmlformats.org/package/2006/relationships"><Relationship Id="rId1" Type="http://schemas.openxmlformats.org/officeDocument/2006/relationships/package" Target="../embeddings/Microsoft_Excel_Worksheet2483.xlsx"/></Relationships>
</file>

<file path=ppt/charts/_rels/chart2485.xml.rels><?xml version='1.0' encoding='UTF-8' standalone='yes'?>
<Relationships xmlns="http://schemas.openxmlformats.org/package/2006/relationships"><Relationship Id="rId1" Type="http://schemas.openxmlformats.org/officeDocument/2006/relationships/package" Target="../embeddings/Microsoft_Excel_Worksheet2484.xlsx"/></Relationships>
</file>

<file path=ppt/charts/_rels/chart2486.xml.rels><?xml version='1.0' encoding='UTF-8' standalone='yes'?>
<Relationships xmlns="http://schemas.openxmlformats.org/package/2006/relationships"><Relationship Id="rId1" Type="http://schemas.openxmlformats.org/officeDocument/2006/relationships/package" Target="../embeddings/Microsoft_Excel_Worksheet2485.xlsx"/></Relationships>
</file>

<file path=ppt/charts/_rels/chart2497.xml.rels><?xml version='1.0' encoding='UTF-8' standalone='yes'?>
<Relationships xmlns="http://schemas.openxmlformats.org/package/2006/relationships"><Relationship Id="rId1" Type="http://schemas.openxmlformats.org/officeDocument/2006/relationships/package" Target="../embeddings/Microsoft_Excel_Worksheet2496.xlsx"/></Relationships>
</file>

<file path=ppt/charts/_rels/chart2498.xml.rels><?xml version='1.0' encoding='UTF-8' standalone='yes'?>
<Relationships xmlns="http://schemas.openxmlformats.org/package/2006/relationships"><Relationship Id="rId1" Type="http://schemas.openxmlformats.org/officeDocument/2006/relationships/package" Target="../embeddings/Microsoft_Excel_Worksheet2497.xlsx"/></Relationships>
</file>

<file path=ppt/charts/_rels/chart2499.xml.rels><?xml version='1.0' encoding='UTF-8' standalone='yes'?>
<Relationships xmlns="http://schemas.openxmlformats.org/package/2006/relationships"><Relationship Id="rId1" Type="http://schemas.openxmlformats.org/officeDocument/2006/relationships/package" Target="../embeddings/Microsoft_Excel_Worksheet2498.xlsx"/></Relationships>
</file>

<file path=ppt/charts/_rels/chart2500.xml.rels><?xml version='1.0' encoding='UTF-8' standalone='yes'?>
<Relationships xmlns="http://schemas.openxmlformats.org/package/2006/relationships"><Relationship Id="rId1" Type="http://schemas.openxmlformats.org/officeDocument/2006/relationships/package" Target="../embeddings/Microsoft_Excel_Worksheet2499.xlsx"/></Relationships>
</file>

<file path=ppt/charts/_rels/chart2511.xml.rels><?xml version='1.0' encoding='UTF-8' standalone='yes'?>
<Relationships xmlns="http://schemas.openxmlformats.org/package/2006/relationships"><Relationship Id="rId1" Type="http://schemas.openxmlformats.org/officeDocument/2006/relationships/package" Target="../embeddings/Microsoft_Excel_Worksheet2510.xlsx"/></Relationships>
</file>

<file path=ppt/charts/_rels/chart2512.xml.rels><?xml version='1.0' encoding='UTF-8' standalone='yes'?>
<Relationships xmlns="http://schemas.openxmlformats.org/package/2006/relationships"><Relationship Id="rId1" Type="http://schemas.openxmlformats.org/officeDocument/2006/relationships/package" Target="../embeddings/Microsoft_Excel_Worksheet2511.xlsx"/></Relationships>
</file>

<file path=ppt/charts/_rels/chart2513.xml.rels><?xml version='1.0' encoding='UTF-8' standalone='yes'?>
<Relationships xmlns="http://schemas.openxmlformats.org/package/2006/relationships"><Relationship Id="rId1" Type="http://schemas.openxmlformats.org/officeDocument/2006/relationships/package" Target="../embeddings/Microsoft_Excel_Worksheet2512.xlsx"/></Relationships>
</file>

<file path=ppt/charts/_rels/chart2514.xml.rels><?xml version='1.0' encoding='UTF-8' standalone='yes'?>
<Relationships xmlns="http://schemas.openxmlformats.org/package/2006/relationships"><Relationship Id="rId1" Type="http://schemas.openxmlformats.org/officeDocument/2006/relationships/package" Target="../embeddings/Microsoft_Excel_Worksheet2513.xlsx"/></Relationships>
</file>

<file path=ppt/charts/_rels/chart2527.xml.rels><?xml version='1.0' encoding='UTF-8' standalone='yes'?>
<Relationships xmlns="http://schemas.openxmlformats.org/package/2006/relationships"><Relationship Id="rId1" Type="http://schemas.openxmlformats.org/officeDocument/2006/relationships/package" Target="../embeddings/Microsoft_Excel_Worksheet2526.xlsx"/></Relationships>
</file>

<file path=ppt/charts/_rels/chart2528.xml.rels><?xml version='1.0' encoding='UTF-8' standalone='yes'?>
<Relationships xmlns="http://schemas.openxmlformats.org/package/2006/relationships"><Relationship Id="rId1" Type="http://schemas.openxmlformats.org/officeDocument/2006/relationships/package" Target="../embeddings/Microsoft_Excel_Worksheet2527.xlsx"/></Relationships>
</file>

<file path=ppt/charts/_rels/chart2529.xml.rels><?xml version='1.0' encoding='UTF-8' standalone='yes'?>
<Relationships xmlns="http://schemas.openxmlformats.org/package/2006/relationships"><Relationship Id="rId1" Type="http://schemas.openxmlformats.org/officeDocument/2006/relationships/package" Target="../embeddings/Microsoft_Excel_Worksheet2528.xlsx"/></Relationships>
</file>

<file path=ppt/charts/_rels/chart2530.xml.rels><?xml version='1.0' encoding='UTF-8' standalone='yes'?>
<Relationships xmlns="http://schemas.openxmlformats.org/package/2006/relationships"><Relationship Id="rId1" Type="http://schemas.openxmlformats.org/officeDocument/2006/relationships/package" Target="../embeddings/Microsoft_Excel_Worksheet2529.xlsx"/></Relationships>
</file>

<file path=ppt/charts/_rels/chart2541.xml.rels><?xml version='1.0' encoding='UTF-8' standalone='yes'?>
<Relationships xmlns="http://schemas.openxmlformats.org/package/2006/relationships"><Relationship Id="rId1" Type="http://schemas.openxmlformats.org/officeDocument/2006/relationships/package" Target="../embeddings/Microsoft_Excel_Worksheet2540.xlsx"/></Relationships>
</file>

<file path=ppt/charts/_rels/chart2542.xml.rels><?xml version='1.0' encoding='UTF-8' standalone='yes'?>
<Relationships xmlns="http://schemas.openxmlformats.org/package/2006/relationships"><Relationship Id="rId1" Type="http://schemas.openxmlformats.org/officeDocument/2006/relationships/package" Target="../embeddings/Microsoft_Excel_Worksheet2541.xlsx"/></Relationships>
</file>

<file path=ppt/charts/_rels/chart2543.xml.rels><?xml version='1.0' encoding='UTF-8' standalone='yes'?>
<Relationships xmlns="http://schemas.openxmlformats.org/package/2006/relationships"><Relationship Id="rId1" Type="http://schemas.openxmlformats.org/officeDocument/2006/relationships/package" Target="../embeddings/Microsoft_Excel_Worksheet2542.xlsx"/></Relationships>
</file>

<file path=ppt/charts/_rels/chart2544.xml.rels><?xml version='1.0' encoding='UTF-8' standalone='yes'?>
<Relationships xmlns="http://schemas.openxmlformats.org/package/2006/relationships"><Relationship Id="rId1" Type="http://schemas.openxmlformats.org/officeDocument/2006/relationships/package" Target="../embeddings/Microsoft_Excel_Worksheet2543.xlsx"/></Relationships>
</file>

<file path=ppt/charts/_rels/chart2555.xml.rels><?xml version='1.0' encoding='UTF-8' standalone='yes'?>
<Relationships xmlns="http://schemas.openxmlformats.org/package/2006/relationships"><Relationship Id="rId1" Type="http://schemas.openxmlformats.org/officeDocument/2006/relationships/package" Target="../embeddings/Microsoft_Excel_Worksheet2554.xlsx"/></Relationships>
</file>

<file path=ppt/charts/_rels/chart2556.xml.rels><?xml version='1.0' encoding='UTF-8' standalone='yes'?>
<Relationships xmlns="http://schemas.openxmlformats.org/package/2006/relationships"><Relationship Id="rId1" Type="http://schemas.openxmlformats.org/officeDocument/2006/relationships/package" Target="../embeddings/Microsoft_Excel_Worksheet2555.xlsx"/></Relationships>
</file>

<file path=ppt/charts/_rels/chart2557.xml.rels><?xml version='1.0' encoding='UTF-8' standalone='yes'?>
<Relationships xmlns="http://schemas.openxmlformats.org/package/2006/relationships"><Relationship Id="rId1" Type="http://schemas.openxmlformats.org/officeDocument/2006/relationships/package" Target="../embeddings/Microsoft_Excel_Worksheet2556.xlsx"/></Relationships>
</file>

<file path=ppt/charts/_rels/chart2558.xml.rels><?xml version='1.0' encoding='UTF-8' standalone='yes'?>
<Relationships xmlns="http://schemas.openxmlformats.org/package/2006/relationships"><Relationship Id="rId1" Type="http://schemas.openxmlformats.org/officeDocument/2006/relationships/package" Target="../embeddings/Microsoft_Excel_Worksheet2557.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85.xml.rels><?xml version='1.0' encoding='UTF-8' standalone='yes'?>
<Relationships xmlns="http://schemas.openxmlformats.org/package/2006/relationships"><Relationship Id="rId1" Type="http://schemas.openxmlformats.org/officeDocument/2006/relationships/package" Target="../embeddings/Microsoft_Excel_Worksheet2584.xlsx"/></Relationships>
</file>

<file path=ppt/charts/_rels/chart2586.xml.rels><?xml version='1.0' encoding='UTF-8' standalone='yes'?>
<Relationships xmlns="http://schemas.openxmlformats.org/package/2006/relationships"><Relationship Id="rId1" Type="http://schemas.openxmlformats.org/officeDocument/2006/relationships/package" Target="../embeddings/Microsoft_Excel_Worksheet2585.xlsx"/></Relationships>
</file>

<file path=ppt/charts/_rels/chart2587.xml.rels><?xml version='1.0' encoding='UTF-8' standalone='yes'?>
<Relationships xmlns="http://schemas.openxmlformats.org/package/2006/relationships"><Relationship Id="rId1" Type="http://schemas.openxmlformats.org/officeDocument/2006/relationships/package" Target="../embeddings/Microsoft_Excel_Worksheet2586.xlsx"/></Relationships>
</file>

<file path=ppt/charts/_rels/chart2588.xml.rels><?xml version='1.0' encoding='UTF-8' standalone='yes'?>
<Relationships xmlns="http://schemas.openxmlformats.org/package/2006/relationships"><Relationship Id="rId1" Type="http://schemas.openxmlformats.org/officeDocument/2006/relationships/package" Target="../embeddings/Microsoft_Excel_Worksheet258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05.xml.rels><?xml version='1.0' encoding='UTF-8' standalone='yes'?>
<Relationships xmlns="http://schemas.openxmlformats.org/package/2006/relationships"><Relationship Id="rId1" Type="http://schemas.openxmlformats.org/officeDocument/2006/relationships/package" Target="../embeddings/Microsoft_Excel_Worksheet2604.xlsx"/></Relationships>
</file>

<file path=ppt/charts/_rels/chart2606.xml.rels><?xml version='1.0' encoding='UTF-8' standalone='yes'?>
<Relationships xmlns="http://schemas.openxmlformats.org/package/2006/relationships"><Relationship Id="rId1" Type="http://schemas.openxmlformats.org/officeDocument/2006/relationships/package" Target="../embeddings/Microsoft_Excel_Worksheet2605.xlsx"/></Relationships>
</file>

<file path=ppt/charts/_rels/chart2607.xml.rels><?xml version='1.0' encoding='UTF-8' standalone='yes'?>
<Relationships xmlns="http://schemas.openxmlformats.org/package/2006/relationships"><Relationship Id="rId1" Type="http://schemas.openxmlformats.org/officeDocument/2006/relationships/package" Target="../embeddings/Microsoft_Excel_Worksheet2606.xlsx"/></Relationships>
</file>

<file path=ppt/charts/_rels/chart2608.xml.rels><?xml version='1.0' encoding='UTF-8' standalone='yes'?>
<Relationships xmlns="http://schemas.openxmlformats.org/package/2006/relationships"><Relationship Id="rId1" Type="http://schemas.openxmlformats.org/officeDocument/2006/relationships/package" Target="../embeddings/Microsoft_Excel_Worksheet2607.xlsx"/></Relationships>
</file>

<file path=ppt/charts/_rels/chart2617.xml.rels><?xml version='1.0' encoding='UTF-8' standalone='yes'?>
<Relationships xmlns="http://schemas.openxmlformats.org/package/2006/relationships"><Relationship Id="rId1" Type="http://schemas.openxmlformats.org/officeDocument/2006/relationships/package" Target="../embeddings/Microsoft_Excel_Worksheet2616.xlsx"/></Relationships>
</file>

<file path=ppt/charts/_rels/chart2618.xml.rels><?xml version='1.0' encoding='UTF-8' standalone='yes'?>
<Relationships xmlns="http://schemas.openxmlformats.org/package/2006/relationships"><Relationship Id="rId1" Type="http://schemas.openxmlformats.org/officeDocument/2006/relationships/package" Target="../embeddings/Microsoft_Excel_Worksheet2617.xlsx"/></Relationships>
</file>

<file path=ppt/charts/_rels/chart2619.xml.rels><?xml version='1.0' encoding='UTF-8' standalone='yes'?>
<Relationships xmlns="http://schemas.openxmlformats.org/package/2006/relationships"><Relationship Id="rId1" Type="http://schemas.openxmlformats.org/officeDocument/2006/relationships/package" Target="../embeddings/Microsoft_Excel_Worksheet2618.xlsx"/></Relationships>
</file>

<file path=ppt/charts/_rels/chart2620.xml.rels><?xml version='1.0' encoding='UTF-8' standalone='yes'?>
<Relationships xmlns="http://schemas.openxmlformats.org/package/2006/relationships"><Relationship Id="rId1" Type="http://schemas.openxmlformats.org/officeDocument/2006/relationships/package" Target="../embeddings/Microsoft_Excel_Worksheet2619.xlsx"/></Relationships>
</file>

<file path=ppt/charts/_rels/chart2631.xml.rels><?xml version='1.0' encoding='UTF-8' standalone='yes'?>
<Relationships xmlns="http://schemas.openxmlformats.org/package/2006/relationships"><Relationship Id="rId1" Type="http://schemas.openxmlformats.org/officeDocument/2006/relationships/package" Target="../embeddings/Microsoft_Excel_Worksheet2630.xlsx"/></Relationships>
</file>

<file path=ppt/charts/_rels/chart2632.xml.rels><?xml version='1.0' encoding='UTF-8' standalone='yes'?>
<Relationships xmlns="http://schemas.openxmlformats.org/package/2006/relationships"><Relationship Id="rId1" Type="http://schemas.openxmlformats.org/officeDocument/2006/relationships/package" Target="../embeddings/Microsoft_Excel_Worksheet2631.xlsx"/></Relationships>
</file>

<file path=ppt/charts/_rels/chart2633.xml.rels><?xml version='1.0' encoding='UTF-8' standalone='yes'?>
<Relationships xmlns="http://schemas.openxmlformats.org/package/2006/relationships"><Relationship Id="rId1" Type="http://schemas.openxmlformats.org/officeDocument/2006/relationships/package" Target="../embeddings/Microsoft_Excel_Worksheet2632.xlsx"/></Relationships>
</file>

<file path=ppt/charts/_rels/chart2634.xml.rels><?xml version='1.0' encoding='UTF-8' standalone='yes'?>
<Relationships xmlns="http://schemas.openxmlformats.org/package/2006/relationships"><Relationship Id="rId1" Type="http://schemas.openxmlformats.org/officeDocument/2006/relationships/package" Target="../embeddings/Microsoft_Excel_Worksheet2633.xlsx"/></Relationships>
</file>

<file path=ppt/charts/_rels/chart2649.xml.rels><?xml version='1.0' encoding='UTF-8' standalone='yes'?>
<Relationships xmlns="http://schemas.openxmlformats.org/package/2006/relationships"><Relationship Id="rId1" Type="http://schemas.openxmlformats.org/officeDocument/2006/relationships/package" Target="../embeddings/Microsoft_Excel_Worksheet2648.xlsx"/></Relationships>
</file>

<file path=ppt/charts/_rels/chart2650.xml.rels><?xml version='1.0' encoding='UTF-8' standalone='yes'?>
<Relationships xmlns="http://schemas.openxmlformats.org/package/2006/relationships"><Relationship Id="rId1" Type="http://schemas.openxmlformats.org/officeDocument/2006/relationships/package" Target="../embeddings/Microsoft_Excel_Worksheet2649.xlsx"/></Relationships>
</file>

<file path=ppt/charts/_rels/chart2661.xml.rels><?xml version='1.0' encoding='UTF-8' standalone='yes'?>
<Relationships xmlns="http://schemas.openxmlformats.org/package/2006/relationships"><Relationship Id="rId1" Type="http://schemas.openxmlformats.org/officeDocument/2006/relationships/package" Target="../embeddings/Microsoft_Excel_Worksheet2660.xlsx"/></Relationships>
</file>

<file path=ppt/charts/_rels/chart2662.xml.rels><?xml version='1.0' encoding='UTF-8' standalone='yes'?>
<Relationships xmlns="http://schemas.openxmlformats.org/package/2006/relationships"><Relationship Id="rId1" Type="http://schemas.openxmlformats.org/officeDocument/2006/relationships/package" Target="../embeddings/Microsoft_Excel_Worksheet2661.xlsx"/></Relationships>
</file>

<file path=ppt/charts/_rels/chart2663.xml.rels><?xml version='1.0' encoding='UTF-8' standalone='yes'?>
<Relationships xmlns="http://schemas.openxmlformats.org/package/2006/relationships"><Relationship Id="rId1" Type="http://schemas.openxmlformats.org/officeDocument/2006/relationships/package" Target="../embeddings/Microsoft_Excel_Worksheet2662.xlsx"/></Relationships>
</file>

<file path=ppt/charts/_rels/chart2664.xml.rels><?xml version='1.0' encoding='UTF-8' standalone='yes'?>
<Relationships xmlns="http://schemas.openxmlformats.org/package/2006/relationships"><Relationship Id="rId1" Type="http://schemas.openxmlformats.org/officeDocument/2006/relationships/package" Target="../embeddings/Microsoft_Excel_Worksheet2663.xlsx"/></Relationships>
</file>

<file path=ppt/charts/_rels/chart2665.xml.rels><?xml version='1.0' encoding='UTF-8' standalone='yes'?>
<Relationships xmlns="http://schemas.openxmlformats.org/package/2006/relationships"><Relationship Id="rId1" Type="http://schemas.openxmlformats.org/officeDocument/2006/relationships/package" Target="../embeddings/Microsoft_Excel_Worksheet2664.xlsx"/></Relationships>
</file>

<file path=ppt/charts/_rels/chart2666.xml.rels><?xml version='1.0' encoding='UTF-8' standalone='yes'?>
<Relationships xmlns="http://schemas.openxmlformats.org/package/2006/relationships"><Relationship Id="rId1" Type="http://schemas.openxmlformats.org/officeDocument/2006/relationships/package" Target="../embeddings/Microsoft_Excel_Worksheet2665.xlsx"/></Relationships>
</file>

<file path=ppt/charts/_rels/chart2675.xml.rels><?xml version='1.0' encoding='UTF-8' standalone='yes'?>
<Relationships xmlns="http://schemas.openxmlformats.org/package/2006/relationships"><Relationship Id="rId1" Type="http://schemas.openxmlformats.org/officeDocument/2006/relationships/package" Target="../embeddings/Microsoft_Excel_Worksheet2674.xlsx"/></Relationships>
</file>

<file path=ppt/charts/_rels/chart2676.xml.rels><?xml version='1.0' encoding='UTF-8' standalone='yes'?>
<Relationships xmlns="http://schemas.openxmlformats.org/package/2006/relationships"><Relationship Id="rId1" Type="http://schemas.openxmlformats.org/officeDocument/2006/relationships/package" Target="../embeddings/Microsoft_Excel_Worksheet2675.xlsx"/></Relationships>
</file>

<file path=ppt/charts/_rels/chart2677.xml.rels><?xml version='1.0' encoding='UTF-8' standalone='yes'?>
<Relationships xmlns="http://schemas.openxmlformats.org/package/2006/relationships"><Relationship Id="rId1" Type="http://schemas.openxmlformats.org/officeDocument/2006/relationships/package" Target="../embeddings/Microsoft_Excel_Worksheet2676.xlsx"/></Relationships>
</file>

<file path=ppt/charts/_rels/chart2678.xml.rels><?xml version='1.0' encoding='UTF-8' standalone='yes'?>
<Relationships xmlns="http://schemas.openxmlformats.org/package/2006/relationships"><Relationship Id="rId1" Type="http://schemas.openxmlformats.org/officeDocument/2006/relationships/package" Target="../embeddings/Microsoft_Excel_Worksheet2677.xlsx"/></Relationships>
</file>

<file path=ppt/charts/_rels/chart2691.xml.rels><?xml version='1.0' encoding='UTF-8' standalone='yes'?>
<Relationships xmlns="http://schemas.openxmlformats.org/package/2006/relationships"><Relationship Id="rId1" Type="http://schemas.openxmlformats.org/officeDocument/2006/relationships/package" Target="../embeddings/Microsoft_Excel_Worksheet2690.xlsx"/></Relationships>
</file>

<file path=ppt/charts/_rels/chart2692.xml.rels><?xml version='1.0' encoding='UTF-8' standalone='yes'?>
<Relationships xmlns="http://schemas.openxmlformats.org/package/2006/relationships"><Relationship Id="rId1" Type="http://schemas.openxmlformats.org/officeDocument/2006/relationships/package" Target="../embeddings/Microsoft_Excel_Worksheet2691.xlsx"/></Relationships>
</file>

<file path=ppt/charts/_rels/chart2705.xml.rels><?xml version='1.0' encoding='UTF-8' standalone='yes'?>
<Relationships xmlns="http://schemas.openxmlformats.org/package/2006/relationships"><Relationship Id="rId1" Type="http://schemas.openxmlformats.org/officeDocument/2006/relationships/package" Target="../embeddings/Microsoft_Excel_Worksheet2704.xlsx"/></Relationships>
</file>

<file path=ppt/charts/_rels/chart2706.xml.rels><?xml version='1.0' encoding='UTF-8' standalone='yes'?>
<Relationships xmlns="http://schemas.openxmlformats.org/package/2006/relationships"><Relationship Id="rId1" Type="http://schemas.openxmlformats.org/officeDocument/2006/relationships/package" Target="../embeddings/Microsoft_Excel_Worksheet2705.xlsx"/></Relationships>
</file>

<file path=ppt/charts/_rels/chart2707.xml.rels><?xml version='1.0' encoding='UTF-8' standalone='yes'?>
<Relationships xmlns="http://schemas.openxmlformats.org/package/2006/relationships"><Relationship Id="rId1" Type="http://schemas.openxmlformats.org/officeDocument/2006/relationships/package" Target="../embeddings/Microsoft_Excel_Worksheet2706.xlsx"/></Relationships>
</file>

<file path=ppt/charts/_rels/chart2708.xml.rels><?xml version='1.0' encoding='UTF-8' standalone='yes'?>
<Relationships xmlns="http://schemas.openxmlformats.org/package/2006/relationships"><Relationship Id="rId1" Type="http://schemas.openxmlformats.org/officeDocument/2006/relationships/package" Target="../embeddings/Microsoft_Excel_Worksheet2707.xlsx"/></Relationships>
</file>

<file path=ppt/charts/_rels/chart2709.xml.rels><?xml version='1.0' encoding='UTF-8' standalone='yes'?>
<Relationships xmlns="http://schemas.openxmlformats.org/package/2006/relationships"><Relationship Id="rId1" Type="http://schemas.openxmlformats.org/officeDocument/2006/relationships/package" Target="../embeddings/Microsoft_Excel_Worksheet2708.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10.xml.rels><?xml version='1.0' encoding='UTF-8' standalone='yes'?>
<Relationships xmlns="http://schemas.openxmlformats.org/package/2006/relationships"><Relationship Id="rId1" Type="http://schemas.openxmlformats.org/officeDocument/2006/relationships/package" Target="../embeddings/Microsoft_Excel_Worksheet2709.xlsx"/></Relationships>
</file>

<file path=ppt/charts/_rels/chart2719.xml.rels><?xml version='1.0' encoding='UTF-8' standalone='yes'?>
<Relationships xmlns="http://schemas.openxmlformats.org/package/2006/relationships"><Relationship Id="rId1" Type="http://schemas.openxmlformats.org/officeDocument/2006/relationships/package" Target="../embeddings/Microsoft_Excel_Worksheet2718.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20.xml.rels><?xml version='1.0' encoding='UTF-8' standalone='yes'?>
<Relationships xmlns="http://schemas.openxmlformats.org/package/2006/relationships"><Relationship Id="rId1" Type="http://schemas.openxmlformats.org/officeDocument/2006/relationships/package" Target="../embeddings/Microsoft_Excel_Worksheet2719.xlsx"/></Relationships>
</file>

<file path=ppt/charts/_rels/chart2721.xml.rels><?xml version='1.0' encoding='UTF-8' standalone='yes'?>
<Relationships xmlns="http://schemas.openxmlformats.org/package/2006/relationships"><Relationship Id="rId1" Type="http://schemas.openxmlformats.org/officeDocument/2006/relationships/package" Target="../embeddings/Microsoft_Excel_Worksheet2720.xlsx"/></Relationships>
</file>

<file path=ppt/charts/_rels/chart2722.xml.rels><?xml version='1.0' encoding='UTF-8' standalone='yes'?>
<Relationships xmlns="http://schemas.openxmlformats.org/package/2006/relationships"><Relationship Id="rId1" Type="http://schemas.openxmlformats.org/officeDocument/2006/relationships/package" Target="../embeddings/Microsoft_Excel_Worksheet272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33.xml.rels><?xml version='1.0' encoding='UTF-8' standalone='yes'?>
<Relationships xmlns="http://schemas.openxmlformats.org/package/2006/relationships"><Relationship Id="rId1" Type="http://schemas.openxmlformats.org/officeDocument/2006/relationships/package" Target="../embeddings/Microsoft_Excel_Worksheet2732.xlsx"/></Relationships>
</file>

<file path=ppt/charts/_rels/chart2734.xml.rels><?xml version='1.0' encoding='UTF-8' standalone='yes'?>
<Relationships xmlns="http://schemas.openxmlformats.org/package/2006/relationships"><Relationship Id="rId1" Type="http://schemas.openxmlformats.org/officeDocument/2006/relationships/package" Target="../embeddings/Microsoft_Excel_Worksheet2733.xlsx"/></Relationships>
</file>

<file path=ppt/charts/_rels/chart2735.xml.rels><?xml version='1.0' encoding='UTF-8' standalone='yes'?>
<Relationships xmlns="http://schemas.openxmlformats.org/package/2006/relationships"><Relationship Id="rId1" Type="http://schemas.openxmlformats.org/officeDocument/2006/relationships/package" Target="../embeddings/Microsoft_Excel_Worksheet2734.xlsx"/></Relationships>
</file>

<file path=ppt/charts/_rels/chart2736.xml.rels><?xml version='1.0' encoding='UTF-8' standalone='yes'?>
<Relationships xmlns="http://schemas.openxmlformats.org/package/2006/relationships"><Relationship Id="rId1" Type="http://schemas.openxmlformats.org/officeDocument/2006/relationships/package" Target="../embeddings/Microsoft_Excel_Worksheet2735.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63.xml.rels><?xml version='1.0' encoding='UTF-8' standalone='yes'?>
<Relationships xmlns="http://schemas.openxmlformats.org/package/2006/relationships"><Relationship Id="rId1" Type="http://schemas.openxmlformats.org/officeDocument/2006/relationships/package" Target="../embeddings/Microsoft_Excel_Worksheet2762.xlsx"/></Relationships>
</file>

<file path=ppt/charts/_rels/chart2764.xml.rels><?xml version='1.0' encoding='UTF-8' standalone='yes'?>
<Relationships xmlns="http://schemas.openxmlformats.org/package/2006/relationships"><Relationship Id="rId1" Type="http://schemas.openxmlformats.org/officeDocument/2006/relationships/package" Target="../embeddings/Microsoft_Excel_Worksheet2763.xlsx"/></Relationships>
</file>

<file path=ppt/charts/_rels/chart2765.xml.rels><?xml version='1.0' encoding='UTF-8' standalone='yes'?>
<Relationships xmlns="http://schemas.openxmlformats.org/package/2006/relationships"><Relationship Id="rId1" Type="http://schemas.openxmlformats.org/officeDocument/2006/relationships/package" Target="../embeddings/Microsoft_Excel_Worksheet2764.xlsx"/></Relationships>
</file>

<file path=ppt/charts/_rels/chart2766.xml.rels><?xml version='1.0' encoding='UTF-8' standalone='yes'?>
<Relationships xmlns="http://schemas.openxmlformats.org/package/2006/relationships"><Relationship Id="rId1" Type="http://schemas.openxmlformats.org/officeDocument/2006/relationships/package" Target="../embeddings/Microsoft_Excel_Worksheet2765.xlsx"/></Relationships>
</file>

<file path=ppt/charts/_rels/chart2777.xml.rels><?xml version='1.0' encoding='UTF-8' standalone='yes'?>
<Relationships xmlns="http://schemas.openxmlformats.org/package/2006/relationships"><Relationship Id="rId1" Type="http://schemas.openxmlformats.org/officeDocument/2006/relationships/package" Target="../embeddings/Microsoft_Excel_Worksheet2776.xlsx"/></Relationships>
</file>

<file path=ppt/charts/_rels/chart2778.xml.rels><?xml version='1.0' encoding='UTF-8' standalone='yes'?>
<Relationships xmlns="http://schemas.openxmlformats.org/package/2006/relationships"><Relationship Id="rId1" Type="http://schemas.openxmlformats.org/officeDocument/2006/relationships/package" Target="../embeddings/Microsoft_Excel_Worksheet2777.xlsx"/></Relationships>
</file>

<file path=ppt/charts/_rels/chart2779.xml.rels><?xml version='1.0' encoding='UTF-8' standalone='yes'?>
<Relationships xmlns="http://schemas.openxmlformats.org/package/2006/relationships"><Relationship Id="rId1" Type="http://schemas.openxmlformats.org/officeDocument/2006/relationships/package" Target="../embeddings/Microsoft_Excel_Worksheet2778.xlsx"/></Relationships>
</file>

<file path=ppt/charts/_rels/chart2780.xml.rels><?xml version='1.0' encoding='UTF-8' standalone='yes'?>
<Relationships xmlns="http://schemas.openxmlformats.org/package/2006/relationships"><Relationship Id="rId1" Type="http://schemas.openxmlformats.org/officeDocument/2006/relationships/package" Target="../embeddings/Microsoft_Excel_Worksheet2779.xlsx"/></Relationships>
</file>

<file path=ppt/charts/_rels/chart2795.xml.rels><?xml version='1.0' encoding='UTF-8' standalone='yes'?>
<Relationships xmlns="http://schemas.openxmlformats.org/package/2006/relationships"><Relationship Id="rId1" Type="http://schemas.openxmlformats.org/officeDocument/2006/relationships/package" Target="../embeddings/Microsoft_Excel_Worksheet2794.xlsx"/></Relationships>
</file>

<file path=ppt/charts/_rels/chart2796.xml.rels><?xml version='1.0' encoding='UTF-8' standalone='yes'?>
<Relationships xmlns="http://schemas.openxmlformats.org/package/2006/relationships"><Relationship Id="rId1" Type="http://schemas.openxmlformats.org/officeDocument/2006/relationships/package" Target="../embeddings/Microsoft_Excel_Worksheet2795.xlsx"/></Relationships>
</file>

<file path=ppt/charts/_rels/chart2797.xml.rels><?xml version='1.0' encoding='UTF-8' standalone='yes'?>
<Relationships xmlns="http://schemas.openxmlformats.org/package/2006/relationships"><Relationship Id="rId1" Type="http://schemas.openxmlformats.org/officeDocument/2006/relationships/package" Target="../embeddings/Microsoft_Excel_Worksheet2796.xlsx"/></Relationships>
</file>

<file path=ppt/charts/_rels/chart2798.xml.rels><?xml version='1.0' encoding='UTF-8' standalone='yes'?>
<Relationships xmlns="http://schemas.openxmlformats.org/package/2006/relationships"><Relationship Id="rId1" Type="http://schemas.openxmlformats.org/officeDocument/2006/relationships/package" Target="../embeddings/Microsoft_Excel_Worksheet2797.xlsx"/></Relationships>
</file>

<file path=ppt/charts/_rels/chart2799.xml.rels><?xml version='1.0' encoding='UTF-8' standalone='yes'?>
<Relationships xmlns="http://schemas.openxmlformats.org/package/2006/relationships"><Relationship Id="rId1" Type="http://schemas.openxmlformats.org/officeDocument/2006/relationships/package" Target="../embeddings/Microsoft_Excel_Worksheet2798.xlsx"/></Relationships>
</file>

<file path=ppt/charts/_rels/chart2800.xml.rels><?xml version='1.0' encoding='UTF-8' standalone='yes'?>
<Relationships xmlns="http://schemas.openxmlformats.org/package/2006/relationships"><Relationship Id="rId1" Type="http://schemas.openxmlformats.org/officeDocument/2006/relationships/package" Target="../embeddings/Microsoft_Excel_Worksheet2799.xlsx"/></Relationships>
</file>

<file path=ppt/charts/_rels/chart2811.xml.rels><?xml version='1.0' encoding='UTF-8' standalone='yes'?>
<Relationships xmlns="http://schemas.openxmlformats.org/package/2006/relationships"><Relationship Id="rId1" Type="http://schemas.openxmlformats.org/officeDocument/2006/relationships/package" Target="../embeddings/Microsoft_Excel_Worksheet2810.xlsx"/></Relationships>
</file>

<file path=ppt/charts/_rels/chart2812.xml.rels><?xml version='1.0' encoding='UTF-8' standalone='yes'?>
<Relationships xmlns="http://schemas.openxmlformats.org/package/2006/relationships"><Relationship Id="rId1" Type="http://schemas.openxmlformats.org/officeDocument/2006/relationships/package" Target="../embeddings/Microsoft_Excel_Worksheet2811.xlsx"/></Relationships>
</file>

<file path=ppt/charts/_rels/chart2827.xml.rels><?xml version='1.0' encoding='UTF-8' standalone='yes'?>
<Relationships xmlns="http://schemas.openxmlformats.org/package/2006/relationships"><Relationship Id="rId1" Type="http://schemas.openxmlformats.org/officeDocument/2006/relationships/package" Target="../embeddings/Microsoft_Excel_Worksheet2826.xlsx"/></Relationships>
</file>

<file path=ppt/charts/_rels/chart2828.xml.rels><?xml version='1.0' encoding='UTF-8' standalone='yes'?>
<Relationships xmlns="http://schemas.openxmlformats.org/package/2006/relationships"><Relationship Id="rId1" Type="http://schemas.openxmlformats.org/officeDocument/2006/relationships/package" Target="../embeddings/Microsoft_Excel_Worksheet2827.xlsx"/></Relationships>
</file>

<file path=ppt/charts/_rels/chart2829.xml.rels><?xml version='1.0' encoding='UTF-8' standalone='yes'?>
<Relationships xmlns="http://schemas.openxmlformats.org/package/2006/relationships"><Relationship Id="rId1" Type="http://schemas.openxmlformats.org/officeDocument/2006/relationships/package" Target="../embeddings/Microsoft_Excel_Worksheet2828.xlsx"/></Relationships>
</file>

<file path=ppt/charts/_rels/chart2830.xml.rels><?xml version='1.0' encoding='UTF-8' standalone='yes'?>
<Relationships xmlns="http://schemas.openxmlformats.org/package/2006/relationships"><Relationship Id="rId1" Type="http://schemas.openxmlformats.org/officeDocument/2006/relationships/package" Target="../embeddings/Microsoft_Excel_Worksheet2829.xlsx"/></Relationships>
</file>

<file path=ppt/charts/_rels/chart2841.xml.rels><?xml version='1.0' encoding='UTF-8' standalone='yes'?>
<Relationships xmlns="http://schemas.openxmlformats.org/package/2006/relationships"><Relationship Id="rId1" Type="http://schemas.openxmlformats.org/officeDocument/2006/relationships/package" Target="../embeddings/Microsoft_Excel_Worksheet2840.xlsx"/></Relationships>
</file>

<file path=ppt/charts/_rels/chart2842.xml.rels><?xml version='1.0' encoding='UTF-8' standalone='yes'?>
<Relationships xmlns="http://schemas.openxmlformats.org/package/2006/relationships"><Relationship Id="rId1" Type="http://schemas.openxmlformats.org/officeDocument/2006/relationships/package" Target="../embeddings/Microsoft_Excel_Worksheet2841.xlsx"/></Relationships>
</file>

<file path=ppt/charts/_rels/chart2843.xml.rels><?xml version='1.0' encoding='UTF-8' standalone='yes'?>
<Relationships xmlns="http://schemas.openxmlformats.org/package/2006/relationships"><Relationship Id="rId1" Type="http://schemas.openxmlformats.org/officeDocument/2006/relationships/package" Target="../embeddings/Microsoft_Excel_Worksheet2842.xlsx"/></Relationships>
</file>

<file path=ppt/charts/_rels/chart2844.xml.rels><?xml version='1.0' encoding='UTF-8' standalone='yes'?>
<Relationships xmlns="http://schemas.openxmlformats.org/package/2006/relationships"><Relationship Id="rId1" Type="http://schemas.openxmlformats.org/officeDocument/2006/relationships/package" Target="../embeddings/Microsoft_Excel_Worksheet2843.xlsx"/></Relationships>
</file>

<file path=ppt/charts/_rels/chart2853.xml.rels><?xml version='1.0' encoding='UTF-8' standalone='yes'?>
<Relationships xmlns="http://schemas.openxmlformats.org/package/2006/relationships"><Relationship Id="rId1" Type="http://schemas.openxmlformats.org/officeDocument/2006/relationships/package" Target="../embeddings/Microsoft_Excel_Worksheet2852.xlsx"/></Relationships>
</file>

<file path=ppt/charts/_rels/chart2854.xml.rels><?xml version='1.0' encoding='UTF-8' standalone='yes'?>
<Relationships xmlns="http://schemas.openxmlformats.org/package/2006/relationships"><Relationship Id="rId1" Type="http://schemas.openxmlformats.org/officeDocument/2006/relationships/package" Target="../embeddings/Microsoft_Excel_Worksheet2853.xlsx"/></Relationships>
</file>

<file path=ppt/charts/_rels/chart2855.xml.rels><?xml version='1.0' encoding='UTF-8' standalone='yes'?>
<Relationships xmlns="http://schemas.openxmlformats.org/package/2006/relationships"><Relationship Id="rId1" Type="http://schemas.openxmlformats.org/officeDocument/2006/relationships/package" Target="../embeddings/Microsoft_Excel_Worksheet2854.xlsx"/></Relationships>
</file>

<file path=ppt/charts/_rels/chart2856.xml.rels><?xml version='1.0' encoding='UTF-8' standalone='yes'?>
<Relationships xmlns="http://schemas.openxmlformats.org/package/2006/relationships"><Relationship Id="rId1" Type="http://schemas.openxmlformats.org/officeDocument/2006/relationships/package" Target="../embeddings/Microsoft_Excel_Worksheet285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85.xml.rels><?xml version='1.0' encoding='UTF-8' standalone='yes'?>
<Relationships xmlns="http://schemas.openxmlformats.org/package/2006/relationships"><Relationship Id="rId1" Type="http://schemas.openxmlformats.org/officeDocument/2006/relationships/package" Target="../embeddings/Microsoft_Excel_Worksheet2884.xlsx"/></Relationships>
</file>

<file path=ppt/charts/_rels/chart2886.xml.rels><?xml version='1.0' encoding='UTF-8' standalone='yes'?>
<Relationships xmlns="http://schemas.openxmlformats.org/package/2006/relationships"><Relationship Id="rId1" Type="http://schemas.openxmlformats.org/officeDocument/2006/relationships/package" Target="../embeddings/Microsoft_Excel_Worksheet2885.xlsx"/></Relationships>
</file>

<file path=ppt/charts/_rels/chart2887.xml.rels><?xml version='1.0' encoding='UTF-8' standalone='yes'?>
<Relationships xmlns="http://schemas.openxmlformats.org/package/2006/relationships"><Relationship Id="rId1" Type="http://schemas.openxmlformats.org/officeDocument/2006/relationships/package" Target="../embeddings/Microsoft_Excel_Worksheet2886.xlsx"/></Relationships>
</file>

<file path=ppt/charts/_rels/chart2888.xml.rels><?xml version='1.0' encoding='UTF-8' standalone='yes'?>
<Relationships xmlns="http://schemas.openxmlformats.org/package/2006/relationships"><Relationship Id="rId1" Type="http://schemas.openxmlformats.org/officeDocument/2006/relationships/package" Target="../embeddings/Microsoft_Excel_Worksheet28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897.xml.rels><?xml version='1.0' encoding='UTF-8' standalone='yes'?>
<Relationships xmlns="http://schemas.openxmlformats.org/package/2006/relationships"><Relationship Id="rId1" Type="http://schemas.openxmlformats.org/officeDocument/2006/relationships/package" Target="../embeddings/Microsoft_Excel_Worksheet2896.xlsx"/></Relationships>
</file>

<file path=ppt/charts/_rels/chart2898.xml.rels><?xml version='1.0' encoding='UTF-8' standalone='yes'?>
<Relationships xmlns="http://schemas.openxmlformats.org/package/2006/relationships"><Relationship Id="rId1" Type="http://schemas.openxmlformats.org/officeDocument/2006/relationships/package" Target="../embeddings/Microsoft_Excel_Worksheet2897.xlsx"/></Relationships>
</file>

<file path=ppt/charts/_rels/chart2899.xml.rels><?xml version='1.0' encoding='UTF-8' standalone='yes'?>
<Relationships xmlns="http://schemas.openxmlformats.org/package/2006/relationships"><Relationship Id="rId1" Type="http://schemas.openxmlformats.org/officeDocument/2006/relationships/package" Target="../embeddings/Microsoft_Excel_Worksheet289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00.xml.rels><?xml version='1.0' encoding='UTF-8' standalone='yes'?>
<Relationships xmlns="http://schemas.openxmlformats.org/package/2006/relationships"><Relationship Id="rId1" Type="http://schemas.openxmlformats.org/officeDocument/2006/relationships/package" Target="../embeddings/Microsoft_Excel_Worksheet2899.xlsx"/></Relationships>
</file>

<file path=ppt/charts/_rels/chart2911.xml.rels><?xml version='1.0' encoding='UTF-8' standalone='yes'?>
<Relationships xmlns="http://schemas.openxmlformats.org/package/2006/relationships"><Relationship Id="rId1" Type="http://schemas.openxmlformats.org/officeDocument/2006/relationships/package" Target="../embeddings/Microsoft_Excel_Worksheet2910.xlsx"/></Relationships>
</file>

<file path=ppt/charts/_rels/chart2912.xml.rels><?xml version='1.0' encoding='UTF-8' standalone='yes'?>
<Relationships xmlns="http://schemas.openxmlformats.org/package/2006/relationships"><Relationship Id="rId1" Type="http://schemas.openxmlformats.org/officeDocument/2006/relationships/package" Target="../embeddings/Microsoft_Excel_Worksheet2911.xlsx"/></Relationships>
</file>

<file path=ppt/charts/_rels/chart2913.xml.rels><?xml version='1.0' encoding='UTF-8' standalone='yes'?>
<Relationships xmlns="http://schemas.openxmlformats.org/package/2006/relationships"><Relationship Id="rId1" Type="http://schemas.openxmlformats.org/officeDocument/2006/relationships/package" Target="../embeddings/Microsoft_Excel_Worksheet2912.xlsx"/></Relationships>
</file>

<file path=ppt/charts/_rels/chart2914.xml.rels><?xml version='1.0' encoding='UTF-8' standalone='yes'?>
<Relationships xmlns="http://schemas.openxmlformats.org/package/2006/relationships"><Relationship Id="rId1" Type="http://schemas.openxmlformats.org/officeDocument/2006/relationships/package" Target="../embeddings/Microsoft_Excel_Worksheet2913.xlsx"/></Relationships>
</file>

<file path=ppt/charts/_rels/chart2929.xml.rels><?xml version='1.0' encoding='UTF-8' standalone='yes'?>
<Relationships xmlns="http://schemas.openxmlformats.org/package/2006/relationships"><Relationship Id="rId1" Type="http://schemas.openxmlformats.org/officeDocument/2006/relationships/package" Target="../embeddings/Microsoft_Excel_Worksheet2928.xlsx"/></Relationships>
</file>

<file path=ppt/charts/_rels/chart2930.xml.rels><?xml version='1.0' encoding='UTF-8' standalone='yes'?>
<Relationships xmlns="http://schemas.openxmlformats.org/package/2006/relationships"><Relationship Id="rId1" Type="http://schemas.openxmlformats.org/officeDocument/2006/relationships/package" Target="../embeddings/Microsoft_Excel_Worksheet2929.xlsx"/></Relationships>
</file>

<file path=ppt/charts/_rels/chart2941.xml.rels><?xml version='1.0' encoding='UTF-8' standalone='yes'?>
<Relationships xmlns="http://schemas.openxmlformats.org/package/2006/relationships"><Relationship Id="rId1" Type="http://schemas.openxmlformats.org/officeDocument/2006/relationships/package" Target="../embeddings/Microsoft_Excel_Worksheet2940.xlsx"/></Relationships>
</file>

<file path=ppt/charts/_rels/chart2942.xml.rels><?xml version='1.0' encoding='UTF-8' standalone='yes'?>
<Relationships xmlns="http://schemas.openxmlformats.org/package/2006/relationships"><Relationship Id="rId1" Type="http://schemas.openxmlformats.org/officeDocument/2006/relationships/package" Target="../embeddings/Microsoft_Excel_Worksheet2941.xlsx"/></Relationships>
</file>

<file path=ppt/charts/_rels/chart2943.xml.rels><?xml version='1.0' encoding='UTF-8' standalone='yes'?>
<Relationships xmlns="http://schemas.openxmlformats.org/package/2006/relationships"><Relationship Id="rId1" Type="http://schemas.openxmlformats.org/officeDocument/2006/relationships/package" Target="../embeddings/Microsoft_Excel_Worksheet2942.xlsx"/></Relationships>
</file>

<file path=ppt/charts/_rels/chart2944.xml.rels><?xml version='1.0' encoding='UTF-8' standalone='yes'?>
<Relationships xmlns="http://schemas.openxmlformats.org/package/2006/relationships"><Relationship Id="rId1" Type="http://schemas.openxmlformats.org/officeDocument/2006/relationships/package" Target="../embeddings/Microsoft_Excel_Worksheet2943.xlsx"/></Relationships>
</file>

<file path=ppt/charts/_rels/chart2945.xml.rels><?xml version='1.0' encoding='UTF-8' standalone='yes'?>
<Relationships xmlns="http://schemas.openxmlformats.org/package/2006/relationships"><Relationship Id="rId1" Type="http://schemas.openxmlformats.org/officeDocument/2006/relationships/package" Target="../embeddings/Microsoft_Excel_Worksheet2944.xlsx"/></Relationships>
</file>

<file path=ppt/charts/_rels/chart2946.xml.rels><?xml version='1.0' encoding='UTF-8' standalone='yes'?>
<Relationships xmlns="http://schemas.openxmlformats.org/package/2006/relationships"><Relationship Id="rId1" Type="http://schemas.openxmlformats.org/officeDocument/2006/relationships/package" Target="../embeddings/Microsoft_Excel_Worksheet2945.xlsx"/></Relationships>
</file>

<file path=ppt/charts/_rels/chart2955.xml.rels><?xml version='1.0' encoding='UTF-8' standalone='yes'?>
<Relationships xmlns="http://schemas.openxmlformats.org/package/2006/relationships"><Relationship Id="rId1" Type="http://schemas.openxmlformats.org/officeDocument/2006/relationships/package" Target="../embeddings/Microsoft_Excel_Worksheet2954.xlsx"/></Relationships>
</file>

<file path=ppt/charts/_rels/chart2956.xml.rels><?xml version='1.0' encoding='UTF-8' standalone='yes'?>
<Relationships xmlns="http://schemas.openxmlformats.org/package/2006/relationships"><Relationship Id="rId1" Type="http://schemas.openxmlformats.org/officeDocument/2006/relationships/package" Target="../embeddings/Microsoft_Excel_Worksheet2955.xlsx"/></Relationships>
</file>

<file path=ppt/charts/_rels/chart2957.xml.rels><?xml version='1.0' encoding='UTF-8' standalone='yes'?>
<Relationships xmlns="http://schemas.openxmlformats.org/package/2006/relationships"><Relationship Id="rId1" Type="http://schemas.openxmlformats.org/officeDocument/2006/relationships/package" Target="../embeddings/Microsoft_Excel_Worksheet2956.xlsx"/></Relationships>
</file>

<file path=ppt/charts/_rels/chart2958.xml.rels><?xml version='1.0' encoding='UTF-8' standalone='yes'?>
<Relationships xmlns="http://schemas.openxmlformats.org/package/2006/relationships"><Relationship Id="rId1" Type="http://schemas.openxmlformats.org/officeDocument/2006/relationships/package" Target="../embeddings/Microsoft_Excel_Worksheet2957.xlsx"/></Relationships>
</file>

<file path=ppt/charts/_rels/chart2971.xml.rels><?xml version='1.0' encoding='UTF-8' standalone='yes'?>
<Relationships xmlns="http://schemas.openxmlformats.org/package/2006/relationships"><Relationship Id="rId1" Type="http://schemas.openxmlformats.org/officeDocument/2006/relationships/package" Target="../embeddings/Microsoft_Excel_Worksheet2970.xlsx"/></Relationships>
</file>

<file path=ppt/charts/_rels/chart2972.xml.rels><?xml version='1.0' encoding='UTF-8' standalone='yes'?>
<Relationships xmlns="http://schemas.openxmlformats.org/package/2006/relationships"><Relationship Id="rId1" Type="http://schemas.openxmlformats.org/officeDocument/2006/relationships/package" Target="../embeddings/Microsoft_Excel_Worksheet2971.xlsx"/></Relationships>
</file>

<file path=ppt/charts/_rels/chart2985.xml.rels><?xml version='1.0' encoding='UTF-8' standalone='yes'?>
<Relationships xmlns="http://schemas.openxmlformats.org/package/2006/relationships"><Relationship Id="rId1" Type="http://schemas.openxmlformats.org/officeDocument/2006/relationships/package" Target="../embeddings/Microsoft_Excel_Worksheet2984.xlsx"/></Relationships>
</file>

<file path=ppt/charts/_rels/chart2986.xml.rels><?xml version='1.0' encoding='UTF-8' standalone='yes'?>
<Relationships xmlns="http://schemas.openxmlformats.org/package/2006/relationships"><Relationship Id="rId1" Type="http://schemas.openxmlformats.org/officeDocument/2006/relationships/package" Target="../embeddings/Microsoft_Excel_Worksheet2985.xlsx"/></Relationships>
</file>

<file path=ppt/charts/_rels/chart2987.xml.rels><?xml version='1.0' encoding='UTF-8' standalone='yes'?>
<Relationships xmlns="http://schemas.openxmlformats.org/package/2006/relationships"><Relationship Id="rId1" Type="http://schemas.openxmlformats.org/officeDocument/2006/relationships/package" Target="../embeddings/Microsoft_Excel_Worksheet2986.xlsx"/></Relationships>
</file>

<file path=ppt/charts/_rels/chart2988.xml.rels><?xml version='1.0' encoding='UTF-8' standalone='yes'?>
<Relationships xmlns="http://schemas.openxmlformats.org/package/2006/relationships"><Relationship Id="rId1" Type="http://schemas.openxmlformats.org/officeDocument/2006/relationships/package" Target="../embeddings/Microsoft_Excel_Worksheet2987.xlsx"/></Relationships>
</file>

<file path=ppt/charts/_rels/chart2989.xml.rels><?xml version='1.0' encoding='UTF-8' standalone='yes'?>
<Relationships xmlns="http://schemas.openxmlformats.org/package/2006/relationships"><Relationship Id="rId1" Type="http://schemas.openxmlformats.org/officeDocument/2006/relationships/package" Target="../embeddings/Microsoft_Excel_Worksheet2988.xlsx"/></Relationships>
</file>

<file path=ppt/charts/_rels/chart2990.xml.rels><?xml version='1.0' encoding='UTF-8' standalone='yes'?>
<Relationships xmlns="http://schemas.openxmlformats.org/package/2006/relationships"><Relationship Id="rId1" Type="http://schemas.openxmlformats.org/officeDocument/2006/relationships/package" Target="../embeddings/Microsoft_Excel_Worksheet298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05.xml.rels><?xml version='1.0' encoding='UTF-8' standalone='yes'?>
<Relationships xmlns="http://schemas.openxmlformats.org/package/2006/relationships"><Relationship Id="rId1" Type="http://schemas.openxmlformats.org/officeDocument/2006/relationships/package" Target="../embeddings/Microsoft_Excel_Worksheet3004.xlsx"/></Relationships>
</file>

<file path=ppt/charts/_rels/chart3006.xml.rels><?xml version='1.0' encoding='UTF-8' standalone='yes'?>
<Relationships xmlns="http://schemas.openxmlformats.org/package/2006/relationships"><Relationship Id="rId1" Type="http://schemas.openxmlformats.org/officeDocument/2006/relationships/package" Target="../embeddings/Microsoft_Excel_Worksheet3005.xlsx"/></Relationships>
</file>

<file path=ppt/charts/_rels/chart3007.xml.rels><?xml version='1.0' encoding='UTF-8' standalone='yes'?>
<Relationships xmlns="http://schemas.openxmlformats.org/package/2006/relationships"><Relationship Id="rId1" Type="http://schemas.openxmlformats.org/officeDocument/2006/relationships/package" Target="../embeddings/Microsoft_Excel_Worksheet3006.xlsx"/></Relationships>
</file>

<file path=ppt/charts/_rels/chart3008.xml.rels><?xml version='1.0' encoding='UTF-8' standalone='yes'?>
<Relationships xmlns="http://schemas.openxmlformats.org/package/2006/relationships"><Relationship Id="rId1" Type="http://schemas.openxmlformats.org/officeDocument/2006/relationships/package" Target="../embeddings/Microsoft_Excel_Worksheet3007.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19.xml.rels><?xml version='1.0' encoding='UTF-8' standalone='yes'?>
<Relationships xmlns="http://schemas.openxmlformats.org/package/2006/relationships"><Relationship Id="rId1" Type="http://schemas.openxmlformats.org/officeDocument/2006/relationships/package" Target="../embeddings/Microsoft_Excel_Worksheet3018.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20.xml.rels><?xml version='1.0' encoding='UTF-8' standalone='yes'?>
<Relationships xmlns="http://schemas.openxmlformats.org/package/2006/relationships"><Relationship Id="rId1" Type="http://schemas.openxmlformats.org/officeDocument/2006/relationships/package" Target="../embeddings/Microsoft_Excel_Worksheet3019.xlsx"/></Relationships>
</file>

<file path=ppt/charts/_rels/chart3021.xml.rels><?xml version='1.0' encoding='UTF-8' standalone='yes'?>
<Relationships xmlns="http://schemas.openxmlformats.org/package/2006/relationships"><Relationship Id="rId1" Type="http://schemas.openxmlformats.org/officeDocument/2006/relationships/package" Target="../embeddings/Microsoft_Excel_Worksheet3020.xlsx"/></Relationships>
</file>

<file path=ppt/charts/_rels/chart3022.xml.rels><?xml version='1.0' encoding='UTF-8' standalone='yes'?>
<Relationships xmlns="http://schemas.openxmlformats.org/package/2006/relationships"><Relationship Id="rId1" Type="http://schemas.openxmlformats.org/officeDocument/2006/relationships/package" Target="../embeddings/Microsoft_Excel_Worksheet302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31.xml.rels><?xml version='1.0' encoding='UTF-8' standalone='yes'?>
<Relationships xmlns="http://schemas.openxmlformats.org/package/2006/relationships"><Relationship Id="rId1" Type="http://schemas.openxmlformats.org/officeDocument/2006/relationships/package" Target="../embeddings/Microsoft_Excel_Worksheet3030.xlsx"/></Relationships>
</file>

<file path=ppt/charts/_rels/chart3032.xml.rels><?xml version='1.0' encoding='UTF-8' standalone='yes'?>
<Relationships xmlns="http://schemas.openxmlformats.org/package/2006/relationships"><Relationship Id="rId1" Type="http://schemas.openxmlformats.org/officeDocument/2006/relationships/package" Target="../embeddings/Microsoft_Excel_Worksheet3031.xlsx"/></Relationships>
</file>

<file path=ppt/charts/_rels/chart3033.xml.rels><?xml version='1.0' encoding='UTF-8' standalone='yes'?>
<Relationships xmlns="http://schemas.openxmlformats.org/package/2006/relationships"><Relationship Id="rId1" Type="http://schemas.openxmlformats.org/officeDocument/2006/relationships/package" Target="../embeddings/Microsoft_Excel_Worksheet3032.xlsx"/></Relationships>
</file>

<file path=ppt/charts/_rels/chart3034.xml.rels><?xml version='1.0' encoding='UTF-8' standalone='yes'?>
<Relationships xmlns="http://schemas.openxmlformats.org/package/2006/relationships"><Relationship Id="rId1" Type="http://schemas.openxmlformats.org/officeDocument/2006/relationships/package" Target="../embeddings/Microsoft_Excel_Worksheet3033.xlsx"/></Relationships>
</file>

<file path=ppt/charts/_rels/chart3035.xml.rels><?xml version='1.0' encoding='UTF-8' standalone='yes'?>
<Relationships xmlns="http://schemas.openxmlformats.org/package/2006/relationships"><Relationship Id="rId1" Type="http://schemas.openxmlformats.org/officeDocument/2006/relationships/package" Target="../embeddings/Microsoft_Excel_Worksheet3034.xlsx"/></Relationships>
</file>

<file path=ppt/charts/_rels/chart3036.xml.rels><?xml version='1.0' encoding='UTF-8' standalone='yes'?>
<Relationships xmlns="http://schemas.openxmlformats.org/package/2006/relationships"><Relationship Id="rId1" Type="http://schemas.openxmlformats.org/officeDocument/2006/relationships/package" Target="../embeddings/Microsoft_Excel_Worksheet3035.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49.xml.rels><?xml version='1.0' encoding='UTF-8' standalone='yes'?>
<Relationships xmlns="http://schemas.openxmlformats.org/package/2006/relationships"><Relationship Id="rId1" Type="http://schemas.openxmlformats.org/officeDocument/2006/relationships/package" Target="../embeddings/Microsoft_Excel_Worksheet3048.xlsx"/></Relationships>
</file>

<file path=ppt/charts/_rels/chart3050.xml.rels><?xml version='1.0' encoding='UTF-8' standalone='yes'?>
<Relationships xmlns="http://schemas.openxmlformats.org/package/2006/relationships"><Relationship Id="rId1" Type="http://schemas.openxmlformats.org/officeDocument/2006/relationships/package" Target="../embeddings/Microsoft_Excel_Worksheet3049.xlsx"/></Relationships>
</file>

<file path=ppt/charts/_rels/chart3063.xml.rels><?xml version='1.0' encoding='UTF-8' standalone='yes'?>
<Relationships xmlns="http://schemas.openxmlformats.org/package/2006/relationships"><Relationship Id="rId1" Type="http://schemas.openxmlformats.org/officeDocument/2006/relationships/package" Target="../embeddings/Microsoft_Excel_Worksheet3062.xlsx"/></Relationships>
</file>

<file path=ppt/charts/_rels/chart3064.xml.rels><?xml version='1.0' encoding='UTF-8' standalone='yes'?>
<Relationships xmlns="http://schemas.openxmlformats.org/package/2006/relationships"><Relationship Id="rId1" Type="http://schemas.openxmlformats.org/officeDocument/2006/relationships/package" Target="../embeddings/Microsoft_Excel_Worksheet3063.xlsx"/></Relationships>
</file>

<file path=ppt/charts/_rels/chart3065.xml.rels><?xml version='1.0' encoding='UTF-8' standalone='yes'?>
<Relationships xmlns="http://schemas.openxmlformats.org/package/2006/relationships"><Relationship Id="rId1" Type="http://schemas.openxmlformats.org/officeDocument/2006/relationships/package" Target="../embeddings/Microsoft_Excel_Worksheet3064.xlsx"/></Relationships>
</file>

<file path=ppt/charts/_rels/chart3066.xml.rels><?xml version='1.0' encoding='UTF-8' standalone='yes'?>
<Relationships xmlns="http://schemas.openxmlformats.org/package/2006/relationships"><Relationship Id="rId1" Type="http://schemas.openxmlformats.org/officeDocument/2006/relationships/package" Target="../embeddings/Microsoft_Excel_Worksheet3065.xlsx"/></Relationships>
</file>

<file path=ppt/charts/_rels/chart3075.xml.rels><?xml version='1.0' encoding='UTF-8' standalone='yes'?>
<Relationships xmlns="http://schemas.openxmlformats.org/package/2006/relationships"><Relationship Id="rId1" Type="http://schemas.openxmlformats.org/officeDocument/2006/relationships/package" Target="../embeddings/Microsoft_Excel_Worksheet3074.xlsx"/></Relationships>
</file>

<file path=ppt/charts/_rels/chart3076.xml.rels><?xml version='1.0' encoding='UTF-8' standalone='yes'?>
<Relationships xmlns="http://schemas.openxmlformats.org/package/2006/relationships"><Relationship Id="rId1" Type="http://schemas.openxmlformats.org/officeDocument/2006/relationships/package" Target="../embeddings/Microsoft_Excel_Worksheet3075.xlsx"/></Relationships>
</file>

<file path=ppt/charts/_rels/chart3077.xml.rels><?xml version='1.0' encoding='UTF-8' standalone='yes'?>
<Relationships xmlns="http://schemas.openxmlformats.org/package/2006/relationships"><Relationship Id="rId1" Type="http://schemas.openxmlformats.org/officeDocument/2006/relationships/package" Target="../embeddings/Microsoft_Excel_Worksheet3076.xlsx"/></Relationships>
</file>

<file path=ppt/charts/_rels/chart3078.xml.rels><?xml version='1.0' encoding='UTF-8' standalone='yes'?>
<Relationships xmlns="http://schemas.openxmlformats.org/package/2006/relationships"><Relationship Id="rId1" Type="http://schemas.openxmlformats.org/officeDocument/2006/relationships/package" Target="../embeddings/Microsoft_Excel_Worksheet3077.xlsx"/></Relationships>
</file>

<file path=ppt/charts/_rels/chart3079.xml.rels><?xml version='1.0' encoding='UTF-8' standalone='yes'?>
<Relationships xmlns="http://schemas.openxmlformats.org/package/2006/relationships"><Relationship Id="rId1" Type="http://schemas.openxmlformats.org/officeDocument/2006/relationships/package" Target="../embeddings/Microsoft_Excel_Worksheet3078.xlsx"/></Relationships>
</file>

<file path=ppt/charts/_rels/chart3080.xml.rels><?xml version='1.0' encoding='UTF-8' standalone='yes'?>
<Relationships xmlns="http://schemas.openxmlformats.org/package/2006/relationships"><Relationship Id="rId1" Type="http://schemas.openxmlformats.org/officeDocument/2006/relationships/package" Target="../embeddings/Microsoft_Excel_Worksheet3079.xlsx"/></Relationships>
</file>

<file path=ppt/charts/_rels/chart3091.xml.rels><?xml version='1.0' encoding='UTF-8' standalone='yes'?>
<Relationships xmlns="http://schemas.openxmlformats.org/package/2006/relationships"><Relationship Id="rId1" Type="http://schemas.openxmlformats.org/officeDocument/2006/relationships/package" Target="../embeddings/Microsoft_Excel_Worksheet3090.xlsx"/></Relationships>
</file>

<file path=ppt/charts/_rels/chart3092.xml.rels><?xml version='1.0' encoding='UTF-8' standalone='yes'?>
<Relationships xmlns="http://schemas.openxmlformats.org/package/2006/relationships"><Relationship Id="rId1" Type="http://schemas.openxmlformats.org/officeDocument/2006/relationships/package" Target="../embeddings/Microsoft_Excel_Worksheet3091.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7.xml.rels><?xml version='1.0' encoding='UTF-8' standalone='yes'?>
<Relationships xmlns="http://schemas.openxmlformats.org/package/2006/relationships"><Relationship Id="rId1" Type="http://schemas.openxmlformats.org/officeDocument/2006/relationships/package" Target="../embeddings/Microsoft_Excel_Worksheet3106.xlsx"/></Relationships>
</file>

<file path=ppt/charts/_rels/chart3108.xml.rels><?xml version='1.0' encoding='UTF-8' standalone='yes'?>
<Relationships xmlns="http://schemas.openxmlformats.org/package/2006/relationships"><Relationship Id="rId1" Type="http://schemas.openxmlformats.org/officeDocument/2006/relationships/package" Target="../embeddings/Microsoft_Excel_Worksheet3107.xlsx"/></Relationships>
</file>

<file path=ppt/charts/_rels/chart3109.xml.rels><?xml version='1.0' encoding='UTF-8' standalone='yes'?>
<Relationships xmlns="http://schemas.openxmlformats.org/package/2006/relationships"><Relationship Id="rId1" Type="http://schemas.openxmlformats.org/officeDocument/2006/relationships/package" Target="../embeddings/Microsoft_Excel_Worksheet3108.xlsx"/></Relationships>
</file>

<file path=ppt/charts/_rels/chart3110.xml.rels><?xml version='1.0' encoding='UTF-8' standalone='yes'?>
<Relationships xmlns="http://schemas.openxmlformats.org/package/2006/relationships"><Relationship Id="rId1" Type="http://schemas.openxmlformats.org/officeDocument/2006/relationships/package" Target="../embeddings/Microsoft_Excel_Worksheet3109.xlsx"/></Relationships>
</file>

<file path=ppt/charts/_rels/chart3119.xml.rels><?xml version='1.0' encoding='UTF-8' standalone='yes'?>
<Relationships xmlns="http://schemas.openxmlformats.org/package/2006/relationships"><Relationship Id="rId1" Type="http://schemas.openxmlformats.org/officeDocument/2006/relationships/package" Target="../embeddings/Microsoft_Excel_Worksheet3118.xlsx"/></Relationships>
</file>

<file path=ppt/charts/_rels/chart3120.xml.rels><?xml version='1.0' encoding='UTF-8' standalone='yes'?>
<Relationships xmlns="http://schemas.openxmlformats.org/package/2006/relationships"><Relationship Id="rId1" Type="http://schemas.openxmlformats.org/officeDocument/2006/relationships/package" Target="../embeddings/Microsoft_Excel_Worksheet3119.xlsx"/></Relationships>
</file>

<file path=ppt/charts/_rels/chart3121.xml.rels><?xml version='1.0' encoding='UTF-8' standalone='yes'?>
<Relationships xmlns="http://schemas.openxmlformats.org/package/2006/relationships"><Relationship Id="rId1" Type="http://schemas.openxmlformats.org/officeDocument/2006/relationships/package" Target="../embeddings/Microsoft_Excel_Worksheet3120.xlsx"/></Relationships>
</file>

<file path=ppt/charts/_rels/chart3122.xml.rels><?xml version='1.0' encoding='UTF-8' standalone='yes'?>
<Relationships xmlns="http://schemas.openxmlformats.org/package/2006/relationships"><Relationship Id="rId1" Type="http://schemas.openxmlformats.org/officeDocument/2006/relationships/package" Target="../embeddings/Microsoft_Excel_Worksheet3121.xlsx"/></Relationships>
</file>

<file path=ppt/charts/_rels/chart3123.xml.rels><?xml version='1.0' encoding='UTF-8' standalone='yes'?>
<Relationships xmlns="http://schemas.openxmlformats.org/package/2006/relationships"><Relationship Id="rId1" Type="http://schemas.openxmlformats.org/officeDocument/2006/relationships/package" Target="../embeddings/Microsoft_Excel_Worksheet3122.xlsx"/></Relationships>
</file>

<file path=ppt/charts/_rels/chart3124.xml.rels><?xml version='1.0' encoding='UTF-8' standalone='yes'?>
<Relationships xmlns="http://schemas.openxmlformats.org/package/2006/relationships"><Relationship Id="rId1" Type="http://schemas.openxmlformats.org/officeDocument/2006/relationships/package" Target="../embeddings/Microsoft_Excel_Worksheet3123.xlsx"/></Relationships>
</file>

<file path=ppt/charts/_rels/chart3133.xml.rels><?xml version='1.0' encoding='UTF-8' standalone='yes'?>
<Relationships xmlns="http://schemas.openxmlformats.org/package/2006/relationships"><Relationship Id="rId1" Type="http://schemas.openxmlformats.org/officeDocument/2006/relationships/package" Target="../embeddings/Microsoft_Excel_Worksheet3132.xlsx"/></Relationships>
</file>

<file path=ppt/charts/_rels/chart3134.xml.rels><?xml version='1.0' encoding='UTF-8' standalone='yes'?>
<Relationships xmlns="http://schemas.openxmlformats.org/package/2006/relationships"><Relationship Id="rId1" Type="http://schemas.openxmlformats.org/officeDocument/2006/relationships/package" Target="../embeddings/Microsoft_Excel_Worksheet3133.xlsx"/></Relationships>
</file>

<file path=ppt/charts/_rels/chart3135.xml.rels><?xml version='1.0' encoding='UTF-8' standalone='yes'?>
<Relationships xmlns="http://schemas.openxmlformats.org/package/2006/relationships"><Relationship Id="rId1" Type="http://schemas.openxmlformats.org/officeDocument/2006/relationships/package" Target="../embeddings/Microsoft_Excel_Worksheet3134.xlsx"/></Relationships>
</file>

<file path=ppt/charts/_rels/chart3136.xml.rels><?xml version='1.0' encoding='UTF-8' standalone='yes'?>
<Relationships xmlns="http://schemas.openxmlformats.org/package/2006/relationships"><Relationship Id="rId1" Type="http://schemas.openxmlformats.org/officeDocument/2006/relationships/package" Target="../embeddings/Microsoft_Excel_Worksheet3135.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65.xml.rels><?xml version='1.0' encoding='UTF-8' standalone='yes'?>
<Relationships xmlns="http://schemas.openxmlformats.org/package/2006/relationships"><Relationship Id="rId1" Type="http://schemas.openxmlformats.org/officeDocument/2006/relationships/package" Target="../embeddings/Microsoft_Excel_Worksheet3164.xlsx"/></Relationships>
</file>

<file path=ppt/charts/_rels/chart3166.xml.rels><?xml version='1.0' encoding='UTF-8' standalone='yes'?>
<Relationships xmlns="http://schemas.openxmlformats.org/package/2006/relationships"><Relationship Id="rId1" Type="http://schemas.openxmlformats.org/officeDocument/2006/relationships/package" Target="../embeddings/Microsoft_Excel_Worksheet3165.xlsx"/></Relationships>
</file>

<file path=ppt/charts/_rels/chart3167.xml.rels><?xml version='1.0' encoding='UTF-8' standalone='yes'?>
<Relationships xmlns="http://schemas.openxmlformats.org/package/2006/relationships"><Relationship Id="rId1" Type="http://schemas.openxmlformats.org/officeDocument/2006/relationships/package" Target="../embeddings/Microsoft_Excel_Worksheet3166.xlsx"/></Relationships>
</file>

<file path=ppt/charts/_rels/chart3168.xml.rels><?xml version='1.0' encoding='UTF-8' standalone='yes'?>
<Relationships xmlns="http://schemas.openxmlformats.org/package/2006/relationships"><Relationship Id="rId1" Type="http://schemas.openxmlformats.org/officeDocument/2006/relationships/package" Target="../embeddings/Microsoft_Excel_Worksheet3167.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77.xml.rels><?xml version='1.0' encoding='UTF-8' standalone='yes'?>
<Relationships xmlns="http://schemas.openxmlformats.org/package/2006/relationships"><Relationship Id="rId1" Type="http://schemas.openxmlformats.org/officeDocument/2006/relationships/package" Target="../embeddings/Microsoft_Excel_Worksheet3176.xlsx"/></Relationships>
</file>

<file path=ppt/charts/_rels/chart3178.xml.rels><?xml version='1.0' encoding='UTF-8' standalone='yes'?>
<Relationships xmlns="http://schemas.openxmlformats.org/package/2006/relationships"><Relationship Id="rId1" Type="http://schemas.openxmlformats.org/officeDocument/2006/relationships/package" Target="../embeddings/Microsoft_Excel_Worksheet3177.xlsx"/></Relationships>
</file>

<file path=ppt/charts/_rels/chart3179.xml.rels><?xml version='1.0' encoding='UTF-8' standalone='yes'?>
<Relationships xmlns="http://schemas.openxmlformats.org/package/2006/relationships"><Relationship Id="rId1" Type="http://schemas.openxmlformats.org/officeDocument/2006/relationships/package" Target="../embeddings/Microsoft_Excel_Worksheet3178.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80.xml.rels><?xml version='1.0' encoding='UTF-8' standalone='yes'?>
<Relationships xmlns="http://schemas.openxmlformats.org/package/2006/relationships"><Relationship Id="rId1" Type="http://schemas.openxmlformats.org/officeDocument/2006/relationships/package" Target="../embeddings/Microsoft_Excel_Worksheet3179.xlsx"/></Relationships>
</file>

<file path=ppt/charts/_rels/chart3197.xml.rels><?xml version='1.0' encoding='UTF-8' standalone='yes'?>
<Relationships xmlns="http://schemas.openxmlformats.org/package/2006/relationships"><Relationship Id="rId1" Type="http://schemas.openxmlformats.org/officeDocument/2006/relationships/package" Target="../embeddings/Microsoft_Excel_Worksheet3196.xlsx"/></Relationships>
</file>

<file path=ppt/charts/_rels/chart3198.xml.rels><?xml version='1.0' encoding='UTF-8' standalone='yes'?>
<Relationships xmlns="http://schemas.openxmlformats.org/package/2006/relationships"><Relationship Id="rId1" Type="http://schemas.openxmlformats.org/officeDocument/2006/relationships/package" Target="../embeddings/Microsoft_Excel_Worksheet3197.xlsx"/></Relationships>
</file>

<file path=ppt/charts/_rels/chart3199.xml.rels><?xml version='1.0' encoding='UTF-8' standalone='yes'?>
<Relationships xmlns="http://schemas.openxmlformats.org/package/2006/relationships"><Relationship Id="rId1" Type="http://schemas.openxmlformats.org/officeDocument/2006/relationships/package" Target="../embeddings/Microsoft_Excel_Worksheet319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0.xml.rels><?xml version='1.0' encoding='UTF-8' standalone='yes'?>
<Relationships xmlns="http://schemas.openxmlformats.org/package/2006/relationships"><Relationship Id="rId1" Type="http://schemas.openxmlformats.org/officeDocument/2006/relationships/package" Target="../embeddings/Microsoft_Excel_Worksheet3199.xlsx"/></Relationships>
</file>

<file path=ppt/charts/_rels/chart3211.xml.rels><?xml version='1.0' encoding='UTF-8' standalone='yes'?>
<Relationships xmlns="http://schemas.openxmlformats.org/package/2006/relationships"><Relationship Id="rId1" Type="http://schemas.openxmlformats.org/officeDocument/2006/relationships/package" Target="../embeddings/Microsoft_Excel_Worksheet3210.xlsx"/></Relationships>
</file>

<file path=ppt/charts/_rels/chart3212.xml.rels><?xml version='1.0' encoding='UTF-8' standalone='yes'?>
<Relationships xmlns="http://schemas.openxmlformats.org/package/2006/relationships"><Relationship Id="rId1" Type="http://schemas.openxmlformats.org/officeDocument/2006/relationships/package" Target="../embeddings/Microsoft_Excel_Worksheet3211.xlsx"/></Relationships>
</file>

<file path=ppt/charts/_rels/chart3213.xml.rels><?xml version='1.0' encoding='UTF-8' standalone='yes'?>
<Relationships xmlns="http://schemas.openxmlformats.org/package/2006/relationships"><Relationship Id="rId1" Type="http://schemas.openxmlformats.org/officeDocument/2006/relationships/package" Target="../embeddings/Microsoft_Excel_Worksheet3212.xlsx"/></Relationships>
</file>

<file path=ppt/charts/_rels/chart3214.xml.rels><?xml version='1.0' encoding='UTF-8' standalone='yes'?>
<Relationships xmlns="http://schemas.openxmlformats.org/package/2006/relationships"><Relationship Id="rId1" Type="http://schemas.openxmlformats.org/officeDocument/2006/relationships/package" Target="../embeddings/Microsoft_Excel_Worksheet3213.xlsx"/></Relationships>
</file>

<file path=ppt/charts/_rels/chart3227.xml.rels><?xml version='1.0' encoding='UTF-8' standalone='yes'?>
<Relationships xmlns="http://schemas.openxmlformats.org/package/2006/relationships"><Relationship Id="rId1" Type="http://schemas.openxmlformats.org/officeDocument/2006/relationships/package" Target="../embeddings/Microsoft_Excel_Worksheet3226.xlsx"/></Relationships>
</file>

<file path=ppt/charts/_rels/chart3228.xml.rels><?xml version='1.0' encoding='UTF-8' standalone='yes'?>
<Relationships xmlns="http://schemas.openxmlformats.org/package/2006/relationships"><Relationship Id="rId1" Type="http://schemas.openxmlformats.org/officeDocument/2006/relationships/package" Target="../embeddings/Microsoft_Excel_Worksheet3227.xlsx"/></Relationships>
</file>

<file path=ppt/charts/_rels/chart3229.xml.rels><?xml version='1.0' encoding='UTF-8' standalone='yes'?>
<Relationships xmlns="http://schemas.openxmlformats.org/package/2006/relationships"><Relationship Id="rId1" Type="http://schemas.openxmlformats.org/officeDocument/2006/relationships/package" Target="../embeddings/Microsoft_Excel_Worksheet3228.xlsx"/></Relationships>
</file>

<file path=ppt/charts/_rels/chart3230.xml.rels><?xml version='1.0' encoding='UTF-8' standalone='yes'?>
<Relationships xmlns="http://schemas.openxmlformats.org/package/2006/relationships"><Relationship Id="rId1" Type="http://schemas.openxmlformats.org/officeDocument/2006/relationships/package" Target="../embeddings/Microsoft_Excel_Worksheet3229.xlsx"/></Relationships>
</file>

<file path=ppt/charts/_rels/chart3241.xml.rels><?xml version='1.0' encoding='UTF-8' standalone='yes'?>
<Relationships xmlns="http://schemas.openxmlformats.org/package/2006/relationships"><Relationship Id="rId1" Type="http://schemas.openxmlformats.org/officeDocument/2006/relationships/package" Target="../embeddings/Microsoft_Excel_Worksheet3240.xlsx"/></Relationships>
</file>

<file path=ppt/charts/_rels/chart3242.xml.rels><?xml version='1.0' encoding='UTF-8' standalone='yes'?>
<Relationships xmlns="http://schemas.openxmlformats.org/package/2006/relationships"><Relationship Id="rId1" Type="http://schemas.openxmlformats.org/officeDocument/2006/relationships/package" Target="../embeddings/Microsoft_Excel_Worksheet3241.xlsx"/></Relationships>
</file>

<file path=ppt/charts/_rels/chart3243.xml.rels><?xml version='1.0' encoding='UTF-8' standalone='yes'?>
<Relationships xmlns="http://schemas.openxmlformats.org/package/2006/relationships"><Relationship Id="rId1" Type="http://schemas.openxmlformats.org/officeDocument/2006/relationships/package" Target="../embeddings/Microsoft_Excel_Worksheet3242.xlsx"/></Relationships>
</file>

<file path=ppt/charts/_rels/chart3244.xml.rels><?xml version='1.0' encoding='UTF-8' standalone='yes'?>
<Relationships xmlns="http://schemas.openxmlformats.org/package/2006/relationships"><Relationship Id="rId1" Type="http://schemas.openxmlformats.org/officeDocument/2006/relationships/package" Target="../embeddings/Microsoft_Excel_Worksheet3243.xlsx"/></Relationships>
</file>

<file path=ppt/charts/_rels/chart3255.xml.rels><?xml version='1.0' encoding='UTF-8' standalone='yes'?>
<Relationships xmlns="http://schemas.openxmlformats.org/package/2006/relationships"><Relationship Id="rId1" Type="http://schemas.openxmlformats.org/officeDocument/2006/relationships/package" Target="../embeddings/Microsoft_Excel_Worksheet3254.xlsx"/></Relationships>
</file>

<file path=ppt/charts/_rels/chart3256.xml.rels><?xml version='1.0' encoding='UTF-8' standalone='yes'?>
<Relationships xmlns="http://schemas.openxmlformats.org/package/2006/relationships"><Relationship Id="rId1" Type="http://schemas.openxmlformats.org/officeDocument/2006/relationships/package" Target="../embeddings/Microsoft_Excel_Worksheet3255.xlsx"/></Relationships>
</file>

<file path=ppt/charts/_rels/chart3257.xml.rels><?xml version='1.0' encoding='UTF-8' standalone='yes'?>
<Relationships xmlns="http://schemas.openxmlformats.org/package/2006/relationships"><Relationship Id="rId1" Type="http://schemas.openxmlformats.org/officeDocument/2006/relationships/package" Target="../embeddings/Microsoft_Excel_Worksheet3256.xlsx"/></Relationships>
</file>

<file path=ppt/charts/_rels/chart3258.xml.rels><?xml version='1.0' encoding='UTF-8' standalone='yes'?>
<Relationships xmlns="http://schemas.openxmlformats.org/package/2006/relationships"><Relationship Id="rId1" Type="http://schemas.openxmlformats.org/officeDocument/2006/relationships/package" Target="../embeddings/Microsoft_Excel_Worksheet3257.xlsx"/></Relationships>
</file>

<file path=ppt/charts/_rels/chart3285.xml.rels><?xml version='1.0' encoding='UTF-8' standalone='yes'?>
<Relationships xmlns="http://schemas.openxmlformats.org/package/2006/relationships"><Relationship Id="rId1" Type="http://schemas.openxmlformats.org/officeDocument/2006/relationships/package" Target="../embeddings/Microsoft_Excel_Worksheet3284.xlsx"/></Relationships>
</file>

<file path=ppt/charts/_rels/chart3286.xml.rels><?xml version='1.0' encoding='UTF-8' standalone='yes'?>
<Relationships xmlns="http://schemas.openxmlformats.org/package/2006/relationships"><Relationship Id="rId1" Type="http://schemas.openxmlformats.org/officeDocument/2006/relationships/package" Target="../embeddings/Microsoft_Excel_Worksheet3285.xlsx"/></Relationships>
</file>

<file path=ppt/charts/_rels/chart3287.xml.rels><?xml version='1.0' encoding='UTF-8' standalone='yes'?>
<Relationships xmlns="http://schemas.openxmlformats.org/package/2006/relationships"><Relationship Id="rId1" Type="http://schemas.openxmlformats.org/officeDocument/2006/relationships/package" Target="../embeddings/Microsoft_Excel_Worksheet3286.xlsx"/></Relationships>
</file>

<file path=ppt/charts/_rels/chart3288.xml.rels><?xml version='1.0' encoding='UTF-8' standalone='yes'?>
<Relationships xmlns="http://schemas.openxmlformats.org/package/2006/relationships"><Relationship Id="rId1" Type="http://schemas.openxmlformats.org/officeDocument/2006/relationships/package" Target="../embeddings/Microsoft_Excel_Worksheet3287.xlsx"/></Relationships>
</file>

<file path=ppt/charts/_rels/chart3299.xml.rels><?xml version='1.0' encoding='UTF-8' standalone='yes'?>
<Relationships xmlns="http://schemas.openxmlformats.org/package/2006/relationships"><Relationship Id="rId1" Type="http://schemas.openxmlformats.org/officeDocument/2006/relationships/package" Target="../embeddings/Microsoft_Excel_Worksheet329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0.xml.rels><?xml version='1.0' encoding='UTF-8' standalone='yes'?>
<Relationships xmlns="http://schemas.openxmlformats.org/package/2006/relationships"><Relationship Id="rId1" Type="http://schemas.openxmlformats.org/officeDocument/2006/relationships/package" Target="../embeddings/Microsoft_Excel_Worksheet3299.xlsx"/></Relationships>
</file>

<file path=ppt/charts/_rels/chart3301.xml.rels><?xml version='1.0' encoding='UTF-8' standalone='yes'?>
<Relationships xmlns="http://schemas.openxmlformats.org/package/2006/relationships"><Relationship Id="rId1" Type="http://schemas.openxmlformats.org/officeDocument/2006/relationships/package" Target="../embeddings/Microsoft_Excel_Worksheet3300.xlsx"/></Relationships>
</file>

<file path=ppt/charts/_rels/chart3302.xml.rels><?xml version='1.0' encoding='UTF-8' standalone='yes'?>
<Relationships xmlns="http://schemas.openxmlformats.org/package/2006/relationships"><Relationship Id="rId1" Type="http://schemas.openxmlformats.org/officeDocument/2006/relationships/package" Target="../embeddings/Microsoft_Excel_Worksheet3301.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11.xml.rels><?xml version='1.0' encoding='UTF-8' standalone='yes'?>
<Relationships xmlns="http://schemas.openxmlformats.org/package/2006/relationships"><Relationship Id="rId1" Type="http://schemas.openxmlformats.org/officeDocument/2006/relationships/package" Target="../embeddings/Microsoft_Excel_Worksheet3310.xlsx"/></Relationships>
</file>

<file path=ppt/charts/_rels/chart3312.xml.rels><?xml version='1.0' encoding='UTF-8' standalone='yes'?>
<Relationships xmlns="http://schemas.openxmlformats.org/package/2006/relationships"><Relationship Id="rId1" Type="http://schemas.openxmlformats.org/officeDocument/2006/relationships/package" Target="../embeddings/Microsoft_Excel_Worksheet3311.xlsx"/></Relationships>
</file>

<file path=ppt/charts/_rels/chart3313.xml.rels><?xml version='1.0' encoding='UTF-8' standalone='yes'?>
<Relationships xmlns="http://schemas.openxmlformats.org/package/2006/relationships"><Relationship Id="rId1" Type="http://schemas.openxmlformats.org/officeDocument/2006/relationships/package" Target="../embeddings/Microsoft_Excel_Worksheet3312.xlsx"/></Relationships>
</file>

<file path=ppt/charts/_rels/chart3314.xml.rels><?xml version='1.0' encoding='UTF-8' standalone='yes'?>
<Relationships xmlns="http://schemas.openxmlformats.org/package/2006/relationships"><Relationship Id="rId1" Type="http://schemas.openxmlformats.org/officeDocument/2006/relationships/package" Target="../embeddings/Microsoft_Excel_Worksheet3313.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29.xml.rels><?xml version='1.0' encoding='UTF-8' standalone='yes'?>
<Relationships xmlns="http://schemas.openxmlformats.org/package/2006/relationships"><Relationship Id="rId1" Type="http://schemas.openxmlformats.org/officeDocument/2006/relationships/package" Target="../embeddings/Microsoft_Excel_Worksheet3328.xlsx"/></Relationships>
</file>

<file path=ppt/charts/_rels/chart3330.xml.rels><?xml version='1.0' encoding='UTF-8' standalone='yes'?>
<Relationships xmlns="http://schemas.openxmlformats.org/package/2006/relationships"><Relationship Id="rId1" Type="http://schemas.openxmlformats.org/officeDocument/2006/relationships/package" Target="../embeddings/Microsoft_Excel_Worksheet3329.xlsx"/></Relationships>
</file>

<file path=ppt/charts/_rels/chart3343.xml.rels><?xml version='1.0' encoding='UTF-8' standalone='yes'?>
<Relationships xmlns="http://schemas.openxmlformats.org/package/2006/relationships"><Relationship Id="rId1" Type="http://schemas.openxmlformats.org/officeDocument/2006/relationships/package" Target="../embeddings/Microsoft_Excel_Worksheet3342.xlsx"/></Relationships>
</file>

<file path=ppt/charts/_rels/chart3344.xml.rels><?xml version='1.0' encoding='UTF-8' standalone='yes'?>
<Relationships xmlns="http://schemas.openxmlformats.org/package/2006/relationships"><Relationship Id="rId1" Type="http://schemas.openxmlformats.org/officeDocument/2006/relationships/package" Target="../embeddings/Microsoft_Excel_Worksheet3343.xlsx"/></Relationships>
</file>

<file path=ppt/charts/_rels/chart3345.xml.rels><?xml version='1.0' encoding='UTF-8' standalone='yes'?>
<Relationships xmlns="http://schemas.openxmlformats.org/package/2006/relationships"><Relationship Id="rId1" Type="http://schemas.openxmlformats.org/officeDocument/2006/relationships/package" Target="../embeddings/Microsoft_Excel_Worksheet3344.xlsx"/></Relationships>
</file>

<file path=ppt/charts/_rels/chart3346.xml.rels><?xml version='1.0' encoding='UTF-8' standalone='yes'?>
<Relationships xmlns="http://schemas.openxmlformats.org/package/2006/relationships"><Relationship Id="rId1" Type="http://schemas.openxmlformats.org/officeDocument/2006/relationships/package" Target="../embeddings/Microsoft_Excel_Worksheet3345.xlsx"/></Relationships>
</file>

<file path=ppt/charts/_rels/chart3355.xml.rels><?xml version='1.0' encoding='UTF-8' standalone='yes'?>
<Relationships xmlns="http://schemas.openxmlformats.org/package/2006/relationships"><Relationship Id="rId1" Type="http://schemas.openxmlformats.org/officeDocument/2006/relationships/package" Target="../embeddings/Microsoft_Excel_Worksheet3354.xlsx"/></Relationships>
</file>

<file path=ppt/charts/_rels/chart3356.xml.rels><?xml version='1.0' encoding='UTF-8' standalone='yes'?>
<Relationships xmlns="http://schemas.openxmlformats.org/package/2006/relationships"><Relationship Id="rId1" Type="http://schemas.openxmlformats.org/officeDocument/2006/relationships/package" Target="../embeddings/Microsoft_Excel_Worksheet3355.xlsx"/></Relationships>
</file>

<file path=ppt/charts/_rels/chart3357.xml.rels><?xml version='1.0' encoding='UTF-8' standalone='yes'?>
<Relationships xmlns="http://schemas.openxmlformats.org/package/2006/relationships"><Relationship Id="rId1" Type="http://schemas.openxmlformats.org/officeDocument/2006/relationships/package" Target="../embeddings/Microsoft_Excel_Worksheet3356.xlsx"/></Relationships>
</file>

<file path=ppt/charts/_rels/chart3358.xml.rels><?xml version='1.0' encoding='UTF-8' standalone='yes'?>
<Relationships xmlns="http://schemas.openxmlformats.org/package/2006/relationships"><Relationship Id="rId1" Type="http://schemas.openxmlformats.org/officeDocument/2006/relationships/package" Target="../embeddings/Microsoft_Excel_Worksheet3357.xlsx"/></Relationships>
</file>

<file path=ppt/charts/_rels/chart3359.xml.rels><?xml version='1.0' encoding='UTF-8' standalone='yes'?>
<Relationships xmlns="http://schemas.openxmlformats.org/package/2006/relationships"><Relationship Id="rId1" Type="http://schemas.openxmlformats.org/officeDocument/2006/relationships/package" Target="../embeddings/Microsoft_Excel_Worksheet3358.xlsx"/></Relationships>
</file>

<file path=ppt/charts/_rels/chart3360.xml.rels><?xml version='1.0' encoding='UTF-8' standalone='yes'?>
<Relationships xmlns="http://schemas.openxmlformats.org/package/2006/relationships"><Relationship Id="rId1" Type="http://schemas.openxmlformats.org/officeDocument/2006/relationships/package" Target="../embeddings/Microsoft_Excel_Worksheet3359.xlsx"/></Relationships>
</file>

<file path=ppt/charts/_rels/chart3371.xml.rels><?xml version='1.0' encoding='UTF-8' standalone='yes'?>
<Relationships xmlns="http://schemas.openxmlformats.org/package/2006/relationships"><Relationship Id="rId1" Type="http://schemas.openxmlformats.org/officeDocument/2006/relationships/package" Target="../embeddings/Microsoft_Excel_Worksheet3370.xlsx"/></Relationships>
</file>

<file path=ppt/charts/_rels/chart3372.xml.rels><?xml version='1.0' encoding='UTF-8' standalone='yes'?>
<Relationships xmlns="http://schemas.openxmlformats.org/package/2006/relationships"><Relationship Id="rId1" Type="http://schemas.openxmlformats.org/officeDocument/2006/relationships/package" Target="../embeddings/Microsoft_Excel_Worksheet3371.xlsx"/></Relationships>
</file>

<file path=ppt/charts/_rels/chart3387.xml.rels><?xml version='1.0' encoding='UTF-8' standalone='yes'?>
<Relationships xmlns="http://schemas.openxmlformats.org/package/2006/relationships"><Relationship Id="rId1" Type="http://schemas.openxmlformats.org/officeDocument/2006/relationships/package" Target="../embeddings/Microsoft_Excel_Worksheet3386.xlsx"/></Relationships>
</file>

<file path=ppt/charts/_rels/chart3388.xml.rels><?xml version='1.0' encoding='UTF-8' standalone='yes'?>
<Relationships xmlns="http://schemas.openxmlformats.org/package/2006/relationships"><Relationship Id="rId1" Type="http://schemas.openxmlformats.org/officeDocument/2006/relationships/package" Target="../embeddings/Microsoft_Excel_Worksheet3387.xlsx"/></Relationships>
</file>

<file path=ppt/charts/_rels/chart3389.xml.rels><?xml version='1.0' encoding='UTF-8' standalone='yes'?>
<Relationships xmlns="http://schemas.openxmlformats.org/package/2006/relationships"><Relationship Id="rId1" Type="http://schemas.openxmlformats.org/officeDocument/2006/relationships/package" Target="../embeddings/Microsoft_Excel_Worksheet3388.xlsx"/></Relationships>
</file>

<file path=ppt/charts/_rels/chart3390.xml.rels><?xml version='1.0' encoding='UTF-8' standalone='yes'?>
<Relationships xmlns="http://schemas.openxmlformats.org/package/2006/relationships"><Relationship Id="rId1" Type="http://schemas.openxmlformats.org/officeDocument/2006/relationships/package" Target="../embeddings/Microsoft_Excel_Worksheet3389.xlsx"/></Relationships>
</file>

<file path=ppt/charts/_rels/chart3391.xml.rels><?xml version='1.0' encoding='UTF-8' standalone='yes'?>
<Relationships xmlns="http://schemas.openxmlformats.org/package/2006/relationships"><Relationship Id="rId1" Type="http://schemas.openxmlformats.org/officeDocument/2006/relationships/package" Target="../embeddings/Microsoft_Excel_Worksheet3390.xlsx"/></Relationships>
</file>

<file path=ppt/charts/_rels/chart3392.xml.rels><?xml version='1.0' encoding='UTF-8' standalone='yes'?>
<Relationships xmlns="http://schemas.openxmlformats.org/package/2006/relationships"><Relationship Id="rId1" Type="http://schemas.openxmlformats.org/officeDocument/2006/relationships/package" Target="../embeddings/Microsoft_Excel_Worksheet3391.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5.xml.rels><?xml version='1.0' encoding='UTF-8' standalone='yes'?>
<Relationships xmlns="http://schemas.openxmlformats.org/package/2006/relationships"><Relationship Id="rId1" Type="http://schemas.openxmlformats.org/officeDocument/2006/relationships/package" Target="../embeddings/Microsoft_Excel_Worksheet3404.xlsx"/></Relationships>
</file>

<file path=ppt/charts/_rels/chart3406.xml.rels><?xml version='1.0' encoding='UTF-8' standalone='yes'?>
<Relationships xmlns="http://schemas.openxmlformats.org/package/2006/relationships"><Relationship Id="rId1" Type="http://schemas.openxmlformats.org/officeDocument/2006/relationships/package" Target="../embeddings/Microsoft_Excel_Worksheet3405.xlsx"/></Relationships>
</file>

<file path=ppt/charts/_rels/chart3407.xml.rels><?xml version='1.0' encoding='UTF-8' standalone='yes'?>
<Relationships xmlns="http://schemas.openxmlformats.org/package/2006/relationships"><Relationship Id="rId1" Type="http://schemas.openxmlformats.org/officeDocument/2006/relationships/package" Target="../embeddings/Microsoft_Excel_Worksheet3406.xlsx"/></Relationships>
</file>

<file path=ppt/charts/_rels/chart3408.xml.rels><?xml version='1.0' encoding='UTF-8' standalone='yes'?>
<Relationships xmlns="http://schemas.openxmlformats.org/package/2006/relationships"><Relationship Id="rId1" Type="http://schemas.openxmlformats.org/officeDocument/2006/relationships/package" Target="../embeddings/Microsoft_Excel_Worksheet3407.xlsx"/></Relationships>
</file>

<file path=ppt/charts/_rels/chart3409.xml.rels><?xml version='1.0' encoding='UTF-8' standalone='yes'?>
<Relationships xmlns="http://schemas.openxmlformats.org/package/2006/relationships"><Relationship Id="rId1" Type="http://schemas.openxmlformats.org/officeDocument/2006/relationships/package" Target="../embeddings/Microsoft_Excel_Worksheet3408.xlsx"/></Relationships>
</file>

<file path=ppt/charts/_rels/chart3410.xml.rels><?xml version='1.0' encoding='UTF-8' standalone='yes'?>
<Relationships xmlns="http://schemas.openxmlformats.org/package/2006/relationships"><Relationship Id="rId1" Type="http://schemas.openxmlformats.org/officeDocument/2006/relationships/package" Target="../embeddings/Microsoft_Excel_Worksheet3409.xlsx"/></Relationships>
</file>

<file path=ppt/charts/_rels/chart3419.xml.rels><?xml version='1.0' encoding='UTF-8' standalone='yes'?>
<Relationships xmlns="http://schemas.openxmlformats.org/package/2006/relationships"><Relationship Id="rId1" Type="http://schemas.openxmlformats.org/officeDocument/2006/relationships/package" Target="../embeddings/Microsoft_Excel_Worksheet3418.xlsx"/></Relationships>
</file>

<file path=ppt/charts/_rels/chart3420.xml.rels><?xml version='1.0' encoding='UTF-8' standalone='yes'?>
<Relationships xmlns="http://schemas.openxmlformats.org/package/2006/relationships"><Relationship Id="rId1" Type="http://schemas.openxmlformats.org/officeDocument/2006/relationships/package" Target="../embeddings/Microsoft_Excel_Worksheet3419.xlsx"/></Relationships>
</file>

<file path=ppt/charts/_rels/chart3421.xml.rels><?xml version='1.0' encoding='UTF-8' standalone='yes'?>
<Relationships xmlns="http://schemas.openxmlformats.org/package/2006/relationships"><Relationship Id="rId1" Type="http://schemas.openxmlformats.org/officeDocument/2006/relationships/package" Target="../embeddings/Microsoft_Excel_Worksheet3420.xlsx"/></Relationships>
</file>

<file path=ppt/charts/_rels/chart3422.xml.rels><?xml version='1.0' encoding='UTF-8' standalone='yes'?>
<Relationships xmlns="http://schemas.openxmlformats.org/package/2006/relationships"><Relationship Id="rId1" Type="http://schemas.openxmlformats.org/officeDocument/2006/relationships/package" Target="../embeddings/Microsoft_Excel_Worksheet3421.xlsx"/></Relationships>
</file>

<file path=ppt/charts/_rels/chart3433.xml.rels><?xml version='1.0' encoding='UTF-8' standalone='yes'?>
<Relationships xmlns="http://schemas.openxmlformats.org/package/2006/relationships"><Relationship Id="rId1" Type="http://schemas.openxmlformats.org/officeDocument/2006/relationships/package" Target="../embeddings/Microsoft_Excel_Worksheet3432.xlsx"/></Relationships>
</file>

<file path=ppt/charts/_rels/chart3434.xml.rels><?xml version='1.0' encoding='UTF-8' standalone='yes'?>
<Relationships xmlns="http://schemas.openxmlformats.org/package/2006/relationships"><Relationship Id="rId1" Type="http://schemas.openxmlformats.org/officeDocument/2006/relationships/package" Target="../embeddings/Microsoft_Excel_Worksheet3433.xlsx"/></Relationships>
</file>

<file path=ppt/charts/_rels/chart3435.xml.rels><?xml version='1.0' encoding='UTF-8' standalone='yes'?>
<Relationships xmlns="http://schemas.openxmlformats.org/package/2006/relationships"><Relationship Id="rId1" Type="http://schemas.openxmlformats.org/officeDocument/2006/relationships/package" Target="../embeddings/Microsoft_Excel_Worksheet3434.xlsx"/></Relationships>
</file>

<file path=ppt/charts/_rels/chart3436.xml.rels><?xml version='1.0' encoding='UTF-8' standalone='yes'?>
<Relationships xmlns="http://schemas.openxmlformats.org/package/2006/relationships"><Relationship Id="rId1" Type="http://schemas.openxmlformats.org/officeDocument/2006/relationships/package" Target="../embeddings/Microsoft_Excel_Worksheet3435.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63.xml.rels><?xml version='1.0' encoding='UTF-8' standalone='yes'?>
<Relationships xmlns="http://schemas.openxmlformats.org/package/2006/relationships"><Relationship Id="rId1" Type="http://schemas.openxmlformats.org/officeDocument/2006/relationships/package" Target="../embeddings/Microsoft_Excel_Worksheet3462.xlsx"/></Relationships>
</file>

<file path=ppt/charts/_rels/chart3464.xml.rels><?xml version='1.0' encoding='UTF-8' standalone='yes'?>
<Relationships xmlns="http://schemas.openxmlformats.org/package/2006/relationships"><Relationship Id="rId1" Type="http://schemas.openxmlformats.org/officeDocument/2006/relationships/package" Target="../embeddings/Microsoft_Excel_Worksheet3463.xlsx"/></Relationships>
</file>

<file path=ppt/charts/_rels/chart3465.xml.rels><?xml version='1.0' encoding='UTF-8' standalone='yes'?>
<Relationships xmlns="http://schemas.openxmlformats.org/package/2006/relationships"><Relationship Id="rId1" Type="http://schemas.openxmlformats.org/officeDocument/2006/relationships/package" Target="../embeddings/Microsoft_Excel_Worksheet3464.xlsx"/></Relationships>
</file>

<file path=ppt/charts/_rels/chart3466.xml.rels><?xml version='1.0' encoding='UTF-8' standalone='yes'?>
<Relationships xmlns="http://schemas.openxmlformats.org/package/2006/relationships"><Relationship Id="rId1" Type="http://schemas.openxmlformats.org/officeDocument/2006/relationships/package" Target="../embeddings/Microsoft_Excel_Worksheet346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77.xml.rels><?xml version='1.0' encoding='UTF-8' standalone='yes'?>
<Relationships xmlns="http://schemas.openxmlformats.org/package/2006/relationships"><Relationship Id="rId1" Type="http://schemas.openxmlformats.org/officeDocument/2006/relationships/package" Target="../embeddings/Microsoft_Excel_Worksheet3476.xlsx"/></Relationships>
</file>

<file path=ppt/charts/_rels/chart3478.xml.rels><?xml version='1.0' encoding='UTF-8' standalone='yes'?>
<Relationships xmlns="http://schemas.openxmlformats.org/package/2006/relationships"><Relationship Id="rId1" Type="http://schemas.openxmlformats.org/officeDocument/2006/relationships/package" Target="../embeddings/Microsoft_Excel_Worksheet3477.xlsx"/></Relationships>
</file>

<file path=ppt/charts/_rels/chart3479.xml.rels><?xml version='1.0' encoding='UTF-8' standalone='yes'?>
<Relationships xmlns="http://schemas.openxmlformats.org/package/2006/relationships"><Relationship Id="rId1" Type="http://schemas.openxmlformats.org/officeDocument/2006/relationships/package" Target="../embeddings/Microsoft_Excel_Worksheet3478.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80.xml.rels><?xml version='1.0' encoding='UTF-8' standalone='yes'?>
<Relationships xmlns="http://schemas.openxmlformats.org/package/2006/relationships"><Relationship Id="rId1" Type="http://schemas.openxmlformats.org/officeDocument/2006/relationships/package" Target="../embeddings/Microsoft_Excel_Worksheet3479.xlsx"/></Relationships>
</file>

<file path=ppt/charts/_rels/chart3491.xml.rels><?xml version='1.0' encoding='UTF-8' standalone='yes'?>
<Relationships xmlns="http://schemas.openxmlformats.org/package/2006/relationships"><Relationship Id="rId1" Type="http://schemas.openxmlformats.org/officeDocument/2006/relationships/package" Target="../embeddings/Microsoft_Excel_Worksheet3490.xlsx"/></Relationships>
</file>

<file path=ppt/charts/_rels/chart3492.xml.rels><?xml version='1.0' encoding='UTF-8' standalone='yes'?>
<Relationships xmlns="http://schemas.openxmlformats.org/package/2006/relationships"><Relationship Id="rId1" Type="http://schemas.openxmlformats.org/officeDocument/2006/relationships/package" Target="../embeddings/Microsoft_Excel_Worksheet3491.xlsx"/></Relationships>
</file>

<file path=ppt/charts/_rels/chart3493.xml.rels><?xml version='1.0' encoding='UTF-8' standalone='yes'?>
<Relationships xmlns="http://schemas.openxmlformats.org/package/2006/relationships"><Relationship Id="rId1" Type="http://schemas.openxmlformats.org/officeDocument/2006/relationships/package" Target="../embeddings/Microsoft_Excel_Worksheet3492.xlsx"/></Relationships>
</file>

<file path=ppt/charts/_rels/chart3494.xml.rels><?xml version='1.0' encoding='UTF-8' standalone='yes'?>
<Relationships xmlns="http://schemas.openxmlformats.org/package/2006/relationships"><Relationship Id="rId1" Type="http://schemas.openxmlformats.org/officeDocument/2006/relationships/package" Target="../embeddings/Microsoft_Excel_Worksheet3493.xlsx"/></Relationships>
</file>

<file path=ppt/charts/_rels/chart3507.xml.rels><?xml version='1.0' encoding='UTF-8' standalone='yes'?>
<Relationships xmlns="http://schemas.openxmlformats.org/package/2006/relationships"><Relationship Id="rId1" Type="http://schemas.openxmlformats.org/officeDocument/2006/relationships/package" Target="../embeddings/Microsoft_Excel_Worksheet3506.xlsx"/></Relationships>
</file>

<file path=ppt/charts/_rels/chart3508.xml.rels><?xml version='1.0' encoding='UTF-8' standalone='yes'?>
<Relationships xmlns="http://schemas.openxmlformats.org/package/2006/relationships"><Relationship Id="rId1" Type="http://schemas.openxmlformats.org/officeDocument/2006/relationships/package" Target="../embeddings/Microsoft_Excel_Worksheet3507.xlsx"/></Relationships>
</file>

<file path=ppt/charts/_rels/chart3509.xml.rels><?xml version='1.0' encoding='UTF-8' standalone='yes'?>
<Relationships xmlns="http://schemas.openxmlformats.org/package/2006/relationships"><Relationship Id="rId1" Type="http://schemas.openxmlformats.org/officeDocument/2006/relationships/package" Target="../embeddings/Microsoft_Excel_Worksheet3508.xlsx"/></Relationships>
</file>

<file path=ppt/charts/_rels/chart3510.xml.rels><?xml version='1.0' encoding='UTF-8' standalone='yes'?>
<Relationships xmlns="http://schemas.openxmlformats.org/package/2006/relationships"><Relationship Id="rId1" Type="http://schemas.openxmlformats.org/officeDocument/2006/relationships/package" Target="../embeddings/Microsoft_Excel_Worksheet3509.xlsx"/></Relationships>
</file>

<file path=ppt/charts/_rels/chart3521.xml.rels><?xml version='1.0' encoding='UTF-8' standalone='yes'?>
<Relationships xmlns="http://schemas.openxmlformats.org/package/2006/relationships"><Relationship Id="rId1" Type="http://schemas.openxmlformats.org/officeDocument/2006/relationships/package" Target="../embeddings/Microsoft_Excel_Worksheet3520.xlsx"/></Relationships>
</file>

<file path=ppt/charts/_rels/chart3522.xml.rels><?xml version='1.0' encoding='UTF-8' standalone='yes'?>
<Relationships xmlns="http://schemas.openxmlformats.org/package/2006/relationships"><Relationship Id="rId1" Type="http://schemas.openxmlformats.org/officeDocument/2006/relationships/package" Target="../embeddings/Microsoft_Excel_Worksheet3521.xlsx"/></Relationships>
</file>

<file path=ppt/charts/_rels/chart3523.xml.rels><?xml version='1.0' encoding='UTF-8' standalone='yes'?>
<Relationships xmlns="http://schemas.openxmlformats.org/package/2006/relationships"><Relationship Id="rId1" Type="http://schemas.openxmlformats.org/officeDocument/2006/relationships/package" Target="../embeddings/Microsoft_Excel_Worksheet3522.xlsx"/></Relationships>
</file>

<file path=ppt/charts/_rels/chart3524.xml.rels><?xml version='1.0' encoding='UTF-8' standalone='yes'?>
<Relationships xmlns="http://schemas.openxmlformats.org/package/2006/relationships"><Relationship Id="rId1" Type="http://schemas.openxmlformats.org/officeDocument/2006/relationships/package" Target="../embeddings/Microsoft_Excel_Worksheet3523.xlsx"/></Relationships>
</file>

<file path=ppt/charts/_rels/chart3533.xml.rels><?xml version='1.0' encoding='UTF-8' standalone='yes'?>
<Relationships xmlns="http://schemas.openxmlformats.org/package/2006/relationships"><Relationship Id="rId1" Type="http://schemas.openxmlformats.org/officeDocument/2006/relationships/package" Target="../embeddings/Microsoft_Excel_Worksheet3532.xlsx"/></Relationships>
</file>

<file path=ppt/charts/_rels/chart3534.xml.rels><?xml version='1.0' encoding='UTF-8' standalone='yes'?>
<Relationships xmlns="http://schemas.openxmlformats.org/package/2006/relationships"><Relationship Id="rId1" Type="http://schemas.openxmlformats.org/officeDocument/2006/relationships/package" Target="../embeddings/Microsoft_Excel_Worksheet3533.xlsx"/></Relationships>
</file>

<file path=ppt/charts/_rels/chart3535.xml.rels><?xml version='1.0' encoding='UTF-8' standalone='yes'?>
<Relationships xmlns="http://schemas.openxmlformats.org/package/2006/relationships"><Relationship Id="rId1" Type="http://schemas.openxmlformats.org/officeDocument/2006/relationships/package" Target="../embeddings/Microsoft_Excel_Worksheet3534.xlsx"/></Relationships>
</file>

<file path=ppt/charts/_rels/chart3536.xml.rels><?xml version='1.0' encoding='UTF-8' standalone='yes'?>
<Relationships xmlns="http://schemas.openxmlformats.org/package/2006/relationships"><Relationship Id="rId1" Type="http://schemas.openxmlformats.org/officeDocument/2006/relationships/package" Target="../embeddings/Microsoft_Excel_Worksheet3535.xlsx"/></Relationships>
</file>

<file path=ppt/charts/_rels/chart3537.xml.rels><?xml version='1.0' encoding='UTF-8' standalone='yes'?>
<Relationships xmlns="http://schemas.openxmlformats.org/package/2006/relationships"><Relationship Id="rId1" Type="http://schemas.openxmlformats.org/officeDocument/2006/relationships/package" Target="../embeddings/Microsoft_Excel_Worksheet3536.xlsx"/></Relationships>
</file>

<file path=ppt/charts/_rels/chart3538.xml.rels><?xml version='1.0' encoding='UTF-8' standalone='yes'?>
<Relationships xmlns="http://schemas.openxmlformats.org/package/2006/relationships"><Relationship Id="rId1" Type="http://schemas.openxmlformats.org/officeDocument/2006/relationships/package" Target="../embeddings/Microsoft_Excel_Worksheet3537.xlsx"/></Relationships>
</file>

<file path=ppt/charts/_rels/chart3565.xml.rels><?xml version='1.0' encoding='UTF-8' standalone='yes'?>
<Relationships xmlns="http://schemas.openxmlformats.org/package/2006/relationships"><Relationship Id="rId1" Type="http://schemas.openxmlformats.org/officeDocument/2006/relationships/package" Target="../embeddings/Microsoft_Excel_Worksheet3564.xlsx"/></Relationships>
</file>

<file path=ppt/charts/_rels/chart3566.xml.rels><?xml version='1.0' encoding='UTF-8' standalone='yes'?>
<Relationships xmlns="http://schemas.openxmlformats.org/package/2006/relationships"><Relationship Id="rId1" Type="http://schemas.openxmlformats.org/officeDocument/2006/relationships/package" Target="../embeddings/Microsoft_Excel_Worksheet3565.xlsx"/></Relationships>
</file>

<file path=ppt/charts/_rels/chart3567.xml.rels><?xml version='1.0' encoding='UTF-8' standalone='yes'?>
<Relationships xmlns="http://schemas.openxmlformats.org/package/2006/relationships"><Relationship Id="rId1" Type="http://schemas.openxmlformats.org/officeDocument/2006/relationships/package" Target="../embeddings/Microsoft_Excel_Worksheet3566.xlsx"/></Relationships>
</file>

<file path=ppt/charts/_rels/chart3568.xml.rels><?xml version='1.0' encoding='UTF-8' standalone='yes'?>
<Relationships xmlns="http://schemas.openxmlformats.org/package/2006/relationships"><Relationship Id="rId1" Type="http://schemas.openxmlformats.org/officeDocument/2006/relationships/package" Target="../embeddings/Microsoft_Excel_Worksheet3567.xlsx"/></Relationships>
</file>

<file path=ppt/charts/_rels/chart3579.xml.rels><?xml version='1.0' encoding='UTF-8' standalone='yes'?>
<Relationships xmlns="http://schemas.openxmlformats.org/package/2006/relationships"><Relationship Id="rId1" Type="http://schemas.openxmlformats.org/officeDocument/2006/relationships/package" Target="../embeddings/Microsoft_Excel_Worksheet3578.xlsx"/></Relationships>
</file>

<file path=ppt/charts/_rels/chart3580.xml.rels><?xml version='1.0' encoding='UTF-8' standalone='yes'?>
<Relationships xmlns="http://schemas.openxmlformats.org/package/2006/relationships"><Relationship Id="rId1" Type="http://schemas.openxmlformats.org/officeDocument/2006/relationships/package" Target="../embeddings/Microsoft_Excel_Worksheet3579.xlsx"/></Relationships>
</file>

<file path=ppt/charts/_rels/chart3581.xml.rels><?xml version='1.0' encoding='UTF-8' standalone='yes'?>
<Relationships xmlns="http://schemas.openxmlformats.org/package/2006/relationships"><Relationship Id="rId1" Type="http://schemas.openxmlformats.org/officeDocument/2006/relationships/package" Target="../embeddings/Microsoft_Excel_Worksheet3580.xlsx"/></Relationships>
</file>

<file path=ppt/charts/_rels/chart3582.xml.rels><?xml version='1.0' encoding='UTF-8' standalone='yes'?>
<Relationships xmlns="http://schemas.openxmlformats.org/package/2006/relationships"><Relationship Id="rId1" Type="http://schemas.openxmlformats.org/officeDocument/2006/relationships/package" Target="../embeddings/Microsoft_Excel_Worksheet3581.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597.xml.rels><?xml version='1.0' encoding='UTF-8' standalone='yes'?>
<Relationships xmlns="http://schemas.openxmlformats.org/package/2006/relationships"><Relationship Id="rId1" Type="http://schemas.openxmlformats.org/officeDocument/2006/relationships/package" Target="../embeddings/Microsoft_Excel_Worksheet3596.xlsx"/></Relationships>
</file>

<file path=ppt/charts/_rels/chart3598.xml.rels><?xml version='1.0' encoding='UTF-8' standalone='yes'?>
<Relationships xmlns="http://schemas.openxmlformats.org/package/2006/relationships"><Relationship Id="rId1" Type="http://schemas.openxmlformats.org/officeDocument/2006/relationships/package" Target="../embeddings/Microsoft_Excel_Worksheet3597.xlsx"/></Relationships>
</file>

<file path=ppt/charts/_rels/chart3599.xml.rels><?xml version='1.0' encoding='UTF-8' standalone='yes'?>
<Relationships xmlns="http://schemas.openxmlformats.org/package/2006/relationships"><Relationship Id="rId1" Type="http://schemas.openxmlformats.org/officeDocument/2006/relationships/package" Target="../embeddings/Microsoft_Excel_Worksheet3598.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00.xml.rels><?xml version='1.0' encoding='UTF-8' standalone='yes'?>
<Relationships xmlns="http://schemas.openxmlformats.org/package/2006/relationships"><Relationship Id="rId1" Type="http://schemas.openxmlformats.org/officeDocument/2006/relationships/package" Target="../embeddings/Microsoft_Excel_Worksheet359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11.xml.rels><?xml version='1.0' encoding='UTF-8' standalone='yes'?>
<Relationships xmlns="http://schemas.openxmlformats.org/package/2006/relationships"><Relationship Id="rId1" Type="http://schemas.openxmlformats.org/officeDocument/2006/relationships/package" Target="../embeddings/Microsoft_Excel_Worksheet3610.xlsx"/></Relationships>
</file>

<file path=ppt/charts/_rels/chart3612.xml.rels><?xml version='1.0' encoding='UTF-8' standalone='yes'?>
<Relationships xmlns="http://schemas.openxmlformats.org/package/2006/relationships"><Relationship Id="rId1" Type="http://schemas.openxmlformats.org/officeDocument/2006/relationships/package" Target="../embeddings/Microsoft_Excel_Worksheet3611.xlsx"/></Relationships>
</file>

<file path=ppt/charts/_rels/chart3613.xml.rels><?xml version='1.0' encoding='UTF-8' standalone='yes'?>
<Relationships xmlns="http://schemas.openxmlformats.org/package/2006/relationships"><Relationship Id="rId1" Type="http://schemas.openxmlformats.org/officeDocument/2006/relationships/package" Target="../embeddings/Microsoft_Excel_Worksheet3612.xlsx"/></Relationships>
</file>

<file path=ppt/charts/_rels/chart3614.xml.rels><?xml version='1.0' encoding='UTF-8' standalone='yes'?>
<Relationships xmlns="http://schemas.openxmlformats.org/package/2006/relationships"><Relationship Id="rId1" Type="http://schemas.openxmlformats.org/officeDocument/2006/relationships/package" Target="../embeddings/Microsoft_Excel_Worksheet3613.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29.xml.rels><?xml version='1.0' encoding='UTF-8' standalone='yes'?>
<Relationships xmlns="http://schemas.openxmlformats.org/package/2006/relationships"><Relationship Id="rId1" Type="http://schemas.openxmlformats.org/officeDocument/2006/relationships/package" Target="../embeddings/Microsoft_Excel_Worksheet3628.xlsx"/></Relationships>
</file>

<file path=ppt/charts/_rels/chart3630.xml.rels><?xml version='1.0' encoding='UTF-8' standalone='yes'?>
<Relationships xmlns="http://schemas.openxmlformats.org/package/2006/relationships"><Relationship Id="rId1" Type="http://schemas.openxmlformats.org/officeDocument/2006/relationships/package" Target="../embeddings/Microsoft_Excel_Worksheet3629.xlsx"/></Relationships>
</file>

<file path=ppt/charts/_rels/chart3641.xml.rels><?xml version='1.0' encoding='UTF-8' standalone='yes'?>
<Relationships xmlns="http://schemas.openxmlformats.org/package/2006/relationships"><Relationship Id="rId1" Type="http://schemas.openxmlformats.org/officeDocument/2006/relationships/package" Target="../embeddings/Microsoft_Excel_Worksheet3640.xlsx"/></Relationships>
</file>

<file path=ppt/charts/_rels/chart3642.xml.rels><?xml version='1.0' encoding='UTF-8' standalone='yes'?>
<Relationships xmlns="http://schemas.openxmlformats.org/package/2006/relationships"><Relationship Id="rId1" Type="http://schemas.openxmlformats.org/officeDocument/2006/relationships/package" Target="../embeddings/Microsoft_Excel_Worksheet3641.xlsx"/></Relationships>
</file>

<file path=ppt/charts/_rels/chart3643.xml.rels><?xml version='1.0' encoding='UTF-8' standalone='yes'?>
<Relationships xmlns="http://schemas.openxmlformats.org/package/2006/relationships"><Relationship Id="rId1" Type="http://schemas.openxmlformats.org/officeDocument/2006/relationships/package" Target="../embeddings/Microsoft_Excel_Worksheet3642.xlsx"/></Relationships>
</file>

<file path=ppt/charts/_rels/chart3644.xml.rels><?xml version='1.0' encoding='UTF-8' standalone='yes'?>
<Relationships xmlns="http://schemas.openxmlformats.org/package/2006/relationships"><Relationship Id="rId1" Type="http://schemas.openxmlformats.org/officeDocument/2006/relationships/package" Target="../embeddings/Microsoft_Excel_Worksheet3643.xlsx"/></Relationships>
</file>

<file path=ppt/charts/_rels/chart3645.xml.rels><?xml version='1.0' encoding='UTF-8' standalone='yes'?>
<Relationships xmlns="http://schemas.openxmlformats.org/package/2006/relationships"><Relationship Id="rId1" Type="http://schemas.openxmlformats.org/officeDocument/2006/relationships/package" Target="../embeddings/Microsoft_Excel_Worksheet3644.xlsx"/></Relationships>
</file>

<file path=ppt/charts/_rels/chart3646.xml.rels><?xml version='1.0' encoding='UTF-8' standalone='yes'?>
<Relationships xmlns="http://schemas.openxmlformats.org/package/2006/relationships"><Relationship Id="rId1" Type="http://schemas.openxmlformats.org/officeDocument/2006/relationships/package" Target="../embeddings/Microsoft_Excel_Worksheet3645.xlsx"/></Relationships>
</file>

<file path=ppt/charts/_rels/chart3655.xml.rels><?xml version='1.0' encoding='UTF-8' standalone='yes'?>
<Relationships xmlns="http://schemas.openxmlformats.org/package/2006/relationships"><Relationship Id="rId1" Type="http://schemas.openxmlformats.org/officeDocument/2006/relationships/package" Target="../embeddings/Microsoft_Excel_Worksheet3654.xlsx"/></Relationships>
</file>

<file path=ppt/charts/_rels/chart3656.xml.rels><?xml version='1.0' encoding='UTF-8' standalone='yes'?>
<Relationships xmlns="http://schemas.openxmlformats.org/package/2006/relationships"><Relationship Id="rId1" Type="http://schemas.openxmlformats.org/officeDocument/2006/relationships/package" Target="../embeddings/Microsoft_Excel_Worksheet3655.xlsx"/></Relationships>
</file>

<file path=ppt/charts/_rels/chart3657.xml.rels><?xml version='1.0' encoding='UTF-8' standalone='yes'?>
<Relationships xmlns="http://schemas.openxmlformats.org/package/2006/relationships"><Relationship Id="rId1" Type="http://schemas.openxmlformats.org/officeDocument/2006/relationships/package" Target="../embeddings/Microsoft_Excel_Worksheet3656.xlsx"/></Relationships>
</file>

<file path=ppt/charts/_rels/chart3658.xml.rels><?xml version='1.0' encoding='UTF-8' standalone='yes'?>
<Relationships xmlns="http://schemas.openxmlformats.org/package/2006/relationships"><Relationship Id="rId1" Type="http://schemas.openxmlformats.org/officeDocument/2006/relationships/package" Target="../embeddings/Microsoft_Excel_Worksheet3657.xlsx"/></Relationships>
</file>

<file path=ppt/charts/_rels/chart3671.xml.rels><?xml version='1.0' encoding='UTF-8' standalone='yes'?>
<Relationships xmlns="http://schemas.openxmlformats.org/package/2006/relationships"><Relationship Id="rId1" Type="http://schemas.openxmlformats.org/officeDocument/2006/relationships/package" Target="../embeddings/Microsoft_Excel_Worksheet3670.xlsx"/></Relationships>
</file>

<file path=ppt/charts/_rels/chart3672.xml.rels><?xml version='1.0' encoding='UTF-8' standalone='yes'?>
<Relationships xmlns="http://schemas.openxmlformats.org/package/2006/relationships"><Relationship Id="rId1" Type="http://schemas.openxmlformats.org/officeDocument/2006/relationships/package" Target="../embeddings/Microsoft_Excel_Worksheet3671.xlsx"/></Relationships>
</file>

<file path=ppt/charts/_rels/chart3685.xml.rels><?xml version='1.0' encoding='UTF-8' standalone='yes'?>
<Relationships xmlns="http://schemas.openxmlformats.org/package/2006/relationships"><Relationship Id="rId1" Type="http://schemas.openxmlformats.org/officeDocument/2006/relationships/package" Target="../embeddings/Microsoft_Excel_Worksheet3684.xlsx"/></Relationships>
</file>

<file path=ppt/charts/_rels/chart3686.xml.rels><?xml version='1.0' encoding='UTF-8' standalone='yes'?>
<Relationships xmlns="http://schemas.openxmlformats.org/package/2006/relationships"><Relationship Id="rId1" Type="http://schemas.openxmlformats.org/officeDocument/2006/relationships/package" Target="../embeddings/Microsoft_Excel_Worksheet3685.xlsx"/></Relationships>
</file>

<file path=ppt/charts/_rels/chart3687.xml.rels><?xml version='1.0' encoding='UTF-8' standalone='yes'?>
<Relationships xmlns="http://schemas.openxmlformats.org/package/2006/relationships"><Relationship Id="rId1" Type="http://schemas.openxmlformats.org/officeDocument/2006/relationships/package" Target="../embeddings/Microsoft_Excel_Worksheet3686.xlsx"/></Relationships>
</file>

<file path=ppt/charts/_rels/chart3688.xml.rels><?xml version='1.0' encoding='UTF-8' standalone='yes'?>
<Relationships xmlns="http://schemas.openxmlformats.org/package/2006/relationships"><Relationship Id="rId1" Type="http://schemas.openxmlformats.org/officeDocument/2006/relationships/package" Target="../embeddings/Microsoft_Excel_Worksheet3687.xlsx"/></Relationships>
</file>

<file path=ppt/charts/_rels/chart3689.xml.rels><?xml version='1.0' encoding='UTF-8' standalone='yes'?>
<Relationships xmlns="http://schemas.openxmlformats.org/package/2006/relationships"><Relationship Id="rId1" Type="http://schemas.openxmlformats.org/officeDocument/2006/relationships/package" Target="../embeddings/Microsoft_Excel_Worksheet3688.xlsx"/></Relationships>
</file>

<file path=ppt/charts/_rels/chart3690.xml.rels><?xml version='1.0' encoding='UTF-8' standalone='yes'?>
<Relationships xmlns="http://schemas.openxmlformats.org/package/2006/relationships"><Relationship Id="rId1" Type="http://schemas.openxmlformats.org/officeDocument/2006/relationships/package" Target="../embeddings/Microsoft_Excel_Worksheet3689.xlsx"/></Relationships>
</file>

<file path=ppt/charts/_rels/chart3699.xml.rels><?xml version='1.0' encoding='UTF-8' standalone='yes'?>
<Relationships xmlns="http://schemas.openxmlformats.org/package/2006/relationships"><Relationship Id="rId1" Type="http://schemas.openxmlformats.org/officeDocument/2006/relationships/package" Target="../embeddings/Microsoft_Excel_Worksheet3698.xlsx"/></Relationships>
</file>

<file path=ppt/charts/_rels/chart3700.xml.rels><?xml version='1.0' encoding='UTF-8' standalone='yes'?>
<Relationships xmlns="http://schemas.openxmlformats.org/package/2006/relationships"><Relationship Id="rId1" Type="http://schemas.openxmlformats.org/officeDocument/2006/relationships/package" Target="../embeddings/Microsoft_Excel_Worksheet3699.xlsx"/></Relationships>
</file>

<file path=ppt/charts/_rels/chart3701.xml.rels><?xml version='1.0' encoding='UTF-8' standalone='yes'?>
<Relationships xmlns="http://schemas.openxmlformats.org/package/2006/relationships"><Relationship Id="rId1" Type="http://schemas.openxmlformats.org/officeDocument/2006/relationships/package" Target="../embeddings/Microsoft_Excel_Worksheet3700.xlsx"/></Relationships>
</file>

<file path=ppt/charts/_rels/chart3702.xml.rels><?xml version='1.0' encoding='UTF-8' standalone='yes'?>
<Relationships xmlns="http://schemas.openxmlformats.org/package/2006/relationships"><Relationship Id="rId1" Type="http://schemas.openxmlformats.org/officeDocument/2006/relationships/package" Target="../embeddings/Microsoft_Excel_Worksheet3701.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13.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3712.xlsx"/></Relationships>
</file>

<file path=ppt/charts/_rels/chart3714.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3713.xlsx"/></Relationships>
</file>

<file path=ppt/charts/_rels/chart3715.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3714.xlsx"/></Relationships>
</file>

<file path=ppt/charts/_rels/chart3716.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3715.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43.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742.xlsx"/></Relationships>
</file>

<file path=ppt/charts/_rels/chart3744.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743.xlsx"/></Relationships>
</file>

<file path=ppt/charts/_rels/chart3745.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3744.xlsx"/></Relationships>
</file>

<file path=ppt/charts/_rels/chart3746.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3745.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57.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3756.xlsx"/></Relationships>
</file>

<file path=ppt/charts/_rels/chart3758.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3757.xlsx"/></Relationships>
</file>

<file path=ppt/charts/_rels/chart3759.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3758.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60.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3759.xlsx"/></Relationships>
</file>

<file path=ppt/charts/_rels/chart3771.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3770.xlsx"/></Relationships>
</file>

<file path=ppt/charts/_rels/chart3772.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3771.xlsx"/></Relationships>
</file>

<file path=ppt/charts/_rels/chart3773.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3772.xlsx"/></Relationships>
</file>

<file path=ppt/charts/_rels/chart3774.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3773.xlsx"/></Relationships>
</file>

<file path=ppt/charts/_rels/chart3787.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3786.xlsx"/></Relationships>
</file>

<file path=ppt/charts/_rels/chart3788.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3787.xlsx"/></Relationships>
</file>

<file path=ppt/charts/_rels/chart3789.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3788.xlsx"/></Relationships>
</file>

<file path=ppt/charts/_rels/chart3790.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3789.xlsx"/></Relationships>
</file>

<file path=ppt/charts/_rels/chart3791.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3790.xlsx"/></Relationships>
</file>

<file path=ppt/charts/_rels/chart3792.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3791.xlsx"/></Relationships>
</file>

<file path=ppt/charts/_rels/chart3807.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3806.xlsx"/></Relationships>
</file>

<file path=ppt/charts/_rels/chart3808.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3807.xlsx"/></Relationships>
</file>

<file path=ppt/charts/_rels/chart3809.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3808.xlsx"/></Relationships>
</file>

<file path=ppt/charts/_rels/chart3810.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3809.xlsx"/></Relationships>
</file>

<file path=ppt/charts/_rels/chart3819.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3818.xlsx"/></Relationships>
</file>

<file path=ppt/charts/_rels/chart3820.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3819.xlsx"/></Relationships>
</file>

<file path=ppt/charts/_rels/chart3821.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3820.xlsx"/></Relationships>
</file>

<file path=ppt/charts/_rels/chart3822.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3821.xlsx"/></Relationships>
</file>

<file path=ppt/charts/_rels/chart3823.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3822.xlsx"/></Relationships>
</file>

<file path=ppt/charts/_rels/chart3824.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3823.xlsx"/></Relationships>
</file>

<file path=ppt/charts/_rels/chart3833.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3832.xlsx"/></Relationships>
</file>

<file path=ppt/charts/_rels/chart3834.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3833.xlsx"/></Relationships>
</file>

<file path=ppt/charts/_rels/chart3835.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3834.xlsx"/></Relationships>
</file>

<file path=ppt/charts/_rels/chart3836.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3835.xlsx"/></Relationships>
</file>

<file path=ppt/charts/_rels/chart3865.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3864.xlsx"/></Relationships>
</file>

<file path=ppt/charts/_rels/chart3866.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3865.xlsx"/></Relationships>
</file>

<file path=ppt/charts/_rels/chart3867.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3866.xlsx"/></Relationships>
</file>

<file path=ppt/charts/_rels/chart3868.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3867.xlsx"/></Relationships>
</file>

<file path=ppt/charts/_rels/chart3877.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3876.xlsx"/></Relationships>
</file>

<file path=ppt/charts/_rels/chart3878.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3877.xlsx"/></Relationships>
</file>

<file path=ppt/charts/_rels/chart3879.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3878.xlsx"/></Relationships>
</file>

<file path=ppt/charts/_rels/chart3880.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3879.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891.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3890.xlsx"/></Relationships>
</file>

<file path=ppt/charts/_rels/chart3892.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3891.xlsx"/></Relationships>
</file>

<file path=ppt/charts/_rels/chart3893.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3892.xlsx"/></Relationships>
</file>

<file path=ppt/charts/_rels/chart3894.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3893.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09.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3908.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10.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3909.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21.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3920.xlsx"/></Relationships>
</file>

<file path=ppt/charts/_rels/chart3922.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3921.xlsx"/></Relationships>
</file>

<file path=ppt/charts/_rels/chart3923.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3922.xlsx"/></Relationships>
</file>

<file path=ppt/charts/_rels/chart3924.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3923.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35.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3934.xlsx"/></Relationships>
</file>

<file path=ppt/charts/_rels/chart3936.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3935.xlsx"/></Relationships>
</file>

<file path=ppt/charts/_rels/chart3937.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3936.xlsx"/></Relationships>
</file>

<file path=ppt/charts/_rels/chart3938.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3937.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1.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3950.xlsx"/></Relationships>
</file>

<file path=ppt/charts/_rels/chart3952.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3951.xlsx"/></Relationships>
</file>

<file path=ppt/charts/_rels/chart3965.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3964.xlsx"/></Relationships>
</file>

<file path=ppt/charts/_rels/chart3966.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3965.xlsx"/></Relationships>
</file>

<file path=ppt/charts/_rels/chart3967.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3966.xlsx"/></Relationships>
</file>

<file path=ppt/charts/_rels/chart3968.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3967.xlsx"/></Relationships>
</file>

<file path=ppt/charts/_rels/chart3969.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3968.xlsx"/></Relationships>
</file>

<file path=ppt/charts/_rels/chart3970.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3969.xlsx"/></Relationships>
</file>

<file path=ppt/charts/_rels/chart3979.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3978.xlsx"/></Relationships>
</file>

<file path=ppt/charts/_rels/chart3980.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3979.xlsx"/></Relationships>
</file>

<file path=ppt/charts/_rels/chart3981.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3980.xlsx"/></Relationships>
</file>

<file path=ppt/charts/_rels/chart3982.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3981.xlsx"/></Relationships>
</file>

<file path=ppt/charts/_rels/chart3991.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3990.xlsx"/></Relationships>
</file>

<file path=ppt/charts/_rels/chart3992.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399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07.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4006.xlsx"/></Relationships>
</file>

<file path=ppt/charts/_rels/chart4008.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4007.xlsx"/></Relationships>
</file>

<file path=ppt/charts/_rels/chart4009.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4008.xlsx"/></Relationships>
</file>

<file path=ppt/charts/_rels/chart4010.xml.rels><?xml version='1.0' encoding='UTF-8' standalone='yes'?>
<Relationships xmlns="http://schemas.openxmlformats.org/package/2006/relationships"><Relationship Id="rId1" Type="http://schemas.microsoft.com/office/2011/relationships/chartStyle" Target="style306.xml"/><Relationship Id="rId2" Type="http://schemas.microsoft.com/office/2011/relationships/chartColorStyle" Target="colors306.xml"/><Relationship Id="rId3" Type="http://schemas.openxmlformats.org/officeDocument/2006/relationships/package" Target="../embeddings/Microsoft_Excel_Worksheet4009.xlsx"/></Relationships>
</file>

<file path=ppt/charts/_rels/chart4019.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4018.xlsx"/></Relationships>
</file>

<file path=ppt/charts/_rels/chart4020.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4019.xlsx"/></Relationships>
</file>

<file path=ppt/charts/_rels/chart4021.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4020.xlsx"/></Relationships>
</file>

<file path=ppt/charts/_rels/chart4022.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4021.xlsx"/></Relationships>
</file>

<file path=ppt/charts/_rels/chart4023.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4022.xlsx"/></Relationships>
</file>

<file path=ppt/charts/_rels/chart4024.xml.rels><?xml version='1.0' encoding='UTF-8' standalone='yes'?>
<Relationships xmlns="http://schemas.openxmlformats.org/package/2006/relationships"><Relationship Id="rId1" Type="http://schemas.microsoft.com/office/2011/relationships/chartStyle" Target="style320.xml"/><Relationship Id="rId2" Type="http://schemas.microsoft.com/office/2011/relationships/chartColorStyle" Target="colors320.xml"/><Relationship Id="rId3" Type="http://schemas.openxmlformats.org/officeDocument/2006/relationships/package" Target="../embeddings/Microsoft_Excel_Worksheet4023.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26</c:v>
                </c:pt>
                <c:pt idx="1">
                  <c:v>0.000911</c:v>
                </c:pt>
                <c:pt idx="2">
                  <c:v>0.000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667</c:v>
                </c:pt>
                <c:pt idx="1">
                  <c:v>0.019908</c:v>
                </c:pt>
                <c:pt idx="2">
                  <c:v>0.01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72</c:v>
                </c:pt>
                <c:pt idx="1">
                  <c:v>0.000704</c:v>
                </c:pt>
                <c:pt idx="2">
                  <c:v>0.0005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023</c:v>
                </c:pt>
                <c:pt idx="1">
                  <c:v>0.014618</c:v>
                </c:pt>
                <c:pt idx="2">
                  <c:v>0.0117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23</c:v>
                </c:pt>
                <c:pt idx="1">
                  <c:v>0.000897</c:v>
                </c:pt>
                <c:pt idx="2">
                  <c:v>0.0004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006</c:v>
                </c:pt>
                <c:pt idx="1">
                  <c:v>0.018206</c:v>
                </c:pt>
                <c:pt idx="2">
                  <c:v>0.0102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25</c:v>
                </c:pt>
                <c:pt idx="1">
                  <c:v>0.000506</c:v>
                </c:pt>
                <c:pt idx="2">
                  <c:v>0.0003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25</c:v>
                </c:pt>
                <c:pt idx="1">
                  <c:v>0.009731</c:v>
                </c:pt>
                <c:pt idx="2">
                  <c:v>0.0086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5796</c:v>
                </c:pt>
                <c:pt idx="1">
                  <c:v>0.328207</c:v>
                </c:pt>
                <c:pt idx="2">
                  <c:v>0.137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22297</c:v>
                </c:pt>
                <c:pt idx="1">
                  <c:v>4.634288</c:v>
                </c:pt>
                <c:pt idx="2">
                  <c:v>2.0021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762998</c:v>
                </c:pt>
                <c:pt idx="1">
                  <c:v>23.311129</c:v>
                </c:pt>
                <c:pt idx="2">
                  <c:v>11.5034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0</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478251</c:v>
                </c:pt>
                <c:pt idx="1">
                  <c:v>19.024683</c:v>
                </c:pt>
                <c:pt idx="2">
                  <c:v>10.05584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453514</c:v>
                </c:pt>
                <c:pt idx="1">
                  <c:v>5.543535</c:v>
                </c:pt>
                <c:pt idx="2">
                  <c:v>2.55580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64208</c:v>
                </c:pt>
                <c:pt idx="1">
                  <c:v>2.659136</c:v>
                </c:pt>
                <c:pt idx="2">
                  <c:v>1.3796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107494</c:v>
                </c:pt>
                <c:pt idx="1">
                  <c:v>2.652072</c:v>
                </c:pt>
                <c:pt idx="2">
                  <c:v>1.31313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8</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773491</c:v>
                </c:pt>
                <c:pt idx="1">
                  <c:v>8.832823</c:v>
                </c:pt>
                <c:pt idx="2">
                  <c:v>4.25757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939366</c:v>
                </c:pt>
                <c:pt idx="1">
                  <c:v>2.282822</c:v>
                </c:pt>
                <c:pt idx="2">
                  <c:v>1.14932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8167</c:v>
                </c:pt>
                <c:pt idx="1">
                  <c:v>1.891023</c:v>
                </c:pt>
                <c:pt idx="2">
                  <c:v>0.8994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5</a:t>
                    </a:r>
                  </a:p>
                </c:rich>
              </c:tx>
              <c:showLegendKey val="0"/>
              <c:showVal val="1"/>
              <c:showCatName val="0"/>
              <c:showSerName val="0"/>
              <c:showPercent val="0"/>
              <c:showBubbleSize val="0"/>
            </c:dLbl>
            <c:dLbl>
              <c:idx val="2"/>
              <c:tx>
                <c:rich>
                  <a:bodyPr/>
                  <a:lstStyle/>
                  <a:p>
                    <a:r>
                      <a:rPr>
                        <a:solidFill>
                          <a:srgbClr val="FFFFFF"/>
                        </a:solidFill>
                      </a:rPr>
                      <a:t>2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7.60854</c:v>
                </c:pt>
                <c:pt idx="1">
                  <c:v>41.465592</c:v>
                </c:pt>
                <c:pt idx="2">
                  <c:v>20.13249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55.0</a:t>
                    </a:r>
                  </a:p>
                </c:rich>
              </c:tx>
              <c:showLegendKey val="0"/>
              <c:showVal val="1"/>
              <c:showCatName val="0"/>
              <c:showSerName val="0"/>
              <c:showPercent val="0"/>
              <c:showBubbleSize val="0"/>
            </c:dLbl>
            <c:dLbl>
              <c:idx val="1"/>
              <c:tx>
                <c:rich>
                  <a:bodyPr/>
                  <a:lstStyle/>
                  <a:p>
                    <a:r>
                      <a:rPr>
                        <a:solidFill>
                          <a:srgbClr val="FFFFFF"/>
                        </a:solidFill>
                      </a:rPr>
                      <a:t>132.4</a:t>
                    </a:r>
                  </a:p>
                </c:rich>
              </c:tx>
              <c:showLegendKey val="0"/>
              <c:showVal val="1"/>
              <c:showCatName val="0"/>
              <c:showSerName val="0"/>
              <c:showPercent val="0"/>
              <c:showBubbleSize val="0"/>
            </c:dLbl>
            <c:dLbl>
              <c:idx val="2"/>
              <c:tx>
                <c:rich>
                  <a:bodyPr/>
                  <a:lstStyle/>
                  <a:p>
                    <a:r>
                      <a:rPr>
                        <a:solidFill>
                          <a:srgbClr val="FFFFFF"/>
                        </a:solidFill>
                      </a:rPr>
                      <a:t>6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4.951818</c:v>
                </c:pt>
                <c:pt idx="1">
                  <c:v>132.370548</c:v>
                </c:pt>
                <c:pt idx="2">
                  <c:v>65.984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tx>
                <c:rich>
                  <a:bodyPr/>
                  <a:lstStyle/>
                  <a:p>
                    <a:r>
                      <a:rPr>
                        <a:solidFill>
                          <a:srgbClr val="FFFFFF"/>
                        </a:solidFill>
                      </a:rPr>
                      <a:t>16.5</a:t>
                    </a:r>
                  </a:p>
                </c:rich>
              </c:tx>
              <c:showLegendKey val="0"/>
              <c:showVal val="1"/>
              <c:showCatName val="0"/>
              <c:showSerName val="0"/>
              <c:showPercent val="0"/>
              <c:showBubbleSize val="0"/>
            </c:dLbl>
            <c:dLbl>
              <c:idx val="1"/>
              <c:tx>
                <c:rich>
                  <a:bodyPr/>
                  <a:lstStyle/>
                  <a:p>
                    <a:r>
                      <a:rPr>
                        <a:solidFill>
                          <a:srgbClr val="FFFFFF"/>
                        </a:solidFill>
                      </a:rPr>
                      <a:t>39.5</a:t>
                    </a:r>
                  </a:p>
                </c:rich>
              </c:tx>
              <c:showLegendKey val="0"/>
              <c:showVal val="1"/>
              <c:showCatName val="0"/>
              <c:showSerName val="0"/>
              <c:showPercent val="0"/>
              <c:showBubbleSize val="0"/>
            </c:dLbl>
            <c:dLbl>
              <c:idx val="2"/>
              <c:tx>
                <c:rich>
                  <a:bodyPr/>
                  <a:lstStyle/>
                  <a:p>
                    <a:r>
                      <a:rPr>
                        <a:solidFill>
                          <a:srgbClr val="FFFFFF"/>
                        </a:solidFill>
                      </a:rPr>
                      <a:t>1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48977</c:v>
                </c:pt>
                <c:pt idx="1">
                  <c:v>39.549785</c:v>
                </c:pt>
                <c:pt idx="2">
                  <c:v>19.61789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a:solidFill>
                          <a:srgbClr val="FFFFFF"/>
                        </a:solidFill>
                      </a:rPr>
                      <a:t>15.5</a:t>
                    </a:r>
                  </a:p>
                </c:rich>
              </c:tx>
              <c:showLegendKey val="0"/>
              <c:showVal val="1"/>
              <c:showCatName val="0"/>
              <c:showSerName val="0"/>
              <c:showPercent val="0"/>
              <c:showBubbleSize val="0"/>
            </c:dLbl>
            <c:dLbl>
              <c:idx val="1"/>
              <c:tx>
                <c:rich>
                  <a:bodyPr/>
                  <a:lstStyle/>
                  <a:p>
                    <a:r>
                      <a:rPr>
                        <a:solidFill>
                          <a:srgbClr val="FFFFFF"/>
                        </a:solidFill>
                      </a:rPr>
                      <a:t>35.7</a:t>
                    </a:r>
                  </a:p>
                </c:rich>
              </c:tx>
              <c:showLegendKey val="0"/>
              <c:showVal val="1"/>
              <c:showCatName val="0"/>
              <c:showSerName val="0"/>
              <c:showPercent val="0"/>
              <c:showBubbleSize val="0"/>
            </c:dLbl>
            <c:dLbl>
              <c:idx val="2"/>
              <c:tx>
                <c:rich>
                  <a:bodyPr/>
                  <a:lstStyle/>
                  <a:p>
                    <a:r>
                      <a:rPr>
                        <a:solidFill>
                          <a:srgbClr val="FFFFFF"/>
                        </a:solidFill>
                      </a:rPr>
                      <a:t>1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546992</c:v>
                </c:pt>
                <c:pt idx="1">
                  <c:v>35.692897</c:v>
                </c:pt>
                <c:pt idx="2">
                  <c:v>16.79733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25.5</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331134</c:v>
                </c:pt>
                <c:pt idx="1">
                  <c:v>25.474872</c:v>
                </c:pt>
                <c:pt idx="2">
                  <c:v>13.03223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20.9</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8.584935</c:v>
                </c:pt>
                <c:pt idx="1">
                  <c:v>20.866973</c:v>
                </c:pt>
                <c:pt idx="2">
                  <c:v>10.50788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20.1</a:t>
                    </a:r>
                  </a:p>
                </c:rich>
              </c:tx>
              <c:showLegendKey val="0"/>
              <c:showVal val="1"/>
              <c:showCatName val="0"/>
              <c:showSerName val="0"/>
              <c:showPercent val="0"/>
              <c:showBubbleSize val="0"/>
            </c:dLbl>
            <c:dLbl>
              <c:idx val="2"/>
              <c:tx>
                <c:rich>
                  <a:bodyPr/>
                  <a:lstStyle/>
                  <a:p>
                    <a:r>
                      <a:rPr>
                        <a:solidFill>
                          <a:srgbClr val="FFFFFF"/>
                        </a:solidFill>
                      </a:rPr>
                      <a:t>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8.597145</c:v>
                </c:pt>
                <c:pt idx="1">
                  <c:v>20.054477</c:v>
                </c:pt>
                <c:pt idx="2">
                  <c:v>9.62617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a:solidFill>
                          <a:srgbClr val="FFFFFF"/>
                        </a:solidFill>
                      </a:rPr>
                      <a:t>6.6</a:t>
                    </a:r>
                  </a:p>
                </c:rich>
              </c:tx>
              <c:showLegendKey val="0"/>
              <c:showVal val="1"/>
              <c:showCatName val="0"/>
              <c:showSerName val="0"/>
              <c:showPercent val="0"/>
              <c:showBubbleSize val="0"/>
            </c:dLbl>
            <c:dLbl>
              <c:idx val="1"/>
              <c:tx>
                <c:rich>
                  <a:bodyPr/>
                  <a:lstStyle/>
                  <a:p>
                    <a:r>
                      <a:rPr>
                        <a:solidFill>
                          <a:srgbClr val="FFFFFF"/>
                        </a:solidFill>
                      </a:rPr>
                      <a:t>16.5</a:t>
                    </a:r>
                  </a:p>
                </c:rich>
              </c:tx>
              <c:showLegendKey val="0"/>
              <c:showVal val="1"/>
              <c:showCatName val="0"/>
              <c:showSerName val="0"/>
              <c:showPercent val="0"/>
              <c:showBubbleSize val="0"/>
            </c:dLbl>
            <c:dLbl>
              <c:idx val="2"/>
              <c:tx>
                <c:rich>
                  <a:bodyPr/>
                  <a:lstStyle/>
                  <a:p>
                    <a:r>
                      <a:rPr>
                        <a:solidFill>
                          <a:srgbClr val="FFFFFF"/>
                        </a:solidFill>
                      </a:rPr>
                      <a:t>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6.640853</c:v>
                </c:pt>
                <c:pt idx="1">
                  <c:v>16.480931</c:v>
                </c:pt>
                <c:pt idx="2">
                  <c:v>8.48966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a:solidFill>
                          <a:srgbClr val="FFFFFF"/>
                        </a:solidFill>
                      </a:rPr>
                      <a:t>7.1</a:t>
                    </a:r>
                  </a:p>
                </c:rich>
              </c:tx>
              <c:showLegendKey val="0"/>
              <c:showVal val="1"/>
              <c:showCatName val="0"/>
              <c:showSerName val="0"/>
              <c:showPercent val="0"/>
              <c:showBubbleSize val="0"/>
            </c:dLbl>
            <c:dLbl>
              <c:idx val="1"/>
              <c:tx>
                <c:rich>
                  <a:bodyPr/>
                  <a:lstStyle/>
                  <a:p>
                    <a:r>
                      <a:rPr>
                        <a:solidFill>
                          <a:srgbClr val="FFFFFF"/>
                        </a:solidFill>
                      </a:rPr>
                      <a:t>16.4</a:t>
                    </a:r>
                  </a:p>
                </c:rich>
              </c:tx>
              <c:showLegendKey val="0"/>
              <c:showVal val="1"/>
              <c:showCatName val="0"/>
              <c:showSerName val="0"/>
              <c:showPercent val="0"/>
              <c:showBubbleSize val="0"/>
            </c:dLbl>
            <c:dLbl>
              <c:idx val="2"/>
              <c:tx>
                <c:rich>
                  <a:bodyPr/>
                  <a:lstStyle/>
                  <a:p>
                    <a:r>
                      <a:rPr>
                        <a:solidFill>
                          <a:srgbClr val="FFFFFF"/>
                        </a:solidFill>
                      </a:rPr>
                      <a:t>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125517</c:v>
                </c:pt>
                <c:pt idx="1">
                  <c:v>16.422905</c:v>
                </c:pt>
                <c:pt idx="2">
                  <c:v>7.76682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97.1</a:t>
                    </a:r>
                  </a:p>
                </c:rich>
              </c:tx>
              <c:showLegendKey val="0"/>
              <c:showVal val="1"/>
              <c:showCatName val="0"/>
              <c:showSerName val="0"/>
              <c:showPercent val="0"/>
              <c:showBubbleSize val="0"/>
            </c:dLbl>
            <c:dLbl>
              <c:idx val="1"/>
              <c:tx>
                <c:rich>
                  <a:bodyPr/>
                  <a:lstStyle/>
                  <a:p>
                    <a:r>
                      <a:rPr>
                        <a:solidFill>
                          <a:srgbClr val="FFFFFF"/>
                        </a:solidFill>
                      </a:rPr>
                      <a:t>231.9</a:t>
                    </a:r>
                  </a:p>
                </c:rich>
              </c:tx>
              <c:showLegendKey val="0"/>
              <c:showVal val="1"/>
              <c:showCatName val="0"/>
              <c:showSerName val="0"/>
              <c:showPercent val="0"/>
              <c:showBubbleSize val="0"/>
            </c:dLbl>
            <c:dLbl>
              <c:idx val="2"/>
              <c:tx>
                <c:rich>
                  <a:bodyPr/>
                  <a:lstStyle/>
                  <a:p>
                    <a:r>
                      <a:rPr>
                        <a:solidFill>
                          <a:srgbClr val="FFFFFF"/>
                        </a:solidFill>
                      </a:rPr>
                      <a:t>11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97.057638</c:v>
                </c:pt>
                <c:pt idx="1">
                  <c:v>231.935306</c:v>
                </c:pt>
                <c:pt idx="2">
                  <c:v>114.563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6</c:v>
                </c:pt>
                <c:pt idx="1">
                  <c:v>0.001875</c:v>
                </c:pt>
                <c:pt idx="2">
                  <c:v>0.0002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89</c:v>
                </c:pt>
                <c:pt idx="1">
                  <c:v>0.000505</c:v>
                </c:pt>
                <c:pt idx="2">
                  <c:v>0.0001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77</c:v>
                </c:pt>
                <c:pt idx="1">
                  <c:v>0.000852</c:v>
                </c:pt>
                <c:pt idx="2">
                  <c:v>0.000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615</c:v>
                </c:pt>
                <c:pt idx="1">
                  <c:v>0.00052</c:v>
                </c:pt>
                <c:pt idx="2">
                  <c:v>0.000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446</c:v>
                </c:pt>
                <c:pt idx="1">
                  <c:v>0.000408</c:v>
                </c:pt>
                <c:pt idx="2">
                  <c:v>0.00022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282</c:v>
                </c:pt>
                <c:pt idx="1">
                  <c:v>0.000273</c:v>
                </c:pt>
                <c:pt idx="2">
                  <c:v>9.5e-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383</c:v>
                </c:pt>
                <c:pt idx="1">
                  <c:v>0.000419</c:v>
                </c:pt>
                <c:pt idx="2">
                  <c:v>0.0001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268</c:v>
                </c:pt>
                <c:pt idx="1">
                  <c:v>0.000198</c:v>
                </c:pt>
                <c:pt idx="2">
                  <c:v>8.3e-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233</c:v>
                </c:pt>
                <c:pt idx="1">
                  <c:v>0.000258</c:v>
                </c:pt>
                <c:pt idx="2">
                  <c:v>9.1e-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264</c:v>
                </c:pt>
                <c:pt idx="1">
                  <c:v>0.001277</c:v>
                </c:pt>
                <c:pt idx="2">
                  <c:v>0.0004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936</c:v>
                </c:pt>
                <c:pt idx="1">
                  <c:v>0.014529</c:v>
                </c:pt>
                <c:pt idx="2">
                  <c:v>0.0056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1115</c:v>
                </c:pt>
                <c:pt idx="1">
                  <c:v>0.202</c:v>
                </c:pt>
                <c:pt idx="2">
                  <c:v>0.02456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3293</c:v>
                </c:pt>
                <c:pt idx="1">
                  <c:v>0.035579</c:v>
                </c:pt>
                <c:pt idx="2">
                  <c:v>0.009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1323</c:v>
                </c:pt>
                <c:pt idx="1">
                  <c:v>0.027871</c:v>
                </c:pt>
                <c:pt idx="2">
                  <c:v>0.01219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7195</c:v>
                </c:pt>
                <c:pt idx="1">
                  <c:v>0.024958</c:v>
                </c:pt>
                <c:pt idx="2">
                  <c:v>0.00602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102</c:v>
                </c:pt>
                <c:pt idx="1">
                  <c:v>0.017358</c:v>
                </c:pt>
                <c:pt idx="2">
                  <c:v>0.0092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7311</c:v>
                </c:pt>
                <c:pt idx="1">
                  <c:v>0.017064</c:v>
                </c:pt>
                <c:pt idx="2">
                  <c:v>0.00606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5787</c:v>
                </c:pt>
                <c:pt idx="1">
                  <c:v>0.017918</c:v>
                </c:pt>
                <c:pt idx="2">
                  <c:v>0.00553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5952</c:v>
                </c:pt>
                <c:pt idx="1">
                  <c:v>0.011852</c:v>
                </c:pt>
                <c:pt idx="2">
                  <c:v>0.0051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2997</c:v>
                </c:pt>
                <c:pt idx="1">
                  <c:v>0.014776</c:v>
                </c:pt>
                <c:pt idx="2">
                  <c:v>0.00507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62496</c:v>
                </c:pt>
                <c:pt idx="1">
                  <c:v>0.066695</c:v>
                </c:pt>
                <c:pt idx="2">
                  <c:v>0.0246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2628</c:v>
                </c:pt>
                <c:pt idx="1">
                  <c:v>0.206282</c:v>
                </c:pt>
                <c:pt idx="2">
                  <c:v>0.0834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229</c:v>
                </c:pt>
                <c:pt idx="1">
                  <c:v>0.011669</c:v>
                </c:pt>
                <c:pt idx="2">
                  <c:v>0.0041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9358</c:v>
                </c:pt>
                <c:pt idx="1">
                  <c:v>0.161753</c:v>
                </c:pt>
                <c:pt idx="2">
                  <c:v>0.0591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0912</c:v>
                </c:pt>
                <c:pt idx="1">
                  <c:v>0.067641</c:v>
                </c:pt>
                <c:pt idx="2">
                  <c:v>0.02217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167</c:v>
                </c:pt>
                <c:pt idx="1">
                  <c:v>0.031185</c:v>
                </c:pt>
                <c:pt idx="2">
                  <c:v>0.01049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535</c:v>
                </c:pt>
                <c:pt idx="1">
                  <c:v>0.049237</c:v>
                </c:pt>
                <c:pt idx="2">
                  <c:v>0.02054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9072</c:v>
                </c:pt>
                <c:pt idx="1">
                  <c:v>0.028515</c:v>
                </c:pt>
                <c:pt idx="2">
                  <c:v>0.00896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6816</c:v>
                </c:pt>
                <c:pt idx="1">
                  <c:v>0.015685</c:v>
                </c:pt>
                <c:pt idx="2">
                  <c:v>0.00753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088</c:v>
                </c:pt>
                <c:pt idx="1">
                  <c:v>0.016199</c:v>
                </c:pt>
                <c:pt idx="2">
                  <c:v>0.00626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699</c:v>
                </c:pt>
                <c:pt idx="1">
                  <c:v>0.020563</c:v>
                </c:pt>
                <c:pt idx="2">
                  <c:v>0.00919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87</c:v>
                </c:pt>
                <c:pt idx="1">
                  <c:v>0.015792</c:v>
                </c:pt>
                <c:pt idx="2">
                  <c:v>0.00666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3655</c:v>
                </c:pt>
                <c:pt idx="1">
                  <c:v>0.011567</c:v>
                </c:pt>
                <c:pt idx="2">
                  <c:v>0.0048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82159</c:v>
                </c:pt>
                <c:pt idx="1">
                  <c:v>0.073831</c:v>
                </c:pt>
                <c:pt idx="2">
                  <c:v>0.02647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75</c:v>
                </c:pt>
                <c:pt idx="1">
                  <c:v>0.002978</c:v>
                </c:pt>
                <c:pt idx="2">
                  <c:v>7.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978</c:v>
                </c:pt>
                <c:pt idx="1">
                  <c:v>0.003155</c:v>
                </c:pt>
                <c:pt idx="2">
                  <c:v>0.00096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481</c:v>
                </c:pt>
                <c:pt idx="1">
                  <c:v>0.020595</c:v>
                </c:pt>
                <c:pt idx="2">
                  <c:v>0.00645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1029</c:v>
                </c:pt>
                <c:pt idx="1">
                  <c:v>0.038778</c:v>
                </c:pt>
                <c:pt idx="2">
                  <c:v>0.0009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5638</c:v>
                </c:pt>
                <c:pt idx="1">
                  <c:v>0.048484</c:v>
                </c:pt>
                <c:pt idx="2">
                  <c:v>0.0146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5672</c:v>
                </c:pt>
                <c:pt idx="1">
                  <c:v>0.277802</c:v>
                </c:pt>
                <c:pt idx="2">
                  <c:v>0.09319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036</c:v>
                </c:pt>
                <c:pt idx="1">
                  <c:v>0.00991</c:v>
                </c:pt>
                <c:pt idx="2">
                  <c:v>0.00386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6878</c:v>
                </c:pt>
                <c:pt idx="1">
                  <c:v>0.133839</c:v>
                </c:pt>
                <c:pt idx="2">
                  <c:v>0.0534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86</c:v>
                </c:pt>
                <c:pt idx="1">
                  <c:v>0.002775</c:v>
                </c:pt>
                <c:pt idx="2">
                  <c:v>0.00111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1944</c:v>
                </c:pt>
                <c:pt idx="1">
                  <c:v>0.011838</c:v>
                </c:pt>
                <c:pt idx="2">
                  <c:v>0.004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6321</c:v>
                </c:pt>
                <c:pt idx="1">
                  <c:v>0.068446</c:v>
                </c:pt>
                <c:pt idx="2">
                  <c:v>0.0275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383</c:v>
                </c:pt>
                <c:pt idx="1">
                  <c:v>0.155526</c:v>
                </c:pt>
                <c:pt idx="2">
                  <c:v>0.0620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6.5</a:t>
                    </a:r>
                  </a:p>
                </c:rich>
              </c:tx>
              <c:showLegendKey val="0"/>
              <c:showVal val="1"/>
              <c:showCatName val="0"/>
              <c:showSerName val="0"/>
              <c:showPercent val="0"/>
              <c:showBubbleSize val="0"/>
            </c:dLbl>
            <c:dLbl>
              <c:idx val="1"/>
              <c:tx>
                <c:rich>
                  <a:bodyPr/>
                  <a:lstStyle/>
                  <a:p>
                    <a:r>
                      <a:rPr>
                        <a:solidFill>
                          <a:srgbClr val="FFFFFF"/>
                        </a:solidFill>
                      </a:rPr>
                      <a:t>6.7</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535785</c:v>
                </c:pt>
                <c:pt idx="1">
                  <c:v>6.667637</c:v>
                </c:pt>
                <c:pt idx="2">
                  <c:v>2.24196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12412</c:v>
                </c:pt>
                <c:pt idx="1">
                  <c:v>2.421622</c:v>
                </c:pt>
                <c:pt idx="2">
                  <c:v>0.86848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374246</c:v>
                </c:pt>
                <c:pt idx="1">
                  <c:v>1.564119</c:v>
                </c:pt>
                <c:pt idx="2">
                  <c:v>0.6540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95534</c:v>
                </c:pt>
                <c:pt idx="1">
                  <c:v>1.344268</c:v>
                </c:pt>
                <c:pt idx="2">
                  <c:v>0.41068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165837</c:v>
                </c:pt>
                <c:pt idx="1">
                  <c:v>1.083229</c:v>
                </c:pt>
                <c:pt idx="2">
                  <c:v>0.4837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45987</c:v>
                </c:pt>
                <c:pt idx="1">
                  <c:v>1.046528</c:v>
                </c:pt>
                <c:pt idx="2">
                  <c:v>0.41898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950637</c:v>
                </c:pt>
                <c:pt idx="1">
                  <c:v>0.865662</c:v>
                </c:pt>
                <c:pt idx="2">
                  <c:v>0.38645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802846</c:v>
                </c:pt>
                <c:pt idx="1">
                  <c:v>0.674786</c:v>
                </c:pt>
                <c:pt idx="2">
                  <c:v>0.28826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795531</c:v>
                </c:pt>
                <c:pt idx="1">
                  <c:v>0.664918</c:v>
                </c:pt>
                <c:pt idx="2">
                  <c:v>0.27234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163062</c:v>
                </c:pt>
                <c:pt idx="1">
                  <c:v>3.873406</c:v>
                </c:pt>
                <c:pt idx="2">
                  <c:v>1.43145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94</c:v>
                </c:pt>
                <c:pt idx="1">
                  <c:v>0.000501</c:v>
                </c:pt>
                <c:pt idx="2">
                  <c:v>0.00020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86</c:v>
                </c:pt>
                <c:pt idx="1">
                  <c:v>0.000195</c:v>
                </c:pt>
                <c:pt idx="2">
                  <c:v>7.9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702</c:v>
                </c:pt>
                <c:pt idx="1">
                  <c:v>0.002859</c:v>
                </c:pt>
                <c:pt idx="2">
                  <c:v>0.0011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148</c:v>
                </c:pt>
                <c:pt idx="1">
                  <c:v>0.00807</c:v>
                </c:pt>
                <c:pt idx="2">
                  <c:v>0.00362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686</c:v>
                </c:pt>
                <c:pt idx="1">
                  <c:v>0.004576</c:v>
                </c:pt>
                <c:pt idx="2">
                  <c:v>0.0019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4534</c:v>
                </c:pt>
                <c:pt idx="1">
                  <c:v>0.047398</c:v>
                </c:pt>
                <c:pt idx="2">
                  <c:v>0.01988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7027</c:v>
                </c:pt>
                <c:pt idx="1">
                  <c:v>0.046259</c:v>
                </c:pt>
                <c:pt idx="2">
                  <c:v>0.01560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255</c:v>
                </c:pt>
                <c:pt idx="1">
                  <c:v>0.012523</c:v>
                </c:pt>
                <c:pt idx="2">
                  <c:v>0.0043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1101</c:v>
                </c:pt>
                <c:pt idx="1">
                  <c:v>0.034128</c:v>
                </c:pt>
                <c:pt idx="2">
                  <c:v>0.01411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8.3</a:t>
                    </a:r>
                  </a:p>
                </c:rich>
              </c:tx>
              <c:showLegendKey val="0"/>
              <c:showVal val="1"/>
              <c:showCatName val="0"/>
              <c:showSerName val="0"/>
              <c:showPercent val="0"/>
              <c:showBubbleSize val="0"/>
            </c:dLbl>
            <c:dLbl>
              <c:idx val="1"/>
              <c:tx>
                <c:rich>
                  <a:bodyPr/>
                  <a:lstStyle/>
                  <a:p>
                    <a:r>
                      <a:rPr>
                        <a:solidFill>
                          <a:srgbClr val="FFFFFF"/>
                        </a:solidFill>
                      </a:rPr>
                      <a:t>6.0</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299555</c:v>
                </c:pt>
                <c:pt idx="1">
                  <c:v>6.020353</c:v>
                </c:pt>
                <c:pt idx="2">
                  <c:v>2.02355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6718</c:v>
                </c:pt>
                <c:pt idx="1">
                  <c:v>0.661709</c:v>
                </c:pt>
                <c:pt idx="2">
                  <c:v>0.2367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835451</c:v>
                </c:pt>
                <c:pt idx="1">
                  <c:v>2.423323</c:v>
                </c:pt>
                <c:pt idx="2">
                  <c:v>0.96182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8496</c:v>
                </c:pt>
                <c:pt idx="1">
                  <c:v>0.136071</c:v>
                </c:pt>
                <c:pt idx="2">
                  <c:v>0.07873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7.1</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530886</c:v>
                </c:pt>
                <c:pt idx="1">
                  <c:v>7.06026</c:v>
                </c:pt>
                <c:pt idx="2">
                  <c:v>4.06513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154</c:v>
                </c:pt>
                <c:pt idx="1">
                  <c:v>0.003422</c:v>
                </c:pt>
                <c:pt idx="2">
                  <c:v>0.0013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554</c:v>
                </c:pt>
                <c:pt idx="1">
                  <c:v>0.000676</c:v>
                </c:pt>
                <c:pt idx="2">
                  <c:v>0.00018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241</c:v>
                </c:pt>
                <c:pt idx="1">
                  <c:v>0.001784</c:v>
                </c:pt>
                <c:pt idx="2">
                  <c:v>0.0006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8856</c:v>
                </c:pt>
                <c:pt idx="1">
                  <c:v>0.45486</c:v>
                </c:pt>
                <c:pt idx="2">
                  <c:v>0.1797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2036</c:v>
                </c:pt>
                <c:pt idx="1">
                  <c:v>0.036616</c:v>
                </c:pt>
                <c:pt idx="2">
                  <c:v>0.01047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6413</c:v>
                </c:pt>
                <c:pt idx="1">
                  <c:v>0.136962</c:v>
                </c:pt>
                <c:pt idx="2">
                  <c:v>0.04602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119</c:v>
                </c:pt>
                <c:pt idx="1">
                  <c:v>0.001589</c:v>
                </c:pt>
                <c:pt idx="2">
                  <c:v>0.00044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46</c:v>
                </c:pt>
                <c:pt idx="1">
                  <c:v>0.000433</c:v>
                </c:pt>
                <c:pt idx="2">
                  <c:v>0.00011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63</c:v>
                </c:pt>
                <c:pt idx="1">
                  <c:v>0.001366</c:v>
                </c:pt>
                <c:pt idx="2">
                  <c:v>0.00046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5923</c:v>
                </c:pt>
                <c:pt idx="1">
                  <c:v>0.213474</c:v>
                </c:pt>
                <c:pt idx="2">
                  <c:v>0.0590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9938</c:v>
                </c:pt>
                <c:pt idx="1">
                  <c:v>0.022978</c:v>
                </c:pt>
                <c:pt idx="2">
                  <c:v>0.00683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3232</c:v>
                </c:pt>
                <c:pt idx="1">
                  <c:v>0.100665</c:v>
                </c:pt>
                <c:pt idx="2">
                  <c:v>0.0325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831</c:v>
                </c:pt>
                <c:pt idx="1">
                  <c:v>0.002154</c:v>
                </c:pt>
                <c:pt idx="2">
                  <c:v>0.00077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16</c:v>
                </c:pt>
                <c:pt idx="1">
                  <c:v>0.000615</c:v>
                </c:pt>
                <c:pt idx="2">
                  <c:v>0.00018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507</c:v>
                </c:pt>
                <c:pt idx="1">
                  <c:v>0.001184</c:v>
                </c:pt>
                <c:pt idx="2">
                  <c:v>0.0004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52914</c:v>
                </c:pt>
                <c:pt idx="1">
                  <c:v>0.280374</c:v>
                </c:pt>
                <c:pt idx="2">
                  <c:v>0.09919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4814</c:v>
                </c:pt>
                <c:pt idx="1">
                  <c:v>0.033542</c:v>
                </c:pt>
                <c:pt idx="2">
                  <c:v>0.01032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284</c:v>
                </c:pt>
                <c:pt idx="1">
                  <c:v>0.08307</c:v>
                </c:pt>
                <c:pt idx="2">
                  <c:v>0.03463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22</c:v>
                </c:pt>
                <c:pt idx="1">
                  <c:v>0.000965</c:v>
                </c:pt>
                <c:pt idx="2">
                  <c:v>0.00024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54</c:v>
                </c:pt>
                <c:pt idx="1">
                  <c:v>0.000267</c:v>
                </c:pt>
                <c:pt idx="2">
                  <c:v>9.7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263</c:v>
                </c:pt>
                <c:pt idx="1">
                  <c:v>0.001054</c:v>
                </c:pt>
                <c:pt idx="2">
                  <c:v>0.00040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2318</c:v>
                </c:pt>
                <c:pt idx="1">
                  <c:v>0.125797</c:v>
                </c:pt>
                <c:pt idx="2">
                  <c:v>0.03180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96</c:v>
                </c:pt>
                <c:pt idx="1">
                  <c:v>0.014427</c:v>
                </c:pt>
                <c:pt idx="2">
                  <c:v>0.0052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5902</c:v>
                </c:pt>
                <c:pt idx="1">
                  <c:v>0.074288</c:v>
                </c:pt>
                <c:pt idx="2">
                  <c:v>0.0259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394</c:v>
                </c:pt>
                <c:pt idx="1">
                  <c:v>0.001081</c:v>
                </c:pt>
                <c:pt idx="2">
                  <c:v>4.9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1e-05</c:v>
                </c:pt>
                <c:pt idx="1">
                  <c:v>5.4e-05</c:v>
                </c:pt>
                <c:pt idx="2">
                  <c:v>1.4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02</c:v>
                </c:pt>
                <c:pt idx="1">
                  <c:v>0.000216</c:v>
                </c:pt>
                <c:pt idx="2">
                  <c:v>8.3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1529</c:v>
                </c:pt>
                <c:pt idx="1">
                  <c:v>0.137458</c:v>
                </c:pt>
                <c:pt idx="2">
                  <c:v>0.0058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868</c:v>
                </c:pt>
                <c:pt idx="1">
                  <c:v>0.00276</c:v>
                </c:pt>
                <c:pt idx="2">
                  <c:v>0.00072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618</c:v>
                </c:pt>
                <c:pt idx="1">
                  <c:v>0.013783</c:v>
                </c:pt>
                <c:pt idx="2">
                  <c:v>0.00574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9506</c:v>
                </c:pt>
                <c:pt idx="1">
                  <c:v>0.015758</c:v>
                </c:pt>
                <c:pt idx="2">
                  <c:v>0.00560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424</c:v>
                </c:pt>
                <c:pt idx="1">
                  <c:v>0.003393</c:v>
                </c:pt>
                <c:pt idx="2">
                  <c:v>0.00126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569</c:v>
                </c:pt>
                <c:pt idx="1">
                  <c:v>0.010221</c:v>
                </c:pt>
                <c:pt idx="2">
                  <c:v>0.004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441503</c:v>
                </c:pt>
                <c:pt idx="1">
                  <c:v>2.066422</c:v>
                </c:pt>
                <c:pt idx="2">
                  <c:v>0.73236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0076</c:v>
                </c:pt>
                <c:pt idx="1">
                  <c:v>0.178164</c:v>
                </c:pt>
                <c:pt idx="2">
                  <c:v>0.06789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26808</c:v>
                </c:pt>
                <c:pt idx="1">
                  <c:v>0.791829</c:v>
                </c:pt>
                <c:pt idx="2">
                  <c:v>0.31434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915</c:v>
                </c:pt>
                <c:pt idx="1">
                  <c:v>0.122856</c:v>
                </c:pt>
                <c:pt idx="2">
                  <c:v>0.03383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901</c:v>
                </c:pt>
                <c:pt idx="1">
                  <c:v>0.076436</c:v>
                </c:pt>
                <c:pt idx="2">
                  <c:v>0.02378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2203</c:v>
                </c:pt>
                <c:pt idx="1">
                  <c:v>0.163739</c:v>
                </c:pt>
                <c:pt idx="2">
                  <c:v>0.06885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8759</c:v>
                </c:pt>
                <c:pt idx="1">
                  <c:v>0.052706</c:v>
                </c:pt>
                <c:pt idx="2">
                  <c:v>0.01868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582</c:v>
                </c:pt>
                <c:pt idx="1">
                  <c:v>0.041538</c:v>
                </c:pt>
                <c:pt idx="2">
                  <c:v>0.01944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999</c:v>
                </c:pt>
                <c:pt idx="1">
                  <c:v>0.048859</c:v>
                </c:pt>
                <c:pt idx="2">
                  <c:v>0.01500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6299</c:v>
                </c:pt>
                <c:pt idx="1">
                  <c:v>0.036768</c:v>
                </c:pt>
                <c:pt idx="2">
                  <c:v>0.01319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444</c:v>
                </c:pt>
                <c:pt idx="1">
                  <c:v>0.029743</c:v>
                </c:pt>
                <c:pt idx="2">
                  <c:v>0.01162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8926</c:v>
                </c:pt>
                <c:pt idx="1">
                  <c:v>0.044288</c:v>
                </c:pt>
                <c:pt idx="2">
                  <c:v>0.01436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77516</c:v>
                </c:pt>
                <c:pt idx="1">
                  <c:v>0.248541</c:v>
                </c:pt>
                <c:pt idx="2">
                  <c:v>0.08684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7.4</a:t>
                    </a:r>
                  </a:p>
                </c:rich>
              </c:tx>
              <c:showLegendKey val="0"/>
              <c:showVal val="1"/>
              <c:showCatName val="0"/>
              <c:showSerName val="0"/>
              <c:showPercent val="0"/>
              <c:showBubbleSize val="0"/>
            </c:dLbl>
            <c:dLbl>
              <c:idx val="1"/>
              <c:tx>
                <c:rich>
                  <a:bodyPr/>
                  <a:lstStyle/>
                  <a:p>
                    <a:r>
                      <a:rPr>
                        <a:solidFill>
                          <a:srgbClr val="FFFFFF"/>
                        </a:solidFill>
                      </a:rPr>
                      <a:t>9.4</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374299</c:v>
                </c:pt>
                <c:pt idx="1">
                  <c:v>9.375514</c:v>
                </c:pt>
                <c:pt idx="2">
                  <c:v>2.65663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5.0</a:t>
                    </a:r>
                  </a:p>
                </c:rich>
              </c:tx>
              <c:showLegendKey val="0"/>
              <c:showVal val="1"/>
              <c:showCatName val="0"/>
              <c:showSerName val="0"/>
              <c:showPercent val="0"/>
              <c:showBubbleSize val="0"/>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046212</c:v>
                </c:pt>
                <c:pt idx="1">
                  <c:v>4.748638</c:v>
                </c:pt>
                <c:pt idx="2">
                  <c:v>1.55497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232977</c:v>
                </c:pt>
                <c:pt idx="1">
                  <c:v>4.837657</c:v>
                </c:pt>
                <c:pt idx="2">
                  <c:v>2.05696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667137</c:v>
                </c:pt>
                <c:pt idx="1">
                  <c:v>2.105627</c:v>
                </c:pt>
                <c:pt idx="2">
                  <c:v>0.7161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860519</c:v>
                </c:pt>
                <c:pt idx="1">
                  <c:v>2.491998</c:v>
                </c:pt>
                <c:pt idx="2">
                  <c:v>1.11559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081543</c:v>
                </c:pt>
                <c:pt idx="1">
                  <c:v>2.013018</c:v>
                </c:pt>
                <c:pt idx="2">
                  <c:v>0.64048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185075</c:v>
                </c:pt>
                <c:pt idx="1">
                  <c:v>1.827476</c:v>
                </c:pt>
                <c:pt idx="2">
                  <c:v>0.67711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095217</c:v>
                </c:pt>
                <c:pt idx="1">
                  <c:v>1.822683</c:v>
                </c:pt>
                <c:pt idx="2">
                  <c:v>0.70724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126853</c:v>
                </c:pt>
                <c:pt idx="1">
                  <c:v>1.763374</c:v>
                </c:pt>
                <c:pt idx="2">
                  <c:v>0.58583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14.5</a:t>
                    </a:r>
                  </a:p>
                </c:rich>
              </c:tx>
              <c:showLegendKey val="0"/>
              <c:showVal val="1"/>
              <c:showCatName val="0"/>
              <c:showSerName val="0"/>
              <c:showPercent val="0"/>
              <c:showBubbleSize val="0"/>
            </c:dLbl>
            <c:dLbl>
              <c:idx val="2"/>
              <c:tx>
                <c:rich>
                  <a:bodyPr/>
                  <a:lstStyle/>
                  <a:p>
                    <a:r>
                      <a:rPr>
                        <a:solidFill>
                          <a:srgbClr val="FFFFFF"/>
                        </a:solidFill>
                      </a:rPr>
                      <a:t>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6.044773</c:v>
                </c:pt>
                <c:pt idx="1">
                  <c:v>14.478885</c:v>
                </c:pt>
                <c:pt idx="2">
                  <c:v>5.23785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7374</c:v>
                </c:pt>
                <c:pt idx="1">
                  <c:v>2.284018</c:v>
                </c:pt>
                <c:pt idx="2">
                  <c:v>1.15329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umm</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84109</c:v>
                </c:pt>
                <c:pt idx="1">
                  <c:v>0.942457</c:v>
                </c:pt>
                <c:pt idx="2">
                  <c:v>0.47954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Charles Lafitt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723069</c:v>
                </c:pt>
                <c:pt idx="1">
                  <c:v>3.748229</c:v>
                </c:pt>
                <c:pt idx="2">
                  <c:v>1.64060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97664</c:v>
                </c:pt>
                <c:pt idx="1">
                  <c:v>0.838074</c:v>
                </c:pt>
                <c:pt idx="2">
                  <c:v>0.34992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92957</c:v>
                </c:pt>
                <c:pt idx="1">
                  <c:v>0.875396</c:v>
                </c:pt>
                <c:pt idx="2">
                  <c:v>0.39607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oët &amp; Chand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67383</c:v>
                </c:pt>
                <c:pt idx="1">
                  <c:v>0.399699</c:v>
                </c:pt>
                <c:pt idx="2">
                  <c:v>0.1972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sari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67345</c:v>
                </c:pt>
                <c:pt idx="1">
                  <c:v>0.396598</c:v>
                </c:pt>
                <c:pt idx="2">
                  <c:v>0.19401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02247</c:v>
                </c:pt>
                <c:pt idx="1">
                  <c:v>0.434179</c:v>
                </c:pt>
                <c:pt idx="2">
                  <c:v>0.18642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Veuve Clicquo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0443</c:v>
                </c:pt>
                <c:pt idx="1">
                  <c:v>0.231537</c:v>
                </c:pt>
                <c:pt idx="2">
                  <c:v>0.10952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5</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08522</c:v>
                </c:pt>
                <c:pt idx="1">
                  <c:v>7.544879</c:v>
                </c:pt>
                <c:pt idx="2">
                  <c:v>3.8254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26.3</a:t>
                    </a:r>
                  </a:p>
                </c:rich>
              </c:tx>
              <c:showLegendKey val="0"/>
              <c:showVal val="1"/>
              <c:showCatName val="0"/>
              <c:showSerName val="0"/>
              <c:showPercent val="0"/>
              <c:showBubbleSize val="0"/>
            </c:dLbl>
            <c:dLbl>
              <c:idx val="1"/>
              <c:tx>
                <c:rich>
                  <a:bodyPr/>
                  <a:lstStyle/>
                  <a:p>
                    <a:r>
                      <a:rPr>
                        <a:solidFill>
                          <a:srgbClr val="FFFFFF"/>
                        </a:solidFill>
                      </a:rPr>
                      <a:t>63.4</a:t>
                    </a:r>
                  </a:p>
                </c:rich>
              </c:tx>
              <c:showLegendKey val="0"/>
              <c:showVal val="1"/>
              <c:showCatName val="0"/>
              <c:showSerName val="0"/>
              <c:showPercent val="0"/>
              <c:showBubbleSize val="0"/>
            </c:dLbl>
            <c:dLbl>
              <c:idx val="2"/>
              <c:tx>
                <c:rich>
                  <a:bodyPr/>
                  <a:lstStyle/>
                  <a:p>
                    <a:r>
                      <a:rPr>
                        <a:solidFill>
                          <a:srgbClr val="FFFFFF"/>
                        </a:solidFill>
                      </a:rPr>
                      <a:t>3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6.306301</c:v>
                </c:pt>
                <c:pt idx="1">
                  <c:v>63.374345</c:v>
                </c:pt>
                <c:pt idx="2">
                  <c:v>31.594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umm</c:v>
                </c:pt>
              </c:strCache>
            </c:strRef>
          </c:tx>
          <c:spPr>
            <a:solidFill>
              <a:srgbClr val="A6A6A6"/>
            </a:solidFill>
            <a:ln>
              <a:solidFill>
                <a:schemeClr val="bg1"/>
              </a:solidFill>
            </a:ln>
            <a:effectLst/>
          </c:spPr>
          <c:invertIfNegative val="0"/>
          <c:dLbls>
            <c:dLbl>
              <c:idx val="0"/>
              <c:tx>
                <c:rich>
                  <a:bodyPr/>
                  <a:lstStyle/>
                  <a:p>
                    <a:r>
                      <a:rPr>
                        <a:solidFill>
                          <a:srgbClr val="FFFFFF"/>
                        </a:solidFill>
                      </a:rPr>
                      <a:t>14.5</a:t>
                    </a:r>
                  </a:p>
                </c:rich>
              </c:tx>
              <c:showLegendKey val="0"/>
              <c:showVal val="1"/>
              <c:showCatName val="0"/>
              <c:showSerName val="0"/>
              <c:showPercent val="0"/>
              <c:showBubbleSize val="0"/>
            </c:dLbl>
            <c:dLbl>
              <c:idx val="1"/>
              <c:tx>
                <c:rich>
                  <a:bodyPr/>
                  <a:lstStyle/>
                  <a:p>
                    <a:r>
                      <a:rPr>
                        <a:solidFill>
                          <a:srgbClr val="FFFFFF"/>
                        </a:solidFill>
                      </a:rPr>
                      <a:t>36.2</a:t>
                    </a:r>
                  </a:p>
                </c:rich>
              </c:tx>
              <c:showLegendKey val="0"/>
              <c:showVal val="1"/>
              <c:showCatName val="0"/>
              <c:showSerName val="0"/>
              <c:showPercent val="0"/>
              <c:showBubbleSize val="0"/>
            </c:dLbl>
            <c:dLbl>
              <c:idx val="2"/>
              <c:tx>
                <c:rich>
                  <a:bodyPr/>
                  <a:lstStyle/>
                  <a:p>
                    <a:r>
                      <a:rPr>
                        <a:solidFill>
                          <a:srgbClr val="FFFFFF"/>
                        </a:solidFill>
                      </a:rPr>
                      <a:t>1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4.466623</c:v>
                </c:pt>
                <c:pt idx="1">
                  <c:v>36.193054</c:v>
                </c:pt>
                <c:pt idx="2">
                  <c:v>18.80339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Charles Lafitte</c:v>
                </c:pt>
              </c:strCache>
            </c:strRef>
          </c:tx>
          <c:spPr>
            <a:solidFill>
              <a:srgbClr val="9B9898"/>
            </a:solidFill>
            <a:ln>
              <a:solidFill>
                <a:schemeClr val="bg1"/>
              </a:solidFill>
            </a:ln>
            <a:effectLst/>
          </c:spPr>
          <c:invertIfNegative val="0"/>
          <c:dLbls>
            <c:dLbl>
              <c:idx val="0"/>
              <c:tx>
                <c:rich>
                  <a:bodyPr/>
                  <a:lstStyle/>
                  <a:p>
                    <a:r>
                      <a:rPr>
                        <a:solidFill>
                          <a:srgbClr val="FFFFFF"/>
                        </a:solidFill>
                      </a:rPr>
                      <a:t>14.8</a:t>
                    </a:r>
                  </a:p>
                </c:rich>
              </c:tx>
              <c:showLegendKey val="0"/>
              <c:showVal val="1"/>
              <c:showCatName val="0"/>
              <c:showSerName val="0"/>
              <c:showPercent val="0"/>
              <c:showBubbleSize val="0"/>
            </c:dLbl>
            <c:dLbl>
              <c:idx val="1"/>
              <c:tx>
                <c:rich>
                  <a:bodyPr/>
                  <a:lstStyle/>
                  <a:p>
                    <a:r>
                      <a:rPr>
                        <a:solidFill>
                          <a:srgbClr val="FFFFFF"/>
                        </a:solidFill>
                      </a:rPr>
                      <a:t>31.2</a:t>
                    </a:r>
                  </a:p>
                </c:rich>
              </c:tx>
              <c:showLegendKey val="0"/>
              <c:showVal val="1"/>
              <c:showCatName val="0"/>
              <c:showSerName val="0"/>
              <c:showPercent val="0"/>
              <c:showBubbleSize val="0"/>
            </c:dLbl>
            <c:dLbl>
              <c:idx val="2"/>
              <c:tx>
                <c:rich>
                  <a:bodyPr/>
                  <a:lstStyle/>
                  <a:p>
                    <a:r>
                      <a:rPr>
                        <a:solidFill>
                          <a:srgbClr val="FFFFFF"/>
                        </a:solidFill>
                      </a:rPr>
                      <a:t>1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4.787397</c:v>
                </c:pt>
                <c:pt idx="1">
                  <c:v>31.24318</c:v>
                </c:pt>
                <c:pt idx="2">
                  <c:v>13.09572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6.0</a:t>
                    </a:r>
                  </a:p>
                </c:rich>
              </c:tx>
              <c:showLegendKey val="0"/>
              <c:showVal val="1"/>
              <c:showCatName val="0"/>
              <c:showSerName val="0"/>
              <c:showPercent val="0"/>
              <c:showBubbleSize val="0"/>
            </c:dLbl>
            <c:dLbl>
              <c:idx val="2"/>
              <c:tx>
                <c:rich>
                  <a:bodyPr/>
                  <a:lstStyle/>
                  <a:p>
                    <a:r>
                      <a:rPr>
                        <a:solidFill>
                          <a:srgbClr val="FFFFFF"/>
                        </a:solidFill>
                      </a:rPr>
                      <a:t>1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2.195567</c:v>
                </c:pt>
                <c:pt idx="1">
                  <c:v>26.046934</c:v>
                </c:pt>
                <c:pt idx="2">
                  <c:v>11.09834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a:solidFill>
                          <a:srgbClr val="FFFFFF"/>
                        </a:solidFill>
                      </a:rPr>
                      <a:t>10.1</a:t>
                    </a:r>
                  </a:p>
                </c:rich>
              </c:tx>
              <c:showLegendKey val="0"/>
              <c:showVal val="1"/>
              <c:showCatName val="0"/>
              <c:showSerName val="0"/>
              <c:showPercent val="0"/>
              <c:showBubbleSize val="0"/>
            </c:dLbl>
            <c:dLbl>
              <c:idx val="1"/>
              <c:tx>
                <c:rich>
                  <a:bodyPr/>
                  <a:lstStyle/>
                  <a:p>
                    <a:r>
                      <a:rPr>
                        <a:solidFill>
                          <a:srgbClr val="FFFFFF"/>
                        </a:solidFill>
                      </a:rPr>
                      <a:t>23.9</a:t>
                    </a:r>
                  </a:p>
                </c:rich>
              </c:tx>
              <c:showLegendKey val="0"/>
              <c:showVal val="1"/>
              <c:showCatName val="0"/>
              <c:showSerName val="0"/>
              <c:showPercent val="0"/>
              <c:showBubbleSize val="0"/>
            </c:dLbl>
            <c:dLbl>
              <c:idx val="2"/>
              <c:tx>
                <c:rich>
                  <a:bodyPr/>
                  <a:lstStyle/>
                  <a:p>
                    <a:r>
                      <a:rPr>
                        <a:solidFill>
                          <a:srgbClr val="FFFFFF"/>
                        </a:solidFill>
                      </a:rPr>
                      <a:t>1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122551</c:v>
                </c:pt>
                <c:pt idx="1">
                  <c:v>23.908319</c:v>
                </c:pt>
                <c:pt idx="2">
                  <c:v>11.64881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a:solidFill>
                          <a:srgbClr val="FFFFFF"/>
                        </a:solidFill>
                      </a:rPr>
                      <a:t>8.1</a:t>
                    </a:r>
                  </a:p>
                </c:rich>
              </c:tx>
              <c:showLegendKey val="0"/>
              <c:showVal val="1"/>
              <c:showCatName val="0"/>
              <c:showSerName val="0"/>
              <c:showPercent val="0"/>
              <c:showBubbleSize val="0"/>
            </c:dLbl>
            <c:dLbl>
              <c:idx val="1"/>
              <c:tx>
                <c:rich>
                  <a:bodyPr/>
                  <a:lstStyle/>
                  <a:p>
                    <a:r>
                      <a:rPr>
                        <a:solidFill>
                          <a:srgbClr val="FFFFFF"/>
                        </a:solidFill>
                      </a:rPr>
                      <a:t>19.9</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8.09705</c:v>
                </c:pt>
                <c:pt idx="1">
                  <c:v>19.880994</c:v>
                </c:pt>
                <c:pt idx="2">
                  <c:v>10.12355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sarine</c:v>
                </c:pt>
              </c:strCache>
            </c:strRef>
          </c:tx>
          <c:spPr>
            <a:solidFill>
              <a:srgbClr val="575555"/>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15.0</a:t>
                    </a:r>
                  </a:p>
                </c:rich>
              </c:tx>
              <c:showLegendKey val="0"/>
              <c:showVal val="1"/>
              <c:showCatName val="0"/>
              <c:showSerName val="0"/>
              <c:showPercent val="0"/>
              <c:showBubbleSize val="0"/>
            </c:dLbl>
            <c:dLbl>
              <c:idx val="2"/>
              <c:tx>
                <c:rich>
                  <a:bodyPr/>
                  <a:lstStyle/>
                  <a:p>
                    <a:r>
                      <a:rPr>
                        <a:solidFill>
                          <a:srgbClr val="FFFFFF"/>
                        </a:solidFill>
                      </a:rPr>
                      <a:t>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6.353485</c:v>
                </c:pt>
                <c:pt idx="1">
                  <c:v>14.970738</c:v>
                </c:pt>
                <c:pt idx="2">
                  <c:v>7.27368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tx>
                <c:rich>
                  <a:bodyPr/>
                  <a:lstStyle/>
                  <a:p>
                    <a:r>
                      <a:rPr>
                        <a:solidFill>
                          <a:srgbClr val="FFFFFF"/>
                        </a:solidFill>
                      </a:rPr>
                      <a:t>6.7</a:t>
                    </a:r>
                  </a:p>
                </c:rich>
              </c:tx>
              <c:showLegendKey val="0"/>
              <c:showVal val="1"/>
              <c:showCatName val="0"/>
              <c:showSerName val="0"/>
              <c:showPercent val="0"/>
              <c:showBubbleSize val="0"/>
            </c:dLbl>
            <c:dLbl>
              <c:idx val="1"/>
              <c:tx>
                <c:rich>
                  <a:bodyPr/>
                  <a:lstStyle/>
                  <a:p>
                    <a:r>
                      <a:rPr>
                        <a:solidFill>
                          <a:srgbClr val="FFFFFF"/>
                        </a:solidFill>
                      </a:rPr>
                      <a:t>14.8</a:t>
                    </a:r>
                  </a:p>
                </c:rich>
              </c:tx>
              <c:showLegendKey val="0"/>
              <c:showVal val="1"/>
              <c:showCatName val="0"/>
              <c:showSerName val="0"/>
              <c:showPercent val="0"/>
              <c:showBubbleSize val="0"/>
            </c:dLbl>
            <c:dLbl>
              <c:idx val="2"/>
              <c:tx>
                <c:rich>
                  <a:bodyPr/>
                  <a:lstStyle/>
                  <a:p>
                    <a:r>
                      <a:rPr>
                        <a:solidFill>
                          <a:srgbClr val="FFFFFF"/>
                        </a:solidFill>
                      </a:rPr>
                      <a:t>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6.652251</c:v>
                </c:pt>
                <c:pt idx="1">
                  <c:v>14.810567</c:v>
                </c:pt>
                <c:pt idx="2">
                  <c:v>6.69565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Veuve Clicquot</c:v>
                </c:pt>
              </c:strCache>
            </c:strRef>
          </c:tx>
          <c:spPr>
            <a:solidFill>
              <a:srgbClr val="575555"/>
            </a:solidFill>
            <a:ln>
              <a:solidFill>
                <a:schemeClr val="bg1"/>
              </a:solidFill>
            </a:ln>
            <a:effectLst/>
          </c:spPr>
          <c:invertIfNegative val="0"/>
          <c:dLbls>
            <c:dLbl>
              <c:idx val="0"/>
              <c:tx>
                <c:rich>
                  <a:bodyPr/>
                  <a:lstStyle/>
                  <a:p>
                    <a:r>
                      <a:rPr>
                        <a:solidFill>
                          <a:srgbClr val="FFFFFF"/>
                        </a:solidFill>
                      </a:rPr>
                      <a:t>5.8</a:t>
                    </a:r>
                  </a:p>
                </c:rich>
              </c:tx>
              <c:showLegendKey val="0"/>
              <c:showVal val="1"/>
              <c:showCatName val="0"/>
              <c:showSerName val="0"/>
              <c:showPercent val="0"/>
              <c:showBubbleSize val="0"/>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5.821444</c:v>
                </c:pt>
                <c:pt idx="1">
                  <c:v>13.59901</c:v>
                </c:pt>
                <c:pt idx="2">
                  <c:v>6.53887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82.6</a:t>
                    </a:r>
                  </a:p>
                </c:rich>
              </c:tx>
              <c:showLegendKey val="0"/>
              <c:showVal val="1"/>
              <c:showCatName val="0"/>
              <c:showSerName val="0"/>
              <c:showPercent val="0"/>
              <c:showBubbleSize val="0"/>
            </c:dLbl>
            <c:dLbl>
              <c:idx val="1"/>
              <c:tx>
                <c:rich>
                  <a:bodyPr/>
                  <a:lstStyle/>
                  <a:p>
                    <a:r>
                      <a:rPr>
                        <a:solidFill>
                          <a:srgbClr val="FFFFFF"/>
                        </a:solidFill>
                      </a:rPr>
                      <a:t>197.7</a:t>
                    </a:r>
                  </a:p>
                </c:rich>
              </c:tx>
              <c:showLegendKey val="0"/>
              <c:showVal val="1"/>
              <c:showCatName val="0"/>
              <c:showSerName val="0"/>
              <c:showPercent val="0"/>
              <c:showBubbleSize val="0"/>
            </c:dLbl>
            <c:dLbl>
              <c:idx val="2"/>
              <c:tx>
                <c:rich>
                  <a:bodyPr/>
                  <a:lstStyle/>
                  <a:p>
                    <a:r>
                      <a:rPr>
                        <a:solidFill>
                          <a:srgbClr val="FFFFFF"/>
                        </a:solidFill>
                      </a:rPr>
                      <a:t>9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82.579705</c:v>
                </c:pt>
                <c:pt idx="1">
                  <c:v>197.720321</c:v>
                </c:pt>
                <c:pt idx="2">
                  <c:v>97.8809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800621</c:v>
                </c:pt>
                <c:pt idx="1">
                  <c:v>4.476837</c:v>
                </c:pt>
                <c:pt idx="2">
                  <c:v>2.30968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303</c:v>
                </c:pt>
                <c:pt idx="1">
                  <c:v>0.007359</c:v>
                </c:pt>
                <c:pt idx="2">
                  <c:v>0.00204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411</c:v>
                </c:pt>
                <c:pt idx="1">
                  <c:v>0.003373</c:v>
                </c:pt>
                <c:pt idx="2">
                  <c:v>0.0009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246</c:v>
                </c:pt>
                <c:pt idx="1">
                  <c:v>0.00726</c:v>
                </c:pt>
                <c:pt idx="2">
                  <c:v>0.00263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4057</c:v>
                </c:pt>
                <c:pt idx="1">
                  <c:v>0.002055</c:v>
                </c:pt>
                <c:pt idx="2">
                  <c:v>0.00066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734</c:v>
                </c:pt>
                <c:pt idx="1">
                  <c:v>0.002598</c:v>
                </c:pt>
                <c:pt idx="2">
                  <c:v>0.00052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738</c:v>
                </c:pt>
                <c:pt idx="1">
                  <c:v>0.001754</c:v>
                </c:pt>
                <c:pt idx="2">
                  <c:v>0.00048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39</c:v>
                </c:pt>
                <c:pt idx="1">
                  <c:v>0.001601</c:v>
                </c:pt>
                <c:pt idx="2">
                  <c:v>0.00054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417</c:v>
                </c:pt>
                <c:pt idx="1">
                  <c:v>0.001951</c:v>
                </c:pt>
                <c:pt idx="2">
                  <c:v>0.00059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019</c:v>
                </c:pt>
                <c:pt idx="1">
                  <c:v>0.00094</c:v>
                </c:pt>
                <c:pt idx="2">
                  <c:v>0.00030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2335</c:v>
                </c:pt>
                <c:pt idx="1">
                  <c:v>0.010555</c:v>
                </c:pt>
                <c:pt idx="2">
                  <c:v>0.00294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9009</c:v>
                </c:pt>
                <c:pt idx="1">
                  <c:v>0.569492</c:v>
                </c:pt>
                <c:pt idx="2">
                  <c:v>0.1655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8421</c:v>
                </c:pt>
                <c:pt idx="1">
                  <c:v>0.20861</c:v>
                </c:pt>
                <c:pt idx="2">
                  <c:v>0.05931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4361</c:v>
                </c:pt>
                <c:pt idx="1">
                  <c:v>0.213775</c:v>
                </c:pt>
                <c:pt idx="2">
                  <c:v>0.0780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9947</c:v>
                </c:pt>
                <c:pt idx="1">
                  <c:v>0.082237</c:v>
                </c:pt>
                <c:pt idx="2">
                  <c:v>0.02541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14383</c:v>
                </c:pt>
                <c:pt idx="1">
                  <c:v>0.109995</c:v>
                </c:pt>
                <c:pt idx="2">
                  <c:v>0.02335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03562</c:v>
                </c:pt>
                <c:pt idx="1">
                  <c:v>0.10964</c:v>
                </c:pt>
                <c:pt idx="2">
                  <c:v>0.02945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0643</c:v>
                </c:pt>
                <c:pt idx="1">
                  <c:v>0.095495</c:v>
                </c:pt>
                <c:pt idx="2">
                  <c:v>0.03162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87042</c:v>
                </c:pt>
                <c:pt idx="1">
                  <c:v>0.077158</c:v>
                </c:pt>
                <c:pt idx="2">
                  <c:v>0.02420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0039</c:v>
                </c:pt>
                <c:pt idx="1">
                  <c:v>0.075912</c:v>
                </c:pt>
                <c:pt idx="2">
                  <c:v>0.02492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87515</c:v>
                </c:pt>
                <c:pt idx="1">
                  <c:v>0.599976</c:v>
                </c:pt>
                <c:pt idx="2">
                  <c:v>0.17559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c:v>
                </c:pt>
                <c:pt idx="1">
                  <c:v>0.004715</c:v>
                </c:pt>
                <c:pt idx="2">
                  <c:v>0.00126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949</c:v>
                </c:pt>
                <c:pt idx="1">
                  <c:v>0.00793</c:v>
                </c:pt>
                <c:pt idx="2">
                  <c:v>0.00299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553</c:v>
                </c:pt>
                <c:pt idx="1">
                  <c:v>0.00336</c:v>
                </c:pt>
                <c:pt idx="2">
                  <c:v>0.00089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869</c:v>
                </c:pt>
                <c:pt idx="1">
                  <c:v>0.00241</c:v>
                </c:pt>
                <c:pt idx="2">
                  <c:v>0.00074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66</c:v>
                </c:pt>
                <c:pt idx="1">
                  <c:v>0.002099</c:v>
                </c:pt>
                <c:pt idx="2">
                  <c:v>0.00064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501</c:v>
                </c:pt>
                <c:pt idx="1">
                  <c:v>0.001243</c:v>
                </c:pt>
                <c:pt idx="2">
                  <c:v>0.00054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833</c:v>
                </c:pt>
                <c:pt idx="1">
                  <c:v>0.001514</c:v>
                </c:pt>
                <c:pt idx="2">
                  <c:v>0.00057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03</c:v>
                </c:pt>
                <c:pt idx="1">
                  <c:v>0.000814</c:v>
                </c:pt>
                <c:pt idx="2">
                  <c:v>0.00029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613</c:v>
                </c:pt>
                <c:pt idx="1">
                  <c:v>0.001674</c:v>
                </c:pt>
                <c:pt idx="2">
                  <c:v>0.0005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195</c:v>
                </c:pt>
                <c:pt idx="1">
                  <c:v>0.009207</c:v>
                </c:pt>
                <c:pt idx="2">
                  <c:v>0.0029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2298</c:v>
                </c:pt>
                <c:pt idx="1">
                  <c:v>0.361132</c:v>
                </c:pt>
                <c:pt idx="2">
                  <c:v>0.09863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4283</c:v>
                </c:pt>
                <c:pt idx="1">
                  <c:v>0.233207</c:v>
                </c:pt>
                <c:pt idx="2">
                  <c:v>0.0886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7363</c:v>
                </c:pt>
                <c:pt idx="1">
                  <c:v>0.209728</c:v>
                </c:pt>
                <c:pt idx="2">
                  <c:v>0.0580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2786</c:v>
                </c:pt>
                <c:pt idx="1">
                  <c:v>0.095136</c:v>
                </c:pt>
                <c:pt idx="2">
                  <c:v>0.02841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6291</c:v>
                </c:pt>
                <c:pt idx="1">
                  <c:v>0.083888</c:v>
                </c:pt>
                <c:pt idx="2">
                  <c:v>0.02584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471</c:v>
                </c:pt>
                <c:pt idx="1">
                  <c:v>0.077311</c:v>
                </c:pt>
                <c:pt idx="2">
                  <c:v>0.03261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87424</c:v>
                </c:pt>
                <c:pt idx="1">
                  <c:v>0.076337</c:v>
                </c:pt>
                <c:pt idx="2">
                  <c:v>0.02930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8083</c:v>
                </c:pt>
                <c:pt idx="1">
                  <c:v>0.06697</c:v>
                </c:pt>
                <c:pt idx="2">
                  <c:v>0.02375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6937</c:v>
                </c:pt>
                <c:pt idx="1">
                  <c:v>0.069902</c:v>
                </c:pt>
                <c:pt idx="2">
                  <c:v>0.02271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93085</c:v>
                </c:pt>
                <c:pt idx="1">
                  <c:v>0.543738</c:v>
                </c:pt>
                <c:pt idx="2">
                  <c:v>0.1754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8.8</a:t>
                    </a:r>
                  </a:p>
                </c:rich>
              </c:tx>
              <c:showLegendKey val="0"/>
              <c:showVal val="1"/>
              <c:showCatName val="0"/>
              <c:showSerName val="0"/>
              <c:showPercent val="0"/>
              <c:showBubbleSize val="0"/>
            </c:dLbl>
            <c:dLbl>
              <c:idx val="1"/>
              <c:tx>
                <c:rich>
                  <a:bodyPr/>
                  <a:lstStyle/>
                  <a:p>
                    <a:r>
                      <a:rPr>
                        <a:solidFill>
                          <a:srgbClr val="FFFFFF"/>
                        </a:solidFill>
                      </a:rPr>
                      <a:t>22.5</a:t>
                    </a:r>
                  </a:p>
                </c:rich>
              </c:tx>
              <c:showLegendKey val="0"/>
              <c:showVal val="1"/>
              <c:showCatName val="0"/>
              <c:showSerName val="0"/>
              <c:showPercent val="0"/>
              <c:showBubbleSize val="0"/>
            </c:dLbl>
            <c:dLbl>
              <c:idx val="2"/>
              <c:tx>
                <c:rich>
                  <a:bodyPr/>
                  <a:lstStyle/>
                  <a:p>
                    <a:r>
                      <a:rPr>
                        <a:solidFill>
                          <a:srgbClr val="FFFFFF"/>
                        </a:solidFill>
                      </a:rPr>
                      <a:t>1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820274</c:v>
                </c:pt>
                <c:pt idx="1">
                  <c:v>22.507955</c:v>
                </c:pt>
                <c:pt idx="2">
                  <c:v>11.9214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278</c:v>
                </c:pt>
                <c:pt idx="1">
                  <c:v>0.024391</c:v>
                </c:pt>
                <c:pt idx="2">
                  <c:v>0.0165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254</c:v>
                </c:pt>
                <c:pt idx="1">
                  <c:v>0.003429</c:v>
                </c:pt>
                <c:pt idx="2">
                  <c:v>0.0008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423</c:v>
                </c:pt>
                <c:pt idx="1">
                  <c:v>0.004817</c:v>
                </c:pt>
                <c:pt idx="2">
                  <c:v>0.00166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741</c:v>
                </c:pt>
                <c:pt idx="1">
                  <c:v>0.001515</c:v>
                </c:pt>
                <c:pt idx="2">
                  <c:v>0.00043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045</c:v>
                </c:pt>
                <c:pt idx="1">
                  <c:v>0.001431</c:v>
                </c:pt>
                <c:pt idx="2">
                  <c:v>0.00050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608</c:v>
                </c:pt>
                <c:pt idx="1">
                  <c:v>0.001841</c:v>
                </c:pt>
                <c:pt idx="2">
                  <c:v>0.00044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056</c:v>
                </c:pt>
                <c:pt idx="1">
                  <c:v>0.001406</c:v>
                </c:pt>
                <c:pt idx="2">
                  <c:v>0.00046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264</c:v>
                </c:pt>
                <c:pt idx="1">
                  <c:v>0.001065</c:v>
                </c:pt>
                <c:pt idx="2">
                  <c:v>0.00031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865</c:v>
                </c:pt>
                <c:pt idx="1">
                  <c:v>0.000882</c:v>
                </c:pt>
                <c:pt idx="2">
                  <c:v>0.00030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895</c:v>
                </c:pt>
                <c:pt idx="1">
                  <c:v>0.000882</c:v>
                </c:pt>
                <c:pt idx="2">
                  <c:v>0.0002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977</c:v>
                </c:pt>
                <c:pt idx="1">
                  <c:v>0.00624</c:v>
                </c:pt>
                <c:pt idx="2">
                  <c:v>0.0018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5936</c:v>
                </c:pt>
                <c:pt idx="1">
                  <c:v>0.259649</c:v>
                </c:pt>
                <c:pt idx="2">
                  <c:v>0.06491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0897</c:v>
                </c:pt>
                <c:pt idx="1">
                  <c:v>0.141396</c:v>
                </c:pt>
                <c:pt idx="2">
                  <c:v>0.04915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5995</c:v>
                </c:pt>
                <c:pt idx="1">
                  <c:v>0.094471</c:v>
                </c:pt>
                <c:pt idx="2">
                  <c:v>0.0285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196</c:v>
                </c:pt>
                <c:pt idx="1">
                  <c:v>0.056472</c:v>
                </c:pt>
                <c:pt idx="2">
                  <c:v>0.01897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5066</c:v>
                </c:pt>
                <c:pt idx="1">
                  <c:v>0.073842</c:v>
                </c:pt>
                <c:pt idx="2">
                  <c:v>0.018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3477</c:v>
                </c:pt>
                <c:pt idx="1">
                  <c:v>0.055783</c:v>
                </c:pt>
                <c:pt idx="2">
                  <c:v>0.01853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9616</c:v>
                </c:pt>
                <c:pt idx="1">
                  <c:v>0.052373</c:v>
                </c:pt>
                <c:pt idx="2">
                  <c:v>0.01646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2484</c:v>
                </c:pt>
                <c:pt idx="1">
                  <c:v>0.050808</c:v>
                </c:pt>
                <c:pt idx="2">
                  <c:v>0.01723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038</c:v>
                </c:pt>
                <c:pt idx="1">
                  <c:v>0.04343</c:v>
                </c:pt>
                <c:pt idx="2">
                  <c:v>0.0125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391</c:v>
                </c:pt>
                <c:pt idx="1">
                  <c:v>0.358342</c:v>
                </c:pt>
                <c:pt idx="2">
                  <c:v>0.1109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55</c:v>
                </c:pt>
                <c:pt idx="1">
                  <c:v>0.002017</c:v>
                </c:pt>
                <c:pt idx="2">
                  <c:v>0.00057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576</c:v>
                </c:pt>
                <c:pt idx="1">
                  <c:v>0.004204</c:v>
                </c:pt>
                <c:pt idx="2">
                  <c:v>0.0018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588</c:v>
                </c:pt>
                <c:pt idx="1">
                  <c:v>0.00152</c:v>
                </c:pt>
                <c:pt idx="2">
                  <c:v>0.00043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549</c:v>
                </c:pt>
                <c:pt idx="1">
                  <c:v>0.001438</c:v>
                </c:pt>
                <c:pt idx="2">
                  <c:v>0.00034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875</c:v>
                </c:pt>
                <c:pt idx="1">
                  <c:v>0.000783</c:v>
                </c:pt>
                <c:pt idx="2">
                  <c:v>0.0003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851</c:v>
                </c:pt>
                <c:pt idx="1">
                  <c:v>0.000895</c:v>
                </c:pt>
                <c:pt idx="2">
                  <c:v>0.0002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726</c:v>
                </c:pt>
                <c:pt idx="1">
                  <c:v>0.000601</c:v>
                </c:pt>
                <c:pt idx="2">
                  <c:v>0.00024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724</c:v>
                </c:pt>
                <c:pt idx="1">
                  <c:v>0.000555</c:v>
                </c:pt>
                <c:pt idx="2">
                  <c:v>0.00022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58</c:v>
                </c:pt>
                <c:pt idx="1">
                  <c:v>0.000785</c:v>
                </c:pt>
                <c:pt idx="2">
                  <c:v>0.0002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369</c:v>
                </c:pt>
                <c:pt idx="1">
                  <c:v>0.004984</c:v>
                </c:pt>
                <c:pt idx="2">
                  <c:v>0.0014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1398</c:v>
                </c:pt>
                <c:pt idx="1">
                  <c:v>0.155813</c:v>
                </c:pt>
                <c:pt idx="2">
                  <c:v>0.0455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101</c:v>
                </c:pt>
                <c:pt idx="1">
                  <c:v>0.124075</c:v>
                </c:pt>
                <c:pt idx="2">
                  <c:v>0.05646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7542</c:v>
                </c:pt>
                <c:pt idx="1">
                  <c:v>0.094464</c:v>
                </c:pt>
                <c:pt idx="2">
                  <c:v>0.02890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4953</c:v>
                </c:pt>
                <c:pt idx="1">
                  <c:v>0.058739</c:v>
                </c:pt>
                <c:pt idx="2">
                  <c:v>0.01473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9252</c:v>
                </c:pt>
                <c:pt idx="1">
                  <c:v>0.031182</c:v>
                </c:pt>
                <c:pt idx="2">
                  <c:v>0.01488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719</c:v>
                </c:pt>
                <c:pt idx="1">
                  <c:v>0.044092</c:v>
                </c:pt>
                <c:pt idx="2">
                  <c:v>0.01443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6193</c:v>
                </c:pt>
                <c:pt idx="1">
                  <c:v>0.035974</c:v>
                </c:pt>
                <c:pt idx="2">
                  <c:v>0.01385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687</c:v>
                </c:pt>
                <c:pt idx="1">
                  <c:v>0.034279</c:v>
                </c:pt>
                <c:pt idx="2">
                  <c:v>0.01390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5049</c:v>
                </c:pt>
                <c:pt idx="1">
                  <c:v>0.031303</c:v>
                </c:pt>
                <c:pt idx="2">
                  <c:v>0.01061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128</c:v>
                </c:pt>
                <c:pt idx="1">
                  <c:v>0.285369</c:v>
                </c:pt>
                <c:pt idx="2">
                  <c:v>0.09039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5082</c:v>
                </c:pt>
                <c:pt idx="1">
                  <c:v>0.522855</c:v>
                </c:pt>
                <c:pt idx="2">
                  <c:v>0.3897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94294</c:v>
                </c:pt>
                <c:pt idx="1">
                  <c:v>4.452119</c:v>
                </c:pt>
                <c:pt idx="2">
                  <c:v>2.2929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8.7</a:t>
                    </a:r>
                  </a:p>
                </c:rich>
              </c:tx>
              <c:showLegendKey val="0"/>
              <c:showVal val="1"/>
              <c:showCatName val="0"/>
              <c:showSerName val="0"/>
              <c:showPercent val="0"/>
              <c:showBubbleSize val="0"/>
            </c:dLbl>
            <c:dLbl>
              <c:idx val="1"/>
              <c:tx>
                <c:rich>
                  <a:bodyPr/>
                  <a:lstStyle/>
                  <a:p>
                    <a:r>
                      <a:rPr>
                        <a:solidFill>
                          <a:srgbClr val="FFFFFF"/>
                        </a:solidFill>
                      </a:rPr>
                      <a:t>22.0</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708011</c:v>
                </c:pt>
                <c:pt idx="1">
                  <c:v>21.987487</c:v>
                </c:pt>
                <c:pt idx="2">
                  <c:v>11.53305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697</c:v>
                </c:pt>
                <c:pt idx="1">
                  <c:v>0.009592</c:v>
                </c:pt>
                <c:pt idx="2">
                  <c:v>0.0046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414</c:v>
                </c:pt>
                <c:pt idx="1">
                  <c:v>0.003484</c:v>
                </c:pt>
                <c:pt idx="2">
                  <c:v>0.00137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038</c:v>
                </c:pt>
                <c:pt idx="1">
                  <c:v>0.000846</c:v>
                </c:pt>
                <c:pt idx="2">
                  <c:v>6.6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482</c:v>
                </c:pt>
                <c:pt idx="1">
                  <c:v>0.001151</c:v>
                </c:pt>
                <c:pt idx="2">
                  <c:v>0.0004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6547</c:v>
                </c:pt>
                <c:pt idx="1">
                  <c:v>0.377587</c:v>
                </c:pt>
                <c:pt idx="2">
                  <c:v>0.18193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3276</c:v>
                </c:pt>
                <c:pt idx="1">
                  <c:v>0.139769</c:v>
                </c:pt>
                <c:pt idx="2">
                  <c:v>0.05564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988</c:v>
                </c:pt>
                <c:pt idx="1">
                  <c:v>0.036422</c:v>
                </c:pt>
                <c:pt idx="2">
                  <c:v>0.00308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012</c:v>
                </c:pt>
                <c:pt idx="1">
                  <c:v>0.048982</c:v>
                </c:pt>
                <c:pt idx="2">
                  <c:v>0.01754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47</c:v>
                </c:pt>
                <c:pt idx="1">
                  <c:v>0.005825</c:v>
                </c:pt>
                <c:pt idx="2">
                  <c:v>0.00253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695</c:v>
                </c:pt>
                <c:pt idx="1">
                  <c:v>0.002479</c:v>
                </c:pt>
                <c:pt idx="2">
                  <c:v>0.0009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537</c:v>
                </c:pt>
                <c:pt idx="1">
                  <c:v>0.000354</c:v>
                </c:pt>
                <c:pt idx="2">
                  <c:v>4.6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106</c:v>
                </c:pt>
                <c:pt idx="1">
                  <c:v>0.000915</c:v>
                </c:pt>
                <c:pt idx="2">
                  <c:v>0.00044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918</c:v>
                </c:pt>
                <c:pt idx="1">
                  <c:v>0.229792</c:v>
                </c:pt>
                <c:pt idx="2">
                  <c:v>0.1010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6032</c:v>
                </c:pt>
                <c:pt idx="1">
                  <c:v>0.100359</c:v>
                </c:pt>
                <c:pt idx="2">
                  <c:v>0.03987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6126</c:v>
                </c:pt>
                <c:pt idx="1">
                  <c:v>0.015135</c:v>
                </c:pt>
                <c:pt idx="2">
                  <c:v>0.0020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6577</c:v>
                </c:pt>
                <c:pt idx="1">
                  <c:v>0.039527</c:v>
                </c:pt>
                <c:pt idx="2">
                  <c:v>0.01870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13</c:v>
                </c:pt>
                <c:pt idx="1">
                  <c:v>0.000466</c:v>
                </c:pt>
                <c:pt idx="2">
                  <c:v>0.0001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2e-05</c:v>
                </c:pt>
                <c:pt idx="1">
                  <c:v>3.9e-05</c:v>
                </c:pt>
                <c:pt idx="2">
                  <c:v>6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56</c:v>
                </c:pt>
                <c:pt idx="1">
                  <c:v>0.000411</c:v>
                </c:pt>
                <c:pt idx="2">
                  <c:v>0.00013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828</c:v>
                </c:pt>
                <c:pt idx="1">
                  <c:v>0.018344</c:v>
                </c:pt>
                <c:pt idx="2">
                  <c:v>0.00716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925</c:v>
                </c:pt>
                <c:pt idx="1">
                  <c:v>0.001537</c:v>
                </c:pt>
                <c:pt idx="2">
                  <c:v>0.0002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026</c:v>
                </c:pt>
                <c:pt idx="1">
                  <c:v>0.016599</c:v>
                </c:pt>
                <c:pt idx="2">
                  <c:v>0.0053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4782</c:v>
                </c:pt>
                <c:pt idx="1">
                  <c:v>0.038204</c:v>
                </c:pt>
                <c:pt idx="2">
                  <c:v>0.0185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126</c:v>
                </c:pt>
                <c:pt idx="1">
                  <c:v>0.013088</c:v>
                </c:pt>
                <c:pt idx="2">
                  <c:v>0.0049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479</c:v>
                </c:pt>
                <c:pt idx="1">
                  <c:v>0.002346</c:v>
                </c:pt>
                <c:pt idx="2">
                  <c:v>0.000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922</c:v>
                </c:pt>
                <c:pt idx="1">
                  <c:v>0.005129</c:v>
                </c:pt>
                <c:pt idx="2">
                  <c:v>0.0021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7547</c:v>
                </c:pt>
                <c:pt idx="1">
                  <c:v>1.507531</c:v>
                </c:pt>
                <c:pt idx="2">
                  <c:v>0.7364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3162</c:v>
                </c:pt>
                <c:pt idx="1">
                  <c:v>0.525868</c:v>
                </c:pt>
                <c:pt idx="2">
                  <c:v>0.199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6442</c:v>
                </c:pt>
                <c:pt idx="1">
                  <c:v>0.10251</c:v>
                </c:pt>
                <c:pt idx="2">
                  <c:v>0.0094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42569</c:v>
                </c:pt>
                <c:pt idx="1">
                  <c:v>0.217547</c:v>
                </c:pt>
                <c:pt idx="2">
                  <c:v>0.09059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24</c:v>
                </c:pt>
                <c:pt idx="1">
                  <c:v>0.000805</c:v>
                </c:pt>
                <c:pt idx="2">
                  <c:v>0.0002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13</c:v>
                </c:pt>
                <c:pt idx="1">
                  <c:v>8.7e-05</c:v>
                </c:pt>
                <c:pt idx="2">
                  <c:v>8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99</c:v>
                </c:pt>
                <c:pt idx="1">
                  <c:v>0.000359</c:v>
                </c:pt>
                <c:pt idx="2">
                  <c:v>0.00016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856</c:v>
                </c:pt>
                <c:pt idx="1">
                  <c:v>0.03179</c:v>
                </c:pt>
                <c:pt idx="2">
                  <c:v>0.01208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48</c:v>
                </c:pt>
                <c:pt idx="1">
                  <c:v>0.003488</c:v>
                </c:pt>
                <c:pt idx="2">
                  <c:v>0.0003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171</c:v>
                </c:pt>
                <c:pt idx="1">
                  <c:v>0.014714</c:v>
                </c:pt>
                <c:pt idx="2">
                  <c:v>0.0067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87</c:v>
                </c:pt>
                <c:pt idx="1">
                  <c:v>0.000877</c:v>
                </c:pt>
                <c:pt idx="2">
                  <c:v>0.0003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3</c:v>
                </c:pt>
                <c:pt idx="1">
                  <c:v>0.000325</c:v>
                </c:pt>
                <c:pt idx="2">
                  <c:v>0.00010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58</c:v>
                </c:pt>
                <c:pt idx="1">
                  <c:v>7.3e-05</c:v>
                </c:pt>
                <c:pt idx="2">
                  <c:v>1e-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9e-05</c:v>
                </c:pt>
                <c:pt idx="1">
                  <c:v>7.2e-05</c:v>
                </c:pt>
                <c:pt idx="2">
                  <c:v>3.2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0516</c:v>
                </c:pt>
                <c:pt idx="1">
                  <c:v>0.034514</c:v>
                </c:pt>
                <c:pt idx="2">
                  <c:v>0.01583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085</c:v>
                </c:pt>
                <c:pt idx="1">
                  <c:v>0.013227</c:v>
                </c:pt>
                <c:pt idx="2">
                  <c:v>0.00445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817</c:v>
                </c:pt>
                <c:pt idx="1">
                  <c:v>0.002991</c:v>
                </c:pt>
                <c:pt idx="2">
                  <c:v>3.7e-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336</c:v>
                </c:pt>
                <c:pt idx="1">
                  <c:v>0.002947</c:v>
                </c:pt>
                <c:pt idx="2">
                  <c:v>0.0013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3409</c:v>
                </c:pt>
                <c:pt idx="1">
                  <c:v>0.011887</c:v>
                </c:pt>
                <c:pt idx="2">
                  <c:v>0.0054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258</c:v>
                </c:pt>
                <c:pt idx="1">
                  <c:v>0.000714</c:v>
                </c:pt>
                <c:pt idx="2">
                  <c:v>8.8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502</c:v>
                </c:pt>
                <c:pt idx="1">
                  <c:v>0.005422</c:v>
                </c:pt>
                <c:pt idx="2">
                  <c:v>0.0019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00443</c:v>
                </c:pt>
                <c:pt idx="1">
                  <c:v>0.468257</c:v>
                </c:pt>
                <c:pt idx="2">
                  <c:v>0.21462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167</c:v>
                </c:pt>
                <c:pt idx="1">
                  <c:v>0.031032</c:v>
                </c:pt>
                <c:pt idx="2">
                  <c:v>0.00398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9749</c:v>
                </c:pt>
                <c:pt idx="1">
                  <c:v>0.221373</c:v>
                </c:pt>
                <c:pt idx="2">
                  <c:v>0.0788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317</c:v>
                </c:pt>
                <c:pt idx="1">
                  <c:v>0.010514</c:v>
                </c:pt>
                <c:pt idx="2">
                  <c:v>0.00472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696</c:v>
                </c:pt>
                <c:pt idx="1">
                  <c:v>0.00322</c:v>
                </c:pt>
                <c:pt idx="2">
                  <c:v>0.00139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965</c:v>
                </c:pt>
                <c:pt idx="1">
                  <c:v>0.00071</c:v>
                </c:pt>
                <c:pt idx="2">
                  <c:v>6.9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863</c:v>
                </c:pt>
                <c:pt idx="1">
                  <c:v>0.000877</c:v>
                </c:pt>
                <c:pt idx="2">
                  <c:v>0.00048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61867</c:v>
                </c:pt>
                <c:pt idx="1">
                  <c:v>0.414981</c:v>
                </c:pt>
                <c:pt idx="2">
                  <c:v>0.18808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5646</c:v>
                </c:pt>
                <c:pt idx="1">
                  <c:v>0.130145</c:v>
                </c:pt>
                <c:pt idx="2">
                  <c:v>0.05695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6121</c:v>
                </c:pt>
                <c:pt idx="1">
                  <c:v>0.030573</c:v>
                </c:pt>
                <c:pt idx="2">
                  <c:v>0.00323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5954</c:v>
                </c:pt>
                <c:pt idx="1">
                  <c:v>0.037771</c:v>
                </c:pt>
                <c:pt idx="2">
                  <c:v>0.0203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619</c:v>
                </c:pt>
                <c:pt idx="1">
                  <c:v>0.008918</c:v>
                </c:pt>
                <c:pt idx="2">
                  <c:v>0.00358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79</c:v>
                </c:pt>
                <c:pt idx="1">
                  <c:v>0.000746</c:v>
                </c:pt>
                <c:pt idx="2">
                  <c:v>0.00097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10345</c:v>
                </c:pt>
                <c:pt idx="1">
                  <c:v>0.359964</c:v>
                </c:pt>
                <c:pt idx="2">
                  <c:v>0.150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794</c:v>
                </c:pt>
                <c:pt idx="1">
                  <c:v>0.041879</c:v>
                </c:pt>
                <c:pt idx="2">
                  <c:v>0.0549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949</c:v>
                </c:pt>
                <c:pt idx="1">
                  <c:v>0.005258</c:v>
                </c:pt>
                <c:pt idx="2">
                  <c:v>0.00238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2</c:v>
                </c:pt>
                <c:pt idx="1">
                  <c:v>0.000525</c:v>
                </c:pt>
                <c:pt idx="2">
                  <c:v>0.00081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1545</c:v>
                </c:pt>
                <c:pt idx="1">
                  <c:v>0.21952</c:v>
                </c:pt>
                <c:pt idx="2">
                  <c:v>0.10136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47</c:v>
                </c:pt>
                <c:pt idx="1">
                  <c:v>0.030186</c:v>
                </c:pt>
                <c:pt idx="2">
                  <c:v>0.0463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789</c:v>
                </c:pt>
                <c:pt idx="1">
                  <c:v>0.000725</c:v>
                </c:pt>
                <c:pt idx="2">
                  <c:v>0.00024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9e-05</c:v>
                </c:pt>
                <c:pt idx="1">
                  <c:v>8.3e-05</c:v>
                </c:pt>
                <c:pt idx="2">
                  <c:v>0.00010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0302</c:v>
                </c:pt>
                <c:pt idx="1">
                  <c:v>0.029101</c:v>
                </c:pt>
                <c:pt idx="2">
                  <c:v>0.01054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77</c:v>
                </c:pt>
                <c:pt idx="1">
                  <c:v>0.004619</c:v>
                </c:pt>
                <c:pt idx="2">
                  <c:v>0.0057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1454</c:v>
                </c:pt>
                <c:pt idx="1">
                  <c:v>0.034273</c:v>
                </c:pt>
                <c:pt idx="2">
                  <c:v>0.01554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074</c:v>
                </c:pt>
                <c:pt idx="1">
                  <c:v>0.00268</c:v>
                </c:pt>
                <c:pt idx="2">
                  <c:v>0.00529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10168</c:v>
                </c:pt>
                <c:pt idx="1">
                  <c:v>1.404095</c:v>
                </c:pt>
                <c:pt idx="2">
                  <c:v>0.6524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4166</c:v>
                </c:pt>
                <c:pt idx="1">
                  <c:v>0.15449</c:v>
                </c:pt>
                <c:pt idx="2">
                  <c:v>0.30029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6</c:v>
                </c:pt>
                <c:pt idx="1">
                  <c:v>0.001247</c:v>
                </c:pt>
                <c:pt idx="2">
                  <c:v>0.00069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79</c:v>
                </c:pt>
                <c:pt idx="1">
                  <c:v>0.027566</c:v>
                </c:pt>
                <c:pt idx="2">
                  <c:v>0.0163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889</c:v>
                </c:pt>
                <c:pt idx="1">
                  <c:v>0.010619</c:v>
                </c:pt>
                <c:pt idx="2">
                  <c:v>0.00479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211</c:v>
                </c:pt>
                <c:pt idx="1">
                  <c:v>0.000788</c:v>
                </c:pt>
                <c:pt idx="2">
                  <c:v>0.0013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99515</c:v>
                </c:pt>
                <c:pt idx="1">
                  <c:v>0.432545</c:v>
                </c:pt>
                <c:pt idx="2">
                  <c:v>0.2004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765</c:v>
                </c:pt>
                <c:pt idx="1">
                  <c:v>0.045351</c:v>
                </c:pt>
                <c:pt idx="2">
                  <c:v>0.0777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168</c:v>
                </c:pt>
                <c:pt idx="1">
                  <c:v>0.009188</c:v>
                </c:pt>
                <c:pt idx="2">
                  <c:v>0.003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65</c:v>
                </c:pt>
                <c:pt idx="1">
                  <c:v>0.000722</c:v>
                </c:pt>
                <c:pt idx="2">
                  <c:v>0.0011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4667</c:v>
                </c:pt>
                <c:pt idx="1">
                  <c:v>0.375557</c:v>
                </c:pt>
                <c:pt idx="2">
                  <c:v>0.14763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115</c:v>
                </c:pt>
                <c:pt idx="1">
                  <c:v>0.041592</c:v>
                </c:pt>
                <c:pt idx="2">
                  <c:v>0.06492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26</c:v>
                </c:pt>
                <c:pt idx="1">
                  <c:v>0.000911</c:v>
                </c:pt>
                <c:pt idx="2">
                  <c:v>0.000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68</c:v>
                </c:pt>
                <c:pt idx="1">
                  <c:v>0.000504</c:v>
                </c:pt>
                <c:pt idx="2">
                  <c:v>0.000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012</c:v>
                </c:pt>
                <c:pt idx="1">
                  <c:v>0.002293</c:v>
                </c:pt>
                <c:pt idx="2">
                  <c:v>0.0008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667</c:v>
                </c:pt>
                <c:pt idx="1">
                  <c:v>0.019908</c:v>
                </c:pt>
                <c:pt idx="2">
                  <c:v>0.01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9579</c:v>
                </c:pt>
                <c:pt idx="1">
                  <c:v>0.176973</c:v>
                </c:pt>
                <c:pt idx="2">
                  <c:v>0.06686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63001</c:v>
                </c:pt>
                <c:pt idx="1">
                  <c:v>0.276136</c:v>
                </c:pt>
                <c:pt idx="2">
                  <c:v>0.1086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87</c:v>
                </c:pt>
                <c:pt idx="1">
                  <c:v>0.000473</c:v>
                </c:pt>
                <c:pt idx="2">
                  <c:v>0.00025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93</c:v>
                </c:pt>
                <c:pt idx="1">
                  <c:v>0.000446</c:v>
                </c:pt>
                <c:pt idx="2">
                  <c:v>0.00022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354</c:v>
                </c:pt>
                <c:pt idx="1">
                  <c:v>0.000973</c:v>
                </c:pt>
                <c:pt idx="2">
                  <c:v>0.00050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0198</c:v>
                </c:pt>
                <c:pt idx="1">
                  <c:v>0.171693</c:v>
                </c:pt>
                <c:pt idx="2">
                  <c:v>0.08321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986</c:v>
                </c:pt>
                <c:pt idx="1">
                  <c:v>0.116196</c:v>
                </c:pt>
                <c:pt idx="2">
                  <c:v>0.0577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1422</c:v>
                </c:pt>
                <c:pt idx="1">
                  <c:v>0.103182</c:v>
                </c:pt>
                <c:pt idx="2">
                  <c:v>0.0527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e-05</c:v>
                </c:pt>
                <c:pt idx="1">
                  <c:v>7.1e-05</c:v>
                </c:pt>
                <c:pt idx="2">
                  <c:v>1.9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43</c:v>
                </c:pt>
                <c:pt idx="1">
                  <c:v>0.000245</c:v>
                </c:pt>
                <c:pt idx="2">
                  <c:v>0.0001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1721</c:v>
                </c:pt>
                <c:pt idx="1">
                  <c:v>0.022483</c:v>
                </c:pt>
                <c:pt idx="2">
                  <c:v>0.0055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5068</c:v>
                </c:pt>
                <c:pt idx="1">
                  <c:v>0.028489</c:v>
                </c:pt>
                <c:pt idx="2">
                  <c:v>0.0113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4e-05</c:v>
                </c:pt>
                <c:pt idx="1">
                  <c:v>0.000116</c:v>
                </c:pt>
                <c:pt idx="2">
                  <c:v>3.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3e-05</c:v>
                </c:pt>
                <c:pt idx="1">
                  <c:v>5.9e-05</c:v>
                </c:pt>
                <c:pt idx="2">
                  <c:v>3.4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52</c:v>
                </c:pt>
                <c:pt idx="1">
                  <c:v>0.000138</c:v>
                </c:pt>
                <c:pt idx="2">
                  <c:v>4.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3689</c:v>
                </c:pt>
                <c:pt idx="1">
                  <c:v>0.04277</c:v>
                </c:pt>
                <c:pt idx="2">
                  <c:v>0.01242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634</c:v>
                </c:pt>
                <c:pt idx="1">
                  <c:v>0.011773</c:v>
                </c:pt>
                <c:pt idx="2">
                  <c:v>0.0097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3552</c:v>
                </c:pt>
                <c:pt idx="1">
                  <c:v>0.013413</c:v>
                </c:pt>
                <c:pt idx="2">
                  <c:v>0.0048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47</c:v>
                </c:pt>
                <c:pt idx="1">
                  <c:v>0.002055</c:v>
                </c:pt>
                <c:pt idx="2">
                  <c:v>0.0008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092</c:v>
                </c:pt>
                <c:pt idx="1">
                  <c:v>0.007741</c:v>
                </c:pt>
                <c:pt idx="2">
                  <c:v>0.003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3086</c:v>
                </c:pt>
                <c:pt idx="1">
                  <c:v>0.732188</c:v>
                </c:pt>
                <c:pt idx="2">
                  <c:v>0.29566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85644</c:v>
                </c:pt>
                <c:pt idx="1">
                  <c:v>1.024462</c:v>
                </c:pt>
                <c:pt idx="2">
                  <c:v>0.4243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2e-05</c:v>
                </c:pt>
                <c:pt idx="1">
                  <c:v>6.1e-05</c:v>
                </c:pt>
                <c:pt idx="2">
                  <c:v>1.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71</c:v>
                </c:pt>
                <c:pt idx="1">
                  <c:v>0.000194</c:v>
                </c:pt>
                <c:pt idx="2">
                  <c:v>7.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749</c:v>
                </c:pt>
                <c:pt idx="1">
                  <c:v>0.019331</c:v>
                </c:pt>
                <c:pt idx="2">
                  <c:v>0.004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8423</c:v>
                </c:pt>
                <c:pt idx="1">
                  <c:v>0.021802</c:v>
                </c:pt>
                <c:pt idx="2">
                  <c:v>0.0074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39</c:v>
                </c:pt>
                <c:pt idx="1">
                  <c:v>0.00061</c:v>
                </c:pt>
                <c:pt idx="2">
                  <c:v>0.0002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824</c:v>
                </c:pt>
                <c:pt idx="1">
                  <c:v>0.002194</c:v>
                </c:pt>
                <c:pt idx="2">
                  <c:v>0.0009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2886</c:v>
                </c:pt>
                <c:pt idx="1">
                  <c:v>0.214716</c:v>
                </c:pt>
                <c:pt idx="2">
                  <c:v>0.08436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47562</c:v>
                </c:pt>
                <c:pt idx="1">
                  <c:v>0.287579</c:v>
                </c:pt>
                <c:pt idx="2">
                  <c:v>0.1128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01</c:v>
                </c:pt>
                <c:pt idx="1">
                  <c:v>0.000469</c:v>
                </c:pt>
                <c:pt idx="2">
                  <c:v>0.00015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274</c:v>
                </c:pt>
                <c:pt idx="1">
                  <c:v>0.001818</c:v>
                </c:pt>
                <c:pt idx="2">
                  <c:v>0.0007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5346</c:v>
                </c:pt>
                <c:pt idx="1">
                  <c:v>0.169416</c:v>
                </c:pt>
                <c:pt idx="2">
                  <c:v>0.0526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4234</c:v>
                </c:pt>
                <c:pt idx="1">
                  <c:v>0.230807</c:v>
                </c:pt>
                <c:pt idx="2">
                  <c:v>0.09016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23</c:v>
                </c:pt>
                <c:pt idx="1">
                  <c:v>0.001013</c:v>
                </c:pt>
                <c:pt idx="2">
                  <c:v>0.0003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83</c:v>
                </c:pt>
                <c:pt idx="1">
                  <c:v>0.000755</c:v>
                </c:pt>
                <c:pt idx="2">
                  <c:v>0.00034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698</c:v>
                </c:pt>
                <c:pt idx="1">
                  <c:v>0.002909</c:v>
                </c:pt>
                <c:pt idx="2">
                  <c:v>0.00132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0515</c:v>
                </c:pt>
                <c:pt idx="1">
                  <c:v>0.128464</c:v>
                </c:pt>
                <c:pt idx="2">
                  <c:v>0.0407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1331</c:v>
                </c:pt>
                <c:pt idx="1">
                  <c:v>0.028413</c:v>
                </c:pt>
                <c:pt idx="2">
                  <c:v>0.0133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28001</c:v>
                </c:pt>
                <c:pt idx="1">
                  <c:v>0.252172</c:v>
                </c:pt>
                <c:pt idx="2">
                  <c:v>0.1246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881</c:v>
                </c:pt>
                <c:pt idx="1">
                  <c:v>0.000763</c:v>
                </c:pt>
                <c:pt idx="2">
                  <c:v>0.00025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547</c:v>
                </c:pt>
                <c:pt idx="1">
                  <c:v>0.000481</c:v>
                </c:pt>
                <c:pt idx="2">
                  <c:v>0.00016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33</c:v>
                </c:pt>
                <c:pt idx="1">
                  <c:v>0.000545</c:v>
                </c:pt>
                <c:pt idx="2">
                  <c:v>0.00020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018</c:v>
                </c:pt>
                <c:pt idx="1">
                  <c:v>0.001682</c:v>
                </c:pt>
                <c:pt idx="2">
                  <c:v>0.00058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2235</c:v>
                </c:pt>
                <c:pt idx="1">
                  <c:v>0.096886</c:v>
                </c:pt>
                <c:pt idx="2">
                  <c:v>0.03208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3596</c:v>
                </c:pt>
                <c:pt idx="1">
                  <c:v>0.040801</c:v>
                </c:pt>
                <c:pt idx="2">
                  <c:v>0.0137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2865</c:v>
                </c:pt>
                <c:pt idx="1">
                  <c:v>0.020789</c:v>
                </c:pt>
                <c:pt idx="2">
                  <c:v>0.00784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0552</c:v>
                </c:pt>
                <c:pt idx="1">
                  <c:v>0.109788</c:v>
                </c:pt>
                <c:pt idx="2">
                  <c:v>0.0376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61</c:v>
                </c:pt>
                <c:pt idx="1">
                  <c:v>0.000509</c:v>
                </c:pt>
                <c:pt idx="2">
                  <c:v>0.000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8</c:v>
                </c:pt>
                <c:pt idx="1">
                  <c:v>0.000572</c:v>
                </c:pt>
                <c:pt idx="2">
                  <c:v>0.0002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842</c:v>
                </c:pt>
                <c:pt idx="1">
                  <c:v>0.001577</c:v>
                </c:pt>
                <c:pt idx="2">
                  <c:v>0.0005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2593</c:v>
                </c:pt>
                <c:pt idx="1">
                  <c:v>0.064718</c:v>
                </c:pt>
                <c:pt idx="2">
                  <c:v>0.0187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7791</c:v>
                </c:pt>
                <c:pt idx="1">
                  <c:v>0.021605</c:v>
                </c:pt>
                <c:pt idx="2">
                  <c:v>0.0081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3814</c:v>
                </c:pt>
                <c:pt idx="1">
                  <c:v>0.115787</c:v>
                </c:pt>
                <c:pt idx="2">
                  <c:v>0.0394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23</c:v>
                </c:pt>
                <c:pt idx="1">
                  <c:v>0.001419</c:v>
                </c:pt>
                <c:pt idx="2">
                  <c:v>0.0004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811</c:v>
                </c:pt>
                <c:pt idx="1">
                  <c:v>0.00144</c:v>
                </c:pt>
                <c:pt idx="2">
                  <c:v>0.00046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557</c:v>
                </c:pt>
                <c:pt idx="1">
                  <c:v>0.003745</c:v>
                </c:pt>
                <c:pt idx="2">
                  <c:v>0.00138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2233</c:v>
                </c:pt>
                <c:pt idx="1">
                  <c:v>0.177447</c:v>
                </c:pt>
                <c:pt idx="2">
                  <c:v>0.05132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4275</c:v>
                </c:pt>
                <c:pt idx="1">
                  <c:v>0.054687</c:v>
                </c:pt>
                <c:pt idx="2">
                  <c:v>0.0178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21753</c:v>
                </c:pt>
                <c:pt idx="1">
                  <c:v>0.268501</c:v>
                </c:pt>
                <c:pt idx="2">
                  <c:v>0.1018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74</c:v>
                </c:pt>
                <c:pt idx="1">
                  <c:v>0.000713</c:v>
                </c:pt>
                <c:pt idx="2">
                  <c:v>0.0002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64</c:v>
                </c:pt>
                <c:pt idx="1">
                  <c:v>0.000606</c:v>
                </c:pt>
                <c:pt idx="2">
                  <c:v>0.00019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744</c:v>
                </c:pt>
                <c:pt idx="1">
                  <c:v>0.000715</c:v>
                </c:pt>
                <c:pt idx="2">
                  <c:v>0.0002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203</c:v>
                </c:pt>
                <c:pt idx="1">
                  <c:v>0.001753</c:v>
                </c:pt>
                <c:pt idx="2">
                  <c:v>0.0005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342</c:v>
                </c:pt>
                <c:pt idx="1">
                  <c:v>0.088877</c:v>
                </c:pt>
                <c:pt idx="2">
                  <c:v>0.0271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8889</c:v>
                </c:pt>
                <c:pt idx="1">
                  <c:v>0.049683</c:v>
                </c:pt>
                <c:pt idx="2">
                  <c:v>0.01613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8551</c:v>
                </c:pt>
                <c:pt idx="1">
                  <c:v>0.027855</c:v>
                </c:pt>
                <c:pt idx="2">
                  <c:v>0.01146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3072</c:v>
                </c:pt>
                <c:pt idx="1">
                  <c:v>0.121016</c:v>
                </c:pt>
                <c:pt idx="2">
                  <c:v>0.03361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21</c:v>
                </c:pt>
                <c:pt idx="1">
                  <c:v>0.000109</c:v>
                </c:pt>
                <c:pt idx="2">
                  <c:v>2.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4</c:v>
                </c:pt>
                <c:pt idx="1">
                  <c:v>0.000117</c:v>
                </c:pt>
                <c:pt idx="2">
                  <c:v>2.8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558</c:v>
                </c:pt>
                <c:pt idx="1">
                  <c:v>0.000356</c:v>
                </c:pt>
                <c:pt idx="2">
                  <c:v>0.00015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848</c:v>
                </c:pt>
                <c:pt idx="1">
                  <c:v>0.013524</c:v>
                </c:pt>
                <c:pt idx="2">
                  <c:v>0.00338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614</c:v>
                </c:pt>
                <c:pt idx="1">
                  <c:v>0.004221</c:v>
                </c:pt>
                <c:pt idx="2">
                  <c:v>0.00093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5983</c:v>
                </c:pt>
                <c:pt idx="1">
                  <c:v>0.023281</c:v>
                </c:pt>
                <c:pt idx="2">
                  <c:v>0.0092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01</c:v>
                </c:pt>
                <c:pt idx="1">
                  <c:v>0.001808</c:v>
                </c:pt>
                <c:pt idx="2">
                  <c:v>0.00061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788</c:v>
                </c:pt>
                <c:pt idx="1">
                  <c:v>0.002189</c:v>
                </c:pt>
                <c:pt idx="2">
                  <c:v>0.00088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749</c:v>
                </c:pt>
                <c:pt idx="1">
                  <c:v>0.005999</c:v>
                </c:pt>
                <c:pt idx="2">
                  <c:v>0.0023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0025</c:v>
                </c:pt>
                <c:pt idx="1">
                  <c:v>0.224139</c:v>
                </c:pt>
                <c:pt idx="2">
                  <c:v>0.0757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2922</c:v>
                </c:pt>
                <c:pt idx="1">
                  <c:v>0.082964</c:v>
                </c:pt>
                <c:pt idx="2">
                  <c:v>0.0332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88877</c:v>
                </c:pt>
                <c:pt idx="1">
                  <c:v>0.392601</c:v>
                </c:pt>
                <c:pt idx="2">
                  <c:v>0.14990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8697</c:v>
                </c:pt>
                <c:pt idx="1">
                  <c:v>1.680031</c:v>
                </c:pt>
                <c:pt idx="2">
                  <c:v>0.8357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5446</c:v>
                </c:pt>
                <c:pt idx="1">
                  <c:v>1.389988</c:v>
                </c:pt>
                <c:pt idx="2">
                  <c:v>0.6677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59098</c:v>
                </c:pt>
                <c:pt idx="1">
                  <c:v>1.334533</c:v>
                </c:pt>
                <c:pt idx="2">
                  <c:v>0.6500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15.6</a:t>
                    </a:r>
                  </a:p>
                </c:rich>
              </c:tx>
              <c:showLegendKey val="0"/>
              <c:showVal val="1"/>
              <c:showCatName val="0"/>
              <c:showSerName val="0"/>
              <c:showPercent val="0"/>
              <c:showBubbleSize val="0"/>
            </c:dLbl>
            <c:dLbl>
              <c:idx val="2"/>
              <c:tx>
                <c:rich>
                  <a:bodyPr/>
                  <a:lstStyle/>
                  <a:p>
                    <a:r>
                      <a:rPr>
                        <a:solidFill>
                          <a:srgbClr val="FFFFFF"/>
                        </a:solidFill>
                      </a:rPr>
                      <a:t>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418419</c:v>
                </c:pt>
                <c:pt idx="1">
                  <c:v>15.637544</c:v>
                </c:pt>
                <c:pt idx="2">
                  <c:v>7.8950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12.5</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335408</c:v>
                </c:pt>
                <c:pt idx="1">
                  <c:v>12.535428</c:v>
                </c:pt>
                <c:pt idx="2">
                  <c:v>6.0693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5.2</a:t>
                    </a:r>
                  </a:p>
                </c:rich>
              </c:tx>
              <c:showLegendKey val="0"/>
              <c:showVal val="1"/>
              <c:showCatName val="0"/>
              <c:showSerName val="0"/>
              <c:showPercent val="0"/>
              <c:showBubbleSize val="0"/>
            </c:dLbl>
            <c:dLbl>
              <c:idx val="1"/>
              <c:tx>
                <c:rich>
                  <a:bodyPr/>
                  <a:lstStyle/>
                  <a:p>
                    <a:r>
                      <a:rPr>
                        <a:solidFill>
                          <a:srgbClr val="FFFFFF"/>
                        </a:solidFill>
                      </a:rPr>
                      <a:t>12.9</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228024</c:v>
                </c:pt>
                <c:pt idx="1">
                  <c:v>12.865496</c:v>
                </c:pt>
                <c:pt idx="2">
                  <c:v>6.4786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646</c:v>
                </c:pt>
                <c:pt idx="1">
                  <c:v>0.038031</c:v>
                </c:pt>
                <c:pt idx="2">
                  <c:v>0.013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2162</c:v>
                </c:pt>
                <c:pt idx="1">
                  <c:v>0.623823</c:v>
                </c:pt>
                <c:pt idx="2">
                  <c:v>0.2425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36</c:v>
                </c:pt>
                <c:pt idx="1">
                  <c:v>0.001872</c:v>
                </c:pt>
                <c:pt idx="2">
                  <c:v>0.0006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3736</c:v>
                </c:pt>
                <c:pt idx="1">
                  <c:v>0.030364</c:v>
                </c:pt>
                <c:pt idx="2">
                  <c:v>0.0115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24</c:v>
                </c:pt>
                <c:pt idx="1">
                  <c:v>0.001773</c:v>
                </c:pt>
                <c:pt idx="2">
                  <c:v>0.0003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5915</c:v>
                </c:pt>
                <c:pt idx="1">
                  <c:v>0.028707</c:v>
                </c:pt>
                <c:pt idx="2">
                  <c:v>0.0064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482</c:v>
                </c:pt>
                <c:pt idx="1">
                  <c:v>0.002788</c:v>
                </c:pt>
                <c:pt idx="2">
                  <c:v>0.0009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2129</c:v>
                </c:pt>
                <c:pt idx="1">
                  <c:v>0.04598</c:v>
                </c:pt>
                <c:pt idx="2">
                  <c:v>0.0163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87</c:v>
                </c:pt>
                <c:pt idx="1">
                  <c:v>0.002566</c:v>
                </c:pt>
                <c:pt idx="2">
                  <c:v>0.00069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5274</c:v>
                </c:pt>
                <c:pt idx="1">
                  <c:v>0.041686</c:v>
                </c:pt>
                <c:pt idx="2">
                  <c:v>0.0128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25</c:v>
                </c:pt>
                <c:pt idx="1">
                  <c:v>0.000506</c:v>
                </c:pt>
                <c:pt idx="2">
                  <c:v>0.0003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25</c:v>
                </c:pt>
                <c:pt idx="1">
                  <c:v>0.009731</c:v>
                </c:pt>
                <c:pt idx="2">
                  <c:v>0.0086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212</c:v>
                </c:pt>
                <c:pt idx="1">
                  <c:v>0.007034</c:v>
                </c:pt>
                <c:pt idx="2">
                  <c:v>0.0024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3731</c:v>
                </c:pt>
                <c:pt idx="1">
                  <c:v>0.115002</c:v>
                </c:pt>
                <c:pt idx="2">
                  <c:v>0.0452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64208</c:v>
                </c:pt>
                <c:pt idx="1">
                  <c:v>2.659136</c:v>
                </c:pt>
                <c:pt idx="2">
                  <c:v>1.379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64234</c:v>
                </c:pt>
                <c:pt idx="1">
                  <c:v>3.524744</c:v>
                </c:pt>
                <c:pt idx="2">
                  <c:v>1.89209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08284</c:v>
                </c:pt>
                <c:pt idx="1">
                  <c:v>2.65398</c:v>
                </c:pt>
                <c:pt idx="2">
                  <c:v>1.31327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77698</c:v>
                </c:pt>
                <c:pt idx="1">
                  <c:v>1.534852</c:v>
                </c:pt>
                <c:pt idx="2">
                  <c:v>0.84622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35144</c:v>
                </c:pt>
                <c:pt idx="1">
                  <c:v>1.38247</c:v>
                </c:pt>
                <c:pt idx="2">
                  <c:v>0.74202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421039</c:v>
                </c:pt>
                <c:pt idx="1">
                  <c:v>3.468409</c:v>
                </c:pt>
                <c:pt idx="2">
                  <c:v>1.748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25.5</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331134</c:v>
                </c:pt>
                <c:pt idx="1">
                  <c:v>25.474872</c:v>
                </c:pt>
                <c:pt idx="2">
                  <c:v>13.03223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9.5</a:t>
                    </a:r>
                  </a:p>
                </c:rich>
              </c:tx>
              <c:showLegendKey val="0"/>
              <c:showVal val="1"/>
              <c:showCatName val="0"/>
              <c:showSerName val="0"/>
              <c:showPercent val="0"/>
              <c:showBubbleSize val="0"/>
            </c:dLbl>
            <c:dLbl>
              <c:idx val="1"/>
              <c:tx>
                <c:rich>
                  <a:bodyPr/>
                  <a:lstStyle/>
                  <a:p>
                    <a:r>
                      <a:rPr>
                        <a:solidFill>
                          <a:srgbClr val="FFFFFF"/>
                        </a:solidFill>
                      </a:rPr>
                      <a:t>24.2</a:t>
                    </a:r>
                  </a:p>
                </c:rich>
              </c:tx>
              <c:showLegendKey val="0"/>
              <c:showVal val="1"/>
              <c:showCatName val="0"/>
              <c:showSerName val="0"/>
              <c:showPercent val="0"/>
              <c:showBubbleSize val="0"/>
            </c:dLbl>
            <c:dLbl>
              <c:idx val="2"/>
              <c:tx>
                <c:rich>
                  <a:bodyPr/>
                  <a:lstStyle/>
                  <a:p>
                    <a:r>
                      <a:rPr>
                        <a:solidFill>
                          <a:srgbClr val="FFFFFF"/>
                        </a:solidFill>
                      </a:rPr>
                      <a:t>1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504072</c:v>
                </c:pt>
                <c:pt idx="1">
                  <c:v>24.166254</c:v>
                </c:pt>
                <c:pt idx="2">
                  <c:v>12.7670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20.9</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8.591361</c:v>
                </c:pt>
                <c:pt idx="1">
                  <c:v>20.883421</c:v>
                </c:pt>
                <c:pt idx="2">
                  <c:v>10.5090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13.9</a:t>
                    </a:r>
                  </a:p>
                </c:rich>
              </c:tx>
              <c:showLegendKey val="0"/>
              <c:showVal val="1"/>
              <c:showCatName val="0"/>
              <c:showSerName val="0"/>
              <c:showPercent val="0"/>
              <c:showBubbleSize val="0"/>
            </c:dLbl>
            <c:dLbl>
              <c:idx val="2"/>
              <c:tx>
                <c:rich>
                  <a:bodyPr/>
                  <a:lstStyle/>
                  <a:p>
                    <a:r>
                      <a:rPr>
                        <a:solidFill>
                          <a:srgbClr val="FFFFFF"/>
                        </a:solidFill>
                      </a:rPr>
                      <a:t>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252548</c:v>
                </c:pt>
                <c:pt idx="1">
                  <c:v>13.903604</c:v>
                </c:pt>
                <c:pt idx="2">
                  <c:v>7.63910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12.1</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677497</c:v>
                </c:pt>
                <c:pt idx="1">
                  <c:v>12.055405</c:v>
                </c:pt>
                <c:pt idx="2">
                  <c:v>6.45565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2.4</a:t>
                    </a:r>
                  </a:p>
                </c:rich>
              </c:tx>
              <c:showLegendKey val="0"/>
              <c:showVal val="1"/>
              <c:showCatName val="0"/>
              <c:showSerName val="0"/>
              <c:showPercent val="0"/>
              <c:showBubbleSize val="0"/>
            </c:dLbl>
            <c:dLbl>
              <c:idx val="1"/>
              <c:tx>
                <c:rich>
                  <a:bodyPr/>
                  <a:lstStyle/>
                  <a:p>
                    <a:r>
                      <a:rPr>
                        <a:solidFill>
                          <a:srgbClr val="FFFFFF"/>
                        </a:solidFill>
                      </a:rPr>
                      <a:t>29.7</a:t>
                    </a:r>
                  </a:p>
                </c:rich>
              </c:tx>
              <c:showLegendKey val="0"/>
              <c:showVal val="1"/>
              <c:showCatName val="0"/>
              <c:showSerName val="0"/>
              <c:showPercent val="0"/>
              <c:showBubbleSize val="0"/>
            </c:dLbl>
            <c:dLbl>
              <c:idx val="2"/>
              <c:tx>
                <c:rich>
                  <a:bodyPr/>
                  <a:lstStyle/>
                  <a:p>
                    <a:r>
                      <a:rPr>
                        <a:solidFill>
                          <a:srgbClr val="FFFFFF"/>
                        </a:solidFill>
                      </a:rPr>
                      <a:t>1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393855</c:v>
                </c:pt>
                <c:pt idx="1">
                  <c:v>29.73158</c:v>
                </c:pt>
                <c:pt idx="2">
                  <c:v>14.7526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319</c:v>
                </c:pt>
                <c:pt idx="1">
                  <c:v>0.007805</c:v>
                </c:pt>
                <c:pt idx="2">
                  <c:v>0.00369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1772</c:v>
                </c:pt>
                <c:pt idx="1">
                  <c:v>0.099342</c:v>
                </c:pt>
                <c:pt idx="2">
                  <c:v>0.04654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4</c:v>
                </c:pt>
                <c:pt idx="1">
                  <c:v>0.009141</c:v>
                </c:pt>
                <c:pt idx="2">
                  <c:v>0.002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4337</c:v>
                </c:pt>
                <c:pt idx="1">
                  <c:v>0.108705</c:v>
                </c:pt>
                <c:pt idx="2">
                  <c:v>0.0284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893</c:v>
                </c:pt>
                <c:pt idx="1">
                  <c:v>0.005443</c:v>
                </c:pt>
                <c:pt idx="2">
                  <c:v>0.0021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228</c:v>
                </c:pt>
                <c:pt idx="1">
                  <c:v>0.011066</c:v>
                </c:pt>
                <c:pt idx="2">
                  <c:v>0.0043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4983</c:v>
                </c:pt>
                <c:pt idx="1">
                  <c:v>0.083558</c:v>
                </c:pt>
                <c:pt idx="2">
                  <c:v>0.0326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9102</c:v>
                </c:pt>
                <c:pt idx="1">
                  <c:v>0.122328</c:v>
                </c:pt>
                <c:pt idx="2">
                  <c:v>0.04941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75</c:v>
                </c:pt>
                <c:pt idx="1">
                  <c:v>0.002978</c:v>
                </c:pt>
                <c:pt idx="2">
                  <c:v>7.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978</c:v>
                </c:pt>
                <c:pt idx="1">
                  <c:v>0.003155</c:v>
                </c:pt>
                <c:pt idx="2">
                  <c:v>0.00096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344</c:v>
                </c:pt>
                <c:pt idx="1">
                  <c:v>0.007845</c:v>
                </c:pt>
                <c:pt idx="2">
                  <c:v>0.0024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1029</c:v>
                </c:pt>
                <c:pt idx="1">
                  <c:v>0.038778</c:v>
                </c:pt>
                <c:pt idx="2">
                  <c:v>0.0009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5638</c:v>
                </c:pt>
                <c:pt idx="1">
                  <c:v>0.048484</c:v>
                </c:pt>
                <c:pt idx="2">
                  <c:v>0.0146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7292</c:v>
                </c:pt>
                <c:pt idx="1">
                  <c:v>0.077521</c:v>
                </c:pt>
                <c:pt idx="2">
                  <c:v>0.0267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354</c:v>
                </c:pt>
                <c:pt idx="1">
                  <c:v>0.001513</c:v>
                </c:pt>
                <c:pt idx="2">
                  <c:v>0.000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851</c:v>
                </c:pt>
                <c:pt idx="1">
                  <c:v>0.01847</c:v>
                </c:pt>
                <c:pt idx="2">
                  <c:v>0.00706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13</c:v>
                </c:pt>
                <c:pt idx="1">
                  <c:v>0.000733</c:v>
                </c:pt>
                <c:pt idx="2">
                  <c:v>0.0003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36</c:v>
                </c:pt>
                <c:pt idx="1">
                  <c:v>0.008326</c:v>
                </c:pt>
                <c:pt idx="2">
                  <c:v>0.0036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633</c:v>
                </c:pt>
                <c:pt idx="1">
                  <c:v>0.022082</c:v>
                </c:pt>
                <c:pt idx="2">
                  <c:v>0.0094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839</c:v>
                </c:pt>
                <c:pt idx="1">
                  <c:v>0.271073</c:v>
                </c:pt>
                <c:pt idx="2">
                  <c:v>0.11697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34955</c:v>
                </c:pt>
                <c:pt idx="1">
                  <c:v>3.730823</c:v>
                </c:pt>
                <c:pt idx="2">
                  <c:v>1.8786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2</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664051</c:v>
                </c:pt>
                <c:pt idx="1">
                  <c:v>6.196595</c:v>
                </c:pt>
                <c:pt idx="2">
                  <c:v>2.97068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10.9</a:t>
                    </a:r>
                  </a:p>
                </c:rich>
              </c:tx>
              <c:showLegendKey val="0"/>
              <c:showVal val="1"/>
              <c:showCatName val="0"/>
              <c:showSerName val="0"/>
              <c:showPercent val="0"/>
              <c:showBubbleSize val="0"/>
            </c:dLbl>
            <c:dLbl>
              <c:idx val="1"/>
              <c:tx>
                <c:rich>
                  <a:bodyPr/>
                  <a:lstStyle/>
                  <a:p>
                    <a:r>
                      <a:rPr>
                        <a:solidFill>
                          <a:srgbClr val="FFFFFF"/>
                        </a:solidFill>
                      </a:rPr>
                      <a:t>26.5</a:t>
                    </a:r>
                  </a:p>
                </c:rich>
              </c:tx>
              <c:showLegendKey val="0"/>
              <c:showVal val="1"/>
              <c:showCatName val="0"/>
              <c:showSerName val="0"/>
              <c:showPercent val="0"/>
              <c:showBubbleSize val="0"/>
            </c:dLbl>
            <c:dLbl>
              <c:idx val="2"/>
              <c:tx>
                <c:rich>
                  <a:bodyPr/>
                  <a:lstStyle/>
                  <a:p>
                    <a:r>
                      <a:rPr>
                        <a:solidFill>
                          <a:srgbClr val="FFFFFF"/>
                        </a:solidFill>
                      </a:rPr>
                      <a:t>1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914122</c:v>
                </c:pt>
                <c:pt idx="1">
                  <c:v>26.545293</c:v>
                </c:pt>
                <c:pt idx="2">
                  <c:v>13.37675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8.7</a:t>
                    </a:r>
                  </a:p>
                </c:rich>
              </c:tx>
              <c:showLegendKey val="0"/>
              <c:showVal val="1"/>
              <c:showCatName val="0"/>
              <c:showSerName val="0"/>
              <c:showPercent val="0"/>
              <c:showBubbleSize val="0"/>
            </c:dLbl>
            <c:dLbl>
              <c:idx val="1"/>
              <c:tx>
                <c:rich>
                  <a:bodyPr/>
                  <a:lstStyle/>
                  <a:p>
                    <a:r>
                      <a:rPr>
                        <a:solidFill>
                          <a:srgbClr val="FFFFFF"/>
                        </a:solidFill>
                      </a:rPr>
                      <a:t>44.0</a:t>
                    </a:r>
                  </a:p>
                </c:rich>
              </c:tx>
              <c:showLegendKey val="0"/>
              <c:showVal val="1"/>
              <c:showCatName val="0"/>
              <c:showSerName val="0"/>
              <c:showPercent val="0"/>
              <c:showBubbleSize val="0"/>
            </c:dLbl>
            <c:dLbl>
              <c:idx val="2"/>
              <c:tx>
                <c:rich>
                  <a:bodyPr/>
                  <a:lstStyle/>
                  <a:p>
                    <a:r>
                      <a:rPr>
                        <a:solidFill>
                          <a:srgbClr val="FFFFFF"/>
                        </a:solidFill>
                      </a:rPr>
                      <a:t>2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8.671934</c:v>
                </c:pt>
                <c:pt idx="1">
                  <c:v>43.995359</c:v>
                </c:pt>
                <c:pt idx="2">
                  <c:v>21.43806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943</c:v>
                </c:pt>
                <c:pt idx="1">
                  <c:v>0.003103</c:v>
                </c:pt>
                <c:pt idx="2">
                  <c:v>0.0016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2448</c:v>
                </c:pt>
                <c:pt idx="1">
                  <c:v>0.048145</c:v>
                </c:pt>
                <c:pt idx="2">
                  <c:v>0.0274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694</c:v>
                </c:pt>
                <c:pt idx="1">
                  <c:v>0.003169</c:v>
                </c:pt>
                <c:pt idx="2">
                  <c:v>0.0011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1436</c:v>
                </c:pt>
                <c:pt idx="1">
                  <c:v>0.047294</c:v>
                </c:pt>
                <c:pt idx="2">
                  <c:v>0.0175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737</c:v>
                </c:pt>
                <c:pt idx="1">
                  <c:v>0.002404</c:v>
                </c:pt>
                <c:pt idx="2">
                  <c:v>0.0010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8618</c:v>
                </c:pt>
                <c:pt idx="1">
                  <c:v>0.03538</c:v>
                </c:pt>
                <c:pt idx="2">
                  <c:v>0.0153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43</c:v>
                </c:pt>
                <c:pt idx="1">
                  <c:v>0.000521</c:v>
                </c:pt>
                <c:pt idx="2">
                  <c:v>0.00019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21</c:v>
                </c:pt>
                <c:pt idx="1">
                  <c:v>0.007641</c:v>
                </c:pt>
                <c:pt idx="2">
                  <c:v>0.0031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6</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07627</c:v>
                </c:pt>
                <c:pt idx="1">
                  <c:v>3.594186</c:v>
                </c:pt>
                <c:pt idx="2">
                  <c:v>1.7704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22408</c:v>
                </c:pt>
                <c:pt idx="1">
                  <c:v>2.2435</c:v>
                </c:pt>
                <c:pt idx="2">
                  <c:v>1.13058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4</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920181</c:v>
                </c:pt>
                <c:pt idx="1">
                  <c:v>4.422877</c:v>
                </c:pt>
                <c:pt idx="2">
                  <c:v>2.09018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12.0</a:t>
                    </a:r>
                  </a:p>
                </c:rich>
              </c:tx>
              <c:showLegendKey val="0"/>
              <c:showVal val="1"/>
              <c:showCatName val="0"/>
              <c:showSerName val="0"/>
              <c:showPercent val="0"/>
              <c:showBubbleSize val="0"/>
            </c:dLbl>
            <c:dLbl>
              <c:idx val="1"/>
              <c:tx>
                <c:rich>
                  <a:bodyPr/>
                  <a:lstStyle/>
                  <a:p>
                    <a:r>
                      <a:rPr>
                        <a:solidFill>
                          <a:srgbClr val="FFFFFF"/>
                        </a:solidFill>
                      </a:rPr>
                      <a:t>28.6</a:t>
                    </a:r>
                  </a:p>
                </c:rich>
              </c:tx>
              <c:showLegendKey val="0"/>
              <c:showVal val="1"/>
              <c:showCatName val="0"/>
              <c:showSerName val="0"/>
              <c:showPercent val="0"/>
              <c:showBubbleSize val="0"/>
            </c:dLbl>
            <c:dLbl>
              <c:idx val="2"/>
              <c:tx>
                <c:rich>
                  <a:bodyPr/>
                  <a:lstStyle/>
                  <a:p>
                    <a:r>
                      <a:rPr>
                        <a:solidFill>
                          <a:srgbClr val="FFFFFF"/>
                        </a:solidFill>
                      </a:rPr>
                      <a:t>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956603</c:v>
                </c:pt>
                <c:pt idx="1">
                  <c:v>28.610549</c:v>
                </c:pt>
                <c:pt idx="2">
                  <c:v>14.15376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tx>
                <c:rich>
                  <a:bodyPr/>
                  <a:lstStyle/>
                  <a:p>
                    <a:r>
                      <a:rPr>
                        <a:solidFill>
                          <a:srgbClr val="FFFFFF"/>
                        </a:solidFill>
                      </a:rPr>
                      <a:t>6.5</a:t>
                    </a:r>
                  </a:p>
                </c:rich>
              </c:tx>
              <c:showLegendKey val="0"/>
              <c:showVal val="1"/>
              <c:showCatName val="0"/>
              <c:showSerName val="0"/>
              <c:showPercent val="0"/>
              <c:showBubbleSize val="0"/>
            </c:dLbl>
            <c:dLbl>
              <c:idx val="1"/>
              <c:tx>
                <c:rich>
                  <a:bodyPr/>
                  <a:lstStyle/>
                  <a:p>
                    <a:r>
                      <a:rPr>
                        <a:solidFill>
                          <a:srgbClr val="FFFFFF"/>
                        </a:solidFill>
                      </a:rPr>
                      <a:t>16.1</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6.463112</c:v>
                </c:pt>
                <c:pt idx="1">
                  <c:v>16.077611</c:v>
                </c:pt>
                <c:pt idx="2">
                  <c:v>8.30267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1.3</a:t>
                    </a:r>
                  </a:p>
                </c:rich>
              </c:tx>
              <c:showLegendKey val="0"/>
              <c:showVal val="1"/>
              <c:showCatName val="0"/>
              <c:showSerName val="0"/>
              <c:showPercent val="0"/>
              <c:showBubbleSize val="0"/>
            </c:dLbl>
            <c:dLbl>
              <c:idx val="1"/>
              <c:tx>
                <c:rich>
                  <a:bodyPr/>
                  <a:lstStyle/>
                  <a:p>
                    <a:r>
                      <a:rPr>
                        <a:solidFill>
                          <a:srgbClr val="FFFFFF"/>
                        </a:solidFill>
                      </a:rPr>
                      <a:t>26.3</a:t>
                    </a:r>
                  </a:p>
                </c:rich>
              </c:tx>
              <c:showLegendKey val="0"/>
              <c:showVal val="1"/>
              <c:showCatName val="0"/>
              <c:showSerName val="0"/>
              <c:showPercent val="0"/>
              <c:showBubbleSize val="0"/>
            </c:dLbl>
            <c:dLbl>
              <c:idx val="2"/>
              <c:tx>
                <c:rich>
                  <a:bodyPr/>
                  <a:lstStyle/>
                  <a:p>
                    <a:r>
                      <a:rPr>
                        <a:solidFill>
                          <a:srgbClr val="FFFFFF"/>
                        </a:solidFill>
                      </a:rPr>
                      <a:t>1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1.293502</c:v>
                </c:pt>
                <c:pt idx="1">
                  <c:v>26.302755</c:v>
                </c:pt>
                <c:pt idx="2">
                  <c:v>12.60120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014</c:v>
                </c:pt>
                <c:pt idx="1">
                  <c:v>0.010992</c:v>
                </c:pt>
                <c:pt idx="2">
                  <c:v>0.0045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4966</c:v>
                </c:pt>
                <c:pt idx="1">
                  <c:v>0.229377</c:v>
                </c:pt>
                <c:pt idx="2">
                  <c:v>0.0950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9e-05</c:v>
                </c:pt>
                <c:pt idx="1">
                  <c:v>0.000142</c:v>
                </c:pt>
                <c:pt idx="2">
                  <c:v>0.0001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281</c:v>
                </c:pt>
                <c:pt idx="1">
                  <c:v>0.001288</c:v>
                </c:pt>
                <c:pt idx="2">
                  <c:v>0.0004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4725</c:v>
                </c:pt>
                <c:pt idx="1">
                  <c:v>0.024895</c:v>
                </c:pt>
                <c:pt idx="2">
                  <c:v>0.0092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24</c:v>
                </c:pt>
                <c:pt idx="1">
                  <c:v>0.000401</c:v>
                </c:pt>
                <c:pt idx="2">
                  <c:v>0.00016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96</c:v>
                </c:pt>
                <c:pt idx="1">
                  <c:v>0.002412</c:v>
                </c:pt>
                <c:pt idx="2">
                  <c:v>0.0021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083</c:v>
                </c:pt>
                <c:pt idx="1">
                  <c:v>0.009376</c:v>
                </c:pt>
                <c:pt idx="2">
                  <c:v>0.0037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179</c:v>
                </c:pt>
                <c:pt idx="1">
                  <c:v>0.006946</c:v>
                </c:pt>
                <c:pt idx="2">
                  <c:v>0.0047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82</c:v>
                </c:pt>
                <c:pt idx="1">
                  <c:v>0.000411</c:v>
                </c:pt>
                <c:pt idx="2">
                  <c:v>0.0001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24</c:v>
                </c:pt>
                <c:pt idx="1">
                  <c:v>0.00958</c:v>
                </c:pt>
                <c:pt idx="2">
                  <c:v>0.0040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86</c:v>
                </c:pt>
                <c:pt idx="1">
                  <c:v>0.002775</c:v>
                </c:pt>
                <c:pt idx="2">
                  <c:v>0.00111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341</c:v>
                </c:pt>
                <c:pt idx="1">
                  <c:v>0.008547</c:v>
                </c:pt>
                <c:pt idx="2">
                  <c:v>0.0034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6321</c:v>
                </c:pt>
                <c:pt idx="1">
                  <c:v>0.068446</c:v>
                </c:pt>
                <c:pt idx="2">
                  <c:v>0.0275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6325</c:v>
                </c:pt>
                <c:pt idx="1">
                  <c:v>0.113046</c:v>
                </c:pt>
                <c:pt idx="2">
                  <c:v>0.045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7904</c:v>
                </c:pt>
                <c:pt idx="1">
                  <c:v>0.158842</c:v>
                </c:pt>
                <c:pt idx="2">
                  <c:v>0.1178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8</c:v>
                </c:pt>
                <c:pt idx="1">
                  <c:v>0.003767</c:v>
                </c:pt>
                <c:pt idx="2">
                  <c:v>0.0015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2998</c:v>
                </c:pt>
                <c:pt idx="1">
                  <c:v>0.087234</c:v>
                </c:pt>
                <c:pt idx="2">
                  <c:v>0.0351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134</c:v>
                </c:pt>
                <c:pt idx="1">
                  <c:v>0.008883</c:v>
                </c:pt>
                <c:pt idx="2">
                  <c:v>0.00240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1904</c:v>
                </c:pt>
                <c:pt idx="1">
                  <c:v>0.120107</c:v>
                </c:pt>
                <c:pt idx="2">
                  <c:v>0.0326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3018</c:v>
                </c:pt>
                <c:pt idx="1">
                  <c:v>1.400246</c:v>
                </c:pt>
                <c:pt idx="2">
                  <c:v>0.7365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10.6</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208977</c:v>
                </c:pt>
                <c:pt idx="1">
                  <c:v>10.60131</c:v>
                </c:pt>
                <c:pt idx="2">
                  <c:v>5.5465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69</c:v>
                </c:pt>
                <c:pt idx="1">
                  <c:v>0.004391</c:v>
                </c:pt>
                <c:pt idx="2">
                  <c:v>0.0011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4014</c:v>
                </c:pt>
                <c:pt idx="1">
                  <c:v>0.059534</c:v>
                </c:pt>
                <c:pt idx="2">
                  <c:v>0.01534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88</c:v>
                </c:pt>
                <c:pt idx="1">
                  <c:v>0.000243</c:v>
                </c:pt>
                <c:pt idx="2">
                  <c:v>9.1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632</c:v>
                </c:pt>
                <c:pt idx="1">
                  <c:v>0.003301</c:v>
                </c:pt>
                <c:pt idx="2">
                  <c:v>0.00114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21</c:v>
                </c:pt>
                <c:pt idx="1">
                  <c:v>0.000184</c:v>
                </c:pt>
                <c:pt idx="2">
                  <c:v>5.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469</c:v>
                </c:pt>
                <c:pt idx="1">
                  <c:v>0.002399</c:v>
                </c:pt>
                <c:pt idx="2">
                  <c:v>0.0008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892</c:v>
                </c:pt>
                <c:pt idx="1">
                  <c:v>0.008163</c:v>
                </c:pt>
                <c:pt idx="2">
                  <c:v>0.00247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083</c:v>
                </c:pt>
                <c:pt idx="1">
                  <c:v>0.004686</c:v>
                </c:pt>
                <c:pt idx="2">
                  <c:v>0.00134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47</c:v>
                </c:pt>
                <c:pt idx="1">
                  <c:v>0.00905</c:v>
                </c:pt>
                <c:pt idx="2">
                  <c:v>0.003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037</c:v>
                </c:pt>
                <c:pt idx="1">
                  <c:v>0.004365</c:v>
                </c:pt>
                <c:pt idx="2">
                  <c:v>0.00115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869</c:v>
                </c:pt>
                <c:pt idx="1">
                  <c:v>0.002419</c:v>
                </c:pt>
                <c:pt idx="2">
                  <c:v>0.00090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47</c:v>
                </c:pt>
                <c:pt idx="1">
                  <c:v>0.002808</c:v>
                </c:pt>
                <c:pt idx="2">
                  <c:v>0.00094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817</c:v>
                </c:pt>
                <c:pt idx="1">
                  <c:v>0.001532</c:v>
                </c:pt>
                <c:pt idx="2">
                  <c:v>0.00069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151</c:v>
                </c:pt>
                <c:pt idx="1">
                  <c:v>0.001667</c:v>
                </c:pt>
                <c:pt idx="2">
                  <c:v>0.00062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77</c:v>
                </c:pt>
                <c:pt idx="1">
                  <c:v>0.002225</c:v>
                </c:pt>
                <c:pt idx="2">
                  <c:v>0.0007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5341</c:v>
                </c:pt>
                <c:pt idx="1">
                  <c:v>0.024579</c:v>
                </c:pt>
                <c:pt idx="2">
                  <c:v>0.0091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36</c:v>
                </c:pt>
                <c:pt idx="1">
                  <c:v>0.000168</c:v>
                </c:pt>
                <c:pt idx="2">
                  <c:v>7.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503</c:v>
                </c:pt>
                <c:pt idx="1">
                  <c:v>0.002167</c:v>
                </c:pt>
                <c:pt idx="2">
                  <c:v>0.0009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27</c:v>
                </c:pt>
                <c:pt idx="1">
                  <c:v>8.6e-05</c:v>
                </c:pt>
                <c:pt idx="2">
                  <c:v>3.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67</c:v>
                </c:pt>
                <c:pt idx="1">
                  <c:v>0.001058</c:v>
                </c:pt>
                <c:pt idx="2">
                  <c:v>0.00045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277</c:v>
                </c:pt>
                <c:pt idx="1">
                  <c:v>0.001957</c:v>
                </c:pt>
                <c:pt idx="2">
                  <c:v>0.0004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1267</c:v>
                </c:pt>
                <c:pt idx="1">
                  <c:v>0.026328</c:v>
                </c:pt>
                <c:pt idx="2">
                  <c:v>0.0067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514</c:v>
                </c:pt>
                <c:pt idx="1">
                  <c:v>0.001463</c:v>
                </c:pt>
                <c:pt idx="2">
                  <c:v>0.00040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1843</c:v>
                </c:pt>
                <c:pt idx="1">
                  <c:v>0.019607</c:v>
                </c:pt>
                <c:pt idx="2">
                  <c:v>0.0055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20767</c:v>
                </c:pt>
                <c:pt idx="1">
                  <c:v>1.181445</c:v>
                </c:pt>
                <c:pt idx="2">
                  <c:v>0.43669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278</c:v>
                </c:pt>
                <c:pt idx="1">
                  <c:v>0.024391</c:v>
                </c:pt>
                <c:pt idx="2">
                  <c:v>0.01659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35796</c:v>
                </c:pt>
                <c:pt idx="1">
                  <c:v>0.328207</c:v>
                </c:pt>
                <c:pt idx="2">
                  <c:v>0.137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74.9</a:t>
                    </a:r>
                  </a:p>
                </c:rich>
              </c:tx>
              <c:showLegendKey val="0"/>
              <c:showVal val="1"/>
              <c:showCatName val="0"/>
              <c:showSerName val="0"/>
              <c:showPercent val="0"/>
              <c:showBubbleSize val="0"/>
            </c:dLbl>
            <c:dLbl>
              <c:idx val="1"/>
              <c:tx>
                <c:rich>
                  <a:bodyPr/>
                  <a:lstStyle/>
                  <a:p>
                    <a:r>
                      <a:rPr>
                        <a:solidFill>
                          <a:srgbClr val="FFFFFF"/>
                        </a:solidFill>
                      </a:rPr>
                      <a:t>68.0</a:t>
                    </a:r>
                  </a:p>
                </c:rich>
              </c:tx>
              <c:showLegendKey val="0"/>
              <c:showVal val="1"/>
              <c:showCatName val="0"/>
              <c:showSerName val="0"/>
              <c:showPercent val="0"/>
              <c:showBubbleSize val="0"/>
            </c:dLbl>
            <c:dLbl>
              <c:idx val="2"/>
              <c:tx>
                <c:rich>
                  <a:bodyPr/>
                  <a:lstStyle/>
                  <a:p>
                    <a:r>
                      <a:rPr>
                        <a:solidFill>
                          <a:srgbClr val="FFFFFF"/>
                        </a:solidFill>
                      </a:rPr>
                      <a:t>2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4.863843</c:v>
                </c:pt>
                <c:pt idx="1">
                  <c:v>68.034384</c:v>
                </c:pt>
                <c:pt idx="2">
                  <c:v>24.883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5082</c:v>
                </c:pt>
                <c:pt idx="1">
                  <c:v>0.522855</c:v>
                </c:pt>
                <c:pt idx="2">
                  <c:v>0.3897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722297</c:v>
                </c:pt>
                <c:pt idx="1">
                  <c:v>4.634288</c:v>
                </c:pt>
                <c:pt idx="2">
                  <c:v>2.0021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6</a:t>
                    </a:r>
                  </a:p>
                </c:rich>
              </c:tx>
              <c:showLegendKey val="0"/>
              <c:showVal val="1"/>
              <c:showCatName val="0"/>
              <c:showSerName val="0"/>
              <c:showPercent val="0"/>
              <c:showBubbleSize val="0"/>
            </c:dLbl>
            <c:dLbl>
              <c:idx val="2"/>
              <c:tx>
                <c:rich>
                  <a:bodyPr/>
                  <a:lstStyle/>
                  <a:p>
                    <a:r>
                      <a:rPr>
                        <a:solidFill>
                          <a:srgbClr val="FFFFFF"/>
                        </a:solidFill>
                      </a:rPr>
                      <a:t>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353505</c:v>
                </c:pt>
                <c:pt idx="1">
                  <c:v>19.587825</c:v>
                </c:pt>
                <c:pt idx="2">
                  <c:v>9.46217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794294</c:v>
                </c:pt>
                <c:pt idx="1">
                  <c:v>4.452119</c:v>
                </c:pt>
                <c:pt idx="2">
                  <c:v>2.29292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7.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2.9</a:t>
                    </a:r>
                  </a:p>
                </c:rich>
              </c:tx>
              <c:showLegendKey val="0"/>
              <c:showVal val="1"/>
              <c:showCatName val="0"/>
              <c:showSerName val="0"/>
              <c:showPercent val="0"/>
              <c:showBubbleSize val="0"/>
            </c:dLbl>
            <c:dLbl>
              <c:idx val="2"/>
              <c:tx>
                <c:rich>
                  <a:bodyPr/>
                  <a:lstStyle/>
                  <a:p>
                    <a:r>
                      <a:rPr>
                        <a:solidFill>
                          <a:srgbClr val="FFFFFF"/>
                        </a:solidFill>
                      </a:rPr>
                      <a:t>5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7.319573</c:v>
                </c:pt>
                <c:pt idx="1">
                  <c:v>112.88715</c:v>
                </c:pt>
                <c:pt idx="2">
                  <c:v>55.6516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216.9</a:t>
                    </a:r>
                  </a:p>
                </c:rich>
              </c:tx>
              <c:showLegendKey val="0"/>
              <c:showVal val="1"/>
              <c:showCatName val="0"/>
              <c:showSerName val="0"/>
              <c:showPercent val="0"/>
              <c:showBubbleSize val="0"/>
            </c:dLbl>
            <c:dLbl>
              <c:idx val="1"/>
              <c:tx>
                <c:rich>
                  <a:bodyPr/>
                  <a:lstStyle/>
                  <a:p>
                    <a:r>
                      <a:rPr>
                        <a:solidFill>
                          <a:srgbClr val="FFFFFF"/>
                        </a:solidFill>
                      </a:rPr>
                      <a:t>512.5</a:t>
                    </a:r>
                  </a:p>
                </c:rich>
              </c:tx>
              <c:showLegendKey val="0"/>
              <c:showVal val="1"/>
              <c:showCatName val="0"/>
              <c:showSerName val="0"/>
              <c:showPercent val="0"/>
              <c:showBubbleSize val="0"/>
            </c:dLbl>
            <c:dLbl>
              <c:idx val="2"/>
              <c:tx>
                <c:rich>
                  <a:bodyPr/>
                  <a:lstStyle/>
                  <a:p>
                    <a:r>
                      <a:rPr>
                        <a:solidFill>
                          <a:srgbClr val="FFFFFF"/>
                        </a:solidFill>
                      </a:rPr>
                      <a:t>249.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6.903465</c:v>
                </c:pt>
                <c:pt idx="1">
                  <c:v>512.545028</c:v>
                </c:pt>
                <c:pt idx="2">
                  <c:v>249.86766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a:solidFill>
                          <a:srgbClr val="FFFFFF"/>
                        </a:solidFill>
                      </a:rPr>
                      <a:t>8.7</a:t>
                    </a:r>
                  </a:p>
                </c:rich>
              </c:tx>
              <c:showLegendKey val="0"/>
              <c:showVal val="1"/>
              <c:showCatName val="0"/>
              <c:showSerName val="0"/>
              <c:showPercent val="0"/>
              <c:showBubbleSize val="0"/>
            </c:dLbl>
            <c:dLbl>
              <c:idx val="1"/>
              <c:tx>
                <c:rich>
                  <a:bodyPr/>
                  <a:lstStyle/>
                  <a:p>
                    <a:r>
                      <a:rPr>
                        <a:solidFill>
                          <a:srgbClr val="FFFFFF"/>
                        </a:solidFill>
                      </a:rPr>
                      <a:t>22.0</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708011</c:v>
                </c:pt>
                <c:pt idx="1">
                  <c:v>21.987487</c:v>
                </c:pt>
                <c:pt idx="2">
                  <c:v>11.53305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a:solidFill>
                          <a:srgbClr val="FFFFFF"/>
                        </a:solidFill>
                      </a:rPr>
                      <a:t>239.6</a:t>
                    </a:r>
                  </a:p>
                </c:rich>
              </c:tx>
              <c:showLegendKey val="0"/>
              <c:showVal val="1"/>
              <c:showCatName val="0"/>
              <c:showSerName val="0"/>
              <c:showPercent val="0"/>
              <c:showBubbleSize val="0"/>
            </c:dLbl>
            <c:dLbl>
              <c:idx val="1"/>
              <c:tx>
                <c:rich>
                  <a:bodyPr/>
                  <a:lstStyle/>
                  <a:p>
                    <a:r>
                      <a:rPr>
                        <a:solidFill>
                          <a:srgbClr val="FFFFFF"/>
                        </a:solidFill>
                      </a:rPr>
                      <a:t>572.4</a:t>
                    </a:r>
                  </a:p>
                </c:rich>
              </c:tx>
              <c:showLegendKey val="0"/>
              <c:showVal val="1"/>
              <c:showCatName val="0"/>
              <c:showSerName val="0"/>
              <c:showPercent val="0"/>
              <c:showBubbleSize val="0"/>
            </c:dLbl>
            <c:dLbl>
              <c:idx val="2"/>
              <c:tx>
                <c:rich>
                  <a:bodyPr/>
                  <a:lstStyle/>
                  <a:p>
                    <a:r>
                      <a:rPr>
                        <a:solidFill>
                          <a:srgbClr val="FFFFFF"/>
                        </a:solidFill>
                      </a:rPr>
                      <a:t>28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39.648578</c:v>
                </c:pt>
                <c:pt idx="1">
                  <c:v>572.353065</c:v>
                </c:pt>
                <c:pt idx="2">
                  <c:v>282.5230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762998</c:v>
                </c:pt>
                <c:pt idx="1">
                  <c:v>23.311129</c:v>
                </c:pt>
                <c:pt idx="2">
                  <c:v>11.5034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5</a:t>
                    </a:r>
                  </a:p>
                </c:rich>
              </c:tx>
              <c:showLegendKey val="0"/>
              <c:showVal val="1"/>
              <c:showCatName val="0"/>
              <c:showSerName val="0"/>
              <c:showPercent val="0"/>
              <c:showBubbleSize val="0"/>
            </c:dLbl>
            <c:dLbl>
              <c:idx val="2"/>
              <c:tx>
                <c:rich>
                  <a:bodyPr/>
                  <a:lstStyle/>
                  <a:p>
                    <a:r>
                      <a:rPr>
                        <a:solidFill>
                          <a:srgbClr val="FFFFFF"/>
                        </a:solidFill>
                      </a:rPr>
                      <a:t>1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898654</c:v>
                </c:pt>
                <c:pt idx="1">
                  <c:v>31.50949</c:v>
                </c:pt>
                <c:pt idx="2">
                  <c:v>15.95540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453514</c:v>
                </c:pt>
                <c:pt idx="1">
                  <c:v>5.543535</c:v>
                </c:pt>
                <c:pt idx="2">
                  <c:v>2.55580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64208</c:v>
                </c:pt>
                <c:pt idx="1">
                  <c:v>2.659136</c:v>
                </c:pt>
                <c:pt idx="2">
                  <c:v>1.3796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332638</c:v>
                </c:pt>
                <c:pt idx="1">
                  <c:v>3.169663</c:v>
                </c:pt>
                <c:pt idx="2">
                  <c:v>1.55636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9</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792431</c:v>
                </c:pt>
                <c:pt idx="1">
                  <c:v>8.875658</c:v>
                </c:pt>
                <c:pt idx="2">
                  <c:v>4.27323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939366</c:v>
                </c:pt>
                <c:pt idx="1">
                  <c:v>2.282822</c:v>
                </c:pt>
                <c:pt idx="2">
                  <c:v>1.14932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817465</c:v>
                </c:pt>
                <c:pt idx="1">
                  <c:v>1.891331</c:v>
                </c:pt>
                <c:pt idx="2">
                  <c:v>0.8995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2.095404</c:v>
                </c:pt>
                <c:pt idx="1">
                  <c:v>28.74877</c:v>
                </c:pt>
                <c:pt idx="2">
                  <c:v>14.11151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9415</c:v>
                </c:pt>
                <c:pt idx="1">
                  <c:v>0.046054</c:v>
                </c:pt>
                <c:pt idx="2">
                  <c:v>0.01528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26</c:v>
                </c:pt>
                <c:pt idx="1">
                  <c:v>0.000911</c:v>
                </c:pt>
                <c:pt idx="2">
                  <c:v>0.00051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936</c:v>
                </c:pt>
                <c:pt idx="1">
                  <c:v>0.014529</c:v>
                </c:pt>
                <c:pt idx="2">
                  <c:v>0.0056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02669</c:v>
                </c:pt>
                <c:pt idx="1">
                  <c:v>2.680994</c:v>
                </c:pt>
                <c:pt idx="2">
                  <c:v>0.87124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667</c:v>
                </c:pt>
                <c:pt idx="1">
                  <c:v>0.019908</c:v>
                </c:pt>
                <c:pt idx="2">
                  <c:v>0.011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2628</c:v>
                </c:pt>
                <c:pt idx="1">
                  <c:v>0.206282</c:v>
                </c:pt>
                <c:pt idx="2">
                  <c:v>0.0834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8724</c:v>
                </c:pt>
                <c:pt idx="1">
                  <c:v>0.044196</c:v>
                </c:pt>
                <c:pt idx="2">
                  <c:v>0.0143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72</c:v>
                </c:pt>
                <c:pt idx="1">
                  <c:v>0.000704</c:v>
                </c:pt>
                <c:pt idx="2">
                  <c:v>0.00050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229</c:v>
                </c:pt>
                <c:pt idx="1">
                  <c:v>0.011669</c:v>
                </c:pt>
                <c:pt idx="2">
                  <c:v>0.0041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05876</c:v>
                </c:pt>
                <c:pt idx="1">
                  <c:v>2.579687</c:v>
                </c:pt>
                <c:pt idx="2">
                  <c:v>0.8369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023</c:v>
                </c:pt>
                <c:pt idx="1">
                  <c:v>0.014618</c:v>
                </c:pt>
                <c:pt idx="2">
                  <c:v>0.01171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9358</c:v>
                </c:pt>
                <c:pt idx="1">
                  <c:v>0.161753</c:v>
                </c:pt>
                <c:pt idx="2">
                  <c:v>0.0591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55.0</a:t>
                    </a:r>
                  </a:p>
                </c:rich>
              </c:tx>
              <c:showLegendKey val="0"/>
              <c:showVal val="1"/>
              <c:showCatName val="0"/>
              <c:showSerName val="0"/>
              <c:showPercent val="0"/>
              <c:showBubbleSize val="0"/>
            </c:dLbl>
            <c:dLbl>
              <c:idx val="1"/>
              <c:tx>
                <c:rich>
                  <a:bodyPr/>
                  <a:lstStyle/>
                  <a:p>
                    <a:r>
                      <a:rPr>
                        <a:solidFill>
                          <a:srgbClr val="FFFFFF"/>
                        </a:solidFill>
                      </a:rPr>
                      <a:t>132.4</a:t>
                    </a:r>
                  </a:p>
                </c:rich>
              </c:tx>
              <c:showLegendKey val="0"/>
              <c:showVal val="1"/>
              <c:showCatName val="0"/>
              <c:showSerName val="0"/>
              <c:showPercent val="0"/>
              <c:showBubbleSize val="0"/>
            </c:dLbl>
            <c:dLbl>
              <c:idx val="2"/>
              <c:tx>
                <c:rich>
                  <a:bodyPr/>
                  <a:lstStyle/>
                  <a:p>
                    <a:r>
                      <a:rPr>
                        <a:solidFill>
                          <a:srgbClr val="FFFFFF"/>
                        </a:solidFill>
                      </a:rPr>
                      <a:t>6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4.951818</c:v>
                </c:pt>
                <c:pt idx="1">
                  <c:v>132.370548</c:v>
                </c:pt>
                <c:pt idx="2">
                  <c:v>65.984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tx>
                <c:rich>
                  <a:bodyPr/>
                  <a:lstStyle/>
                  <a:p>
                    <a:r>
                      <a:rPr>
                        <a:solidFill>
                          <a:srgbClr val="FFFFFF"/>
                        </a:solidFill>
                      </a:rPr>
                      <a:t>27.4</a:t>
                    </a:r>
                  </a:p>
                </c:rich>
              </c:tx>
              <c:showLegendKey val="0"/>
              <c:showVal val="1"/>
              <c:showCatName val="0"/>
              <c:showSerName val="0"/>
              <c:showPercent val="0"/>
              <c:showBubbleSize val="0"/>
            </c:dLbl>
            <c:dLbl>
              <c:idx val="1"/>
              <c:tx>
                <c:rich>
                  <a:bodyPr/>
                  <a:lstStyle/>
                  <a:p>
                    <a:r>
                      <a:rPr>
                        <a:solidFill>
                          <a:srgbClr val="FFFFFF"/>
                        </a:solidFill>
                      </a:rPr>
                      <a:t>64.9</a:t>
                    </a:r>
                  </a:p>
                </c:rich>
              </c:tx>
              <c:showLegendKey val="0"/>
              <c:showVal val="1"/>
              <c:showCatName val="0"/>
              <c:showSerName val="0"/>
              <c:showPercent val="0"/>
              <c:showBubbleSize val="0"/>
            </c:dLbl>
            <c:dLbl>
              <c:idx val="2"/>
              <c:tx>
                <c:rich>
                  <a:bodyPr/>
                  <a:lstStyle/>
                  <a:p>
                    <a:r>
                      <a:rPr>
                        <a:solidFill>
                          <a:srgbClr val="FFFFFF"/>
                        </a:solidFill>
                      </a:rPr>
                      <a:t>3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409146</c:v>
                </c:pt>
                <c:pt idx="1">
                  <c:v>64.921065</c:v>
                </c:pt>
                <c:pt idx="2">
                  <c:v>31.73751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a:solidFill>
                          <a:srgbClr val="FFFFFF"/>
                        </a:solidFill>
                      </a:rPr>
                      <a:t>15.5</a:t>
                    </a:r>
                  </a:p>
                </c:rich>
              </c:tx>
              <c:showLegendKey val="0"/>
              <c:showVal val="1"/>
              <c:showCatName val="0"/>
              <c:showSerName val="0"/>
              <c:showPercent val="0"/>
              <c:showBubbleSize val="0"/>
            </c:dLbl>
            <c:dLbl>
              <c:idx val="1"/>
              <c:tx>
                <c:rich>
                  <a:bodyPr/>
                  <a:lstStyle/>
                  <a:p>
                    <a:r>
                      <a:rPr>
                        <a:solidFill>
                          <a:srgbClr val="FFFFFF"/>
                        </a:solidFill>
                      </a:rPr>
                      <a:t>35.7</a:t>
                    </a:r>
                  </a:p>
                </c:rich>
              </c:tx>
              <c:showLegendKey val="0"/>
              <c:showVal val="1"/>
              <c:showCatName val="0"/>
              <c:showSerName val="0"/>
              <c:showPercent val="0"/>
              <c:showBubbleSize val="0"/>
            </c:dLbl>
            <c:dLbl>
              <c:idx val="2"/>
              <c:tx>
                <c:rich>
                  <a:bodyPr/>
                  <a:lstStyle/>
                  <a:p>
                    <a:r>
                      <a:rPr>
                        <a:solidFill>
                          <a:srgbClr val="FFFFFF"/>
                        </a:solidFill>
                      </a:rPr>
                      <a:t>1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546992</c:v>
                </c:pt>
                <c:pt idx="1">
                  <c:v>35.692897</c:v>
                </c:pt>
                <c:pt idx="2">
                  <c:v>16.79733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25.5</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331134</c:v>
                </c:pt>
                <c:pt idx="1">
                  <c:v>25.474872</c:v>
                </c:pt>
                <c:pt idx="2">
                  <c:v>13.03223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tx>
                <c:rich>
                  <a:bodyPr/>
                  <a:lstStyle/>
                  <a:p>
                    <a:r>
                      <a:rPr>
                        <a:solidFill>
                          <a:srgbClr val="FFFFFF"/>
                        </a:solidFill>
                      </a:rPr>
                      <a:t>10.4</a:t>
                    </a:r>
                  </a:p>
                </c:rich>
              </c:tx>
              <c:showLegendKey val="0"/>
              <c:showVal val="1"/>
              <c:showCatName val="0"/>
              <c:showSerName val="0"/>
              <c:showPercent val="0"/>
              <c:showBubbleSize val="0"/>
            </c:dLbl>
            <c:dLbl>
              <c:idx val="1"/>
              <c:tx>
                <c:rich>
                  <a:bodyPr/>
                  <a:lstStyle/>
                  <a:p>
                    <a:r>
                      <a:rPr>
                        <a:solidFill>
                          <a:srgbClr val="FFFFFF"/>
                        </a:solidFill>
                      </a:rPr>
                      <a:t>25.0</a:t>
                    </a:r>
                  </a:p>
                </c:rich>
              </c:tx>
              <c:showLegendKey val="0"/>
              <c:showVal val="1"/>
              <c:showCatName val="0"/>
              <c:showSerName val="0"/>
              <c:showPercent val="0"/>
              <c:showBubbleSize val="0"/>
            </c:dLbl>
            <c:dLbl>
              <c:idx val="2"/>
              <c:tx>
                <c:rich>
                  <a:bodyPr/>
                  <a:lstStyle/>
                  <a:p>
                    <a:r>
                      <a:rPr>
                        <a:solidFill>
                          <a:srgbClr val="FFFFFF"/>
                        </a:solidFill>
                      </a:rPr>
                      <a:t>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394156</c:v>
                </c:pt>
                <c:pt idx="1">
                  <c:v>25.019439</c:v>
                </c:pt>
                <c:pt idx="2">
                  <c:v>12.4540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a:solidFill>
                          <a:srgbClr val="FFFFFF"/>
                        </a:solidFill>
                      </a:rPr>
                      <a:t>8.8</a:t>
                    </a:r>
                  </a:p>
                </c:rich>
              </c:tx>
              <c:showLegendKey val="0"/>
              <c:showVal val="1"/>
              <c:showCatName val="0"/>
              <c:showSerName val="0"/>
              <c:showPercent val="0"/>
              <c:showBubbleSize val="0"/>
            </c:dLbl>
            <c:dLbl>
              <c:idx val="1"/>
              <c:tx>
                <c:rich>
                  <a:bodyPr/>
                  <a:lstStyle/>
                  <a:p>
                    <a:r>
                      <a:rPr>
                        <a:solidFill>
                          <a:srgbClr val="FFFFFF"/>
                        </a:solidFill>
                      </a:rPr>
                      <a:t>20.6</a:t>
                    </a:r>
                  </a:p>
                </c:rich>
              </c:tx>
              <c:showLegendKey val="0"/>
              <c:showVal val="1"/>
              <c:showCatName val="0"/>
              <c:showSerName val="0"/>
              <c:showPercent val="0"/>
              <c:showBubbleSize val="0"/>
            </c:dLbl>
            <c:dLbl>
              <c:idx val="2"/>
              <c:tx>
                <c:rich>
                  <a:bodyPr/>
                  <a:lstStyle/>
                  <a:p>
                    <a:r>
                      <a:rPr>
                        <a:solidFill>
                          <a:srgbClr val="FFFFFF"/>
                        </a:solidFill>
                      </a:rPr>
                      <a:t>9.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8.826806</c:v>
                </c:pt>
                <c:pt idx="1">
                  <c:v>20.615296</c:v>
                </c:pt>
                <c:pt idx="2">
                  <c:v>9.84880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a:solidFill>
                          <a:srgbClr val="FFFFFF"/>
                        </a:solidFill>
                      </a:rPr>
                      <a:t>6.6</a:t>
                    </a:r>
                  </a:p>
                </c:rich>
              </c:tx>
              <c:showLegendKey val="0"/>
              <c:showVal val="1"/>
              <c:showCatName val="0"/>
              <c:showSerName val="0"/>
              <c:showPercent val="0"/>
              <c:showBubbleSize val="0"/>
            </c:dLbl>
            <c:dLbl>
              <c:idx val="1"/>
              <c:tx>
                <c:rich>
                  <a:bodyPr/>
                  <a:lstStyle/>
                  <a:p>
                    <a:r>
                      <a:rPr>
                        <a:solidFill>
                          <a:srgbClr val="FFFFFF"/>
                        </a:solidFill>
                      </a:rPr>
                      <a:t>16.5</a:t>
                    </a:r>
                  </a:p>
                </c:rich>
              </c:tx>
              <c:showLegendKey val="0"/>
              <c:showVal val="1"/>
              <c:showCatName val="0"/>
              <c:showSerName val="0"/>
              <c:showPercent val="0"/>
              <c:showBubbleSize val="0"/>
            </c:dLbl>
            <c:dLbl>
              <c:idx val="2"/>
              <c:tx>
                <c:rich>
                  <a:bodyPr/>
                  <a:lstStyle/>
                  <a:p>
                    <a:r>
                      <a:rPr>
                        <a:solidFill>
                          <a:srgbClr val="FFFFFF"/>
                        </a:solidFill>
                      </a:rPr>
                      <a:t>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6.640853</c:v>
                </c:pt>
                <c:pt idx="1">
                  <c:v>16.480931</c:v>
                </c:pt>
                <c:pt idx="2">
                  <c:v>8.48966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a:solidFill>
                          <a:srgbClr val="FFFFFF"/>
                        </a:solidFill>
                      </a:rPr>
                      <a:t>7.1</a:t>
                    </a:r>
                  </a:p>
                </c:rich>
              </c:tx>
              <c:showLegendKey val="0"/>
              <c:showVal val="1"/>
              <c:showCatName val="0"/>
              <c:showSerName val="0"/>
              <c:showPercent val="0"/>
              <c:showBubbleSize val="0"/>
            </c:dLbl>
            <c:dLbl>
              <c:idx val="1"/>
              <c:tx>
                <c:rich>
                  <a:bodyPr/>
                  <a:lstStyle/>
                  <a:p>
                    <a:r>
                      <a:rPr>
                        <a:solidFill>
                          <a:srgbClr val="FFFFFF"/>
                        </a:solidFill>
                      </a:rPr>
                      <a:t>16.4</a:t>
                    </a:r>
                  </a:p>
                </c:rich>
              </c:tx>
              <c:showLegendKey val="0"/>
              <c:showVal val="1"/>
              <c:showCatName val="0"/>
              <c:showSerName val="0"/>
              <c:showPercent val="0"/>
              <c:showBubbleSize val="0"/>
            </c:dLbl>
            <c:dLbl>
              <c:idx val="2"/>
              <c:tx>
                <c:rich>
                  <a:bodyPr/>
                  <a:lstStyle/>
                  <a:p>
                    <a:r>
                      <a:rPr>
                        <a:solidFill>
                          <a:srgbClr val="FFFFFF"/>
                        </a:solidFill>
                      </a:rPr>
                      <a:t>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136188</c:v>
                </c:pt>
                <c:pt idx="1">
                  <c:v>16.427165</c:v>
                </c:pt>
                <c:pt idx="2">
                  <c:v>7.76748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86.2</a:t>
                    </a:r>
                  </a:p>
                </c:rich>
              </c:tx>
              <c:showLegendKey val="0"/>
              <c:showVal val="1"/>
              <c:showCatName val="0"/>
              <c:showSerName val="0"/>
              <c:showPercent val="0"/>
              <c:showBubbleSize val="0"/>
            </c:dLbl>
            <c:dLbl>
              <c:idx val="1"/>
              <c:tx>
                <c:rich>
                  <a:bodyPr/>
                  <a:lstStyle/>
                  <a:p>
                    <a:r>
                      <a:rPr>
                        <a:solidFill>
                          <a:srgbClr val="FFFFFF"/>
                        </a:solidFill>
                      </a:rPr>
                      <a:t>206.5</a:t>
                    </a:r>
                  </a:p>
                </c:rich>
              </c:tx>
              <c:showLegendKey val="0"/>
              <c:showVal val="1"/>
              <c:showCatName val="0"/>
              <c:showSerName val="0"/>
              <c:showPercent val="0"/>
              <c:showBubbleSize val="0"/>
            </c:dLbl>
            <c:dLbl>
              <c:idx val="2"/>
              <c:tx>
                <c:rich>
                  <a:bodyPr/>
                  <a:lstStyle/>
                  <a:p>
                    <a:r>
                      <a:rPr>
                        <a:solidFill>
                          <a:srgbClr val="FFFFFF"/>
                        </a:solidFill>
                      </a:rPr>
                      <a:t>10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86.200545</c:v>
                </c:pt>
                <c:pt idx="1">
                  <c:v>206.471418</c:v>
                </c:pt>
                <c:pt idx="2">
                  <c:v>102.2738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5796</c:v>
                </c:pt>
                <c:pt idx="1">
                  <c:v>0.328207</c:v>
                </c:pt>
                <c:pt idx="2">
                  <c:v>0.137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22297</c:v>
                </c:pt>
                <c:pt idx="1">
                  <c:v>4.634288</c:v>
                </c:pt>
                <c:pt idx="2">
                  <c:v>2.0021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717</c:v>
                </c:pt>
                <c:pt idx="1">
                  <c:v>0.006585</c:v>
                </c:pt>
                <c:pt idx="2">
                  <c:v>0.0019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9e-05</c:v>
                </c:pt>
                <c:pt idx="1">
                  <c:v>0.000142</c:v>
                </c:pt>
                <c:pt idx="2">
                  <c:v>0.00013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482</c:v>
                </c:pt>
                <c:pt idx="1">
                  <c:v>0.003555</c:v>
                </c:pt>
                <c:pt idx="2">
                  <c:v>0.00145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55571</c:v>
                </c:pt>
                <c:pt idx="1">
                  <c:v>0.436071</c:v>
                </c:pt>
                <c:pt idx="2">
                  <c:v>0.10752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96</c:v>
                </c:pt>
                <c:pt idx="1">
                  <c:v>0.002412</c:v>
                </c:pt>
                <c:pt idx="2">
                  <c:v>0.00212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9368</c:v>
                </c:pt>
                <c:pt idx="1">
                  <c:v>0.060044</c:v>
                </c:pt>
                <c:pt idx="2">
                  <c:v>0.025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56788</c:v>
                </c:pt>
                <c:pt idx="1">
                  <c:v>0.330215</c:v>
                </c:pt>
                <c:pt idx="2">
                  <c:v>0.12312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179</c:v>
                </c:pt>
                <c:pt idx="1">
                  <c:v>0.006946</c:v>
                </c:pt>
                <c:pt idx="2">
                  <c:v>0.00475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2827</c:v>
                </c:pt>
                <c:pt idx="1">
                  <c:v>0.082326</c:v>
                </c:pt>
                <c:pt idx="2">
                  <c:v>0.03160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21.4</a:t>
                    </a:r>
                  </a:p>
                </c:rich>
              </c:tx>
              <c:showLegendKey val="0"/>
              <c:showVal val="1"/>
              <c:showCatName val="0"/>
              <c:showSerName val="0"/>
              <c:showPercent val="0"/>
              <c:showBubbleSize val="0"/>
            </c:dLbl>
            <c:dLbl>
              <c:idx val="1"/>
              <c:tx>
                <c:rich>
                  <a:bodyPr/>
                  <a:lstStyle/>
                  <a:p>
                    <a:r>
                      <a:rPr>
                        <a:solidFill>
                          <a:srgbClr val="FFFFFF"/>
                        </a:solidFill>
                      </a:rPr>
                      <a:t>20.2</a:t>
                    </a:r>
                  </a:p>
                </c:rich>
              </c:tx>
              <c:showLegendKey val="0"/>
              <c:showVal val="1"/>
              <c:showCatName val="0"/>
              <c:showSerName val="0"/>
              <c:showPercent val="0"/>
              <c:showBubbleSize val="0"/>
            </c:dLbl>
            <c:dLbl>
              <c:idx val="2"/>
              <c:tx>
                <c:rich>
                  <a:bodyPr/>
                  <a:lstStyle/>
                  <a:p>
                    <a:r>
                      <a:rPr>
                        <a:solidFill>
                          <a:srgbClr val="FFFFFF"/>
                        </a:solidFill>
                      </a:rPr>
                      <a:t>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441877</c:v>
                </c:pt>
                <c:pt idx="1">
                  <c:v>20.206175</c:v>
                </c:pt>
                <c:pt idx="2">
                  <c:v>7.45641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7904</c:v>
                </c:pt>
                <c:pt idx="1">
                  <c:v>0.158842</c:v>
                </c:pt>
                <c:pt idx="2">
                  <c:v>0.11786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6263</c:v>
                </c:pt>
                <c:pt idx="1">
                  <c:v>1.149408</c:v>
                </c:pt>
                <c:pt idx="2">
                  <c:v>0.45939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48027</c:v>
                </c:pt>
                <c:pt idx="1">
                  <c:v>0.795314</c:v>
                </c:pt>
                <c:pt idx="2">
                  <c:v>0.24324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9908</c:v>
                </c:pt>
                <c:pt idx="1">
                  <c:v>0.351685</c:v>
                </c:pt>
                <c:pt idx="2">
                  <c:v>0.10299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4757</c:v>
                </c:pt>
                <c:pt idx="1">
                  <c:v>0.282397</c:v>
                </c:pt>
                <c:pt idx="2">
                  <c:v>0.1043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6611</c:v>
                </c:pt>
                <c:pt idx="1">
                  <c:v>0.199038</c:v>
                </c:pt>
                <c:pt idx="2">
                  <c:v>0.05088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2819</c:v>
                </c:pt>
                <c:pt idx="1">
                  <c:v>0.152336</c:v>
                </c:pt>
                <c:pt idx="2">
                  <c:v>0.05717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40864</c:v>
                </c:pt>
                <c:pt idx="1">
                  <c:v>0.118042</c:v>
                </c:pt>
                <c:pt idx="2">
                  <c:v>0.0400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28307</c:v>
                </c:pt>
                <c:pt idx="1">
                  <c:v>0.107036</c:v>
                </c:pt>
                <c:pt idx="2">
                  <c:v>0.04560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24123</c:v>
                </c:pt>
                <c:pt idx="1">
                  <c:v>0.095931</c:v>
                </c:pt>
                <c:pt idx="2">
                  <c:v>0.03503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1813</c:v>
                </c:pt>
                <c:pt idx="1">
                  <c:v>0.090334</c:v>
                </c:pt>
                <c:pt idx="2">
                  <c:v>0.02880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735735</c:v>
                </c:pt>
                <c:pt idx="1">
                  <c:v>0.715071</c:v>
                </c:pt>
                <c:pt idx="2">
                  <c:v>0.2581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8909</c:v>
                </c:pt>
                <c:pt idx="1">
                  <c:v>0.021816</c:v>
                </c:pt>
                <c:pt idx="2">
                  <c:v>0.0076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233</c:v>
                </c:pt>
                <c:pt idx="1">
                  <c:v>0.002364</c:v>
                </c:pt>
                <c:pt idx="2">
                  <c:v>0.00083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73</c:v>
                </c:pt>
                <c:pt idx="1">
                  <c:v>0.000595</c:v>
                </c:pt>
                <c:pt idx="2">
                  <c:v>0.00030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88499</c:v>
                </c:pt>
                <c:pt idx="1">
                  <c:v>0.169849</c:v>
                </c:pt>
                <c:pt idx="2">
                  <c:v>0.05810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631</c:v>
                </c:pt>
                <c:pt idx="1">
                  <c:v>0.015073</c:v>
                </c:pt>
                <c:pt idx="2">
                  <c:v>0.0064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985</c:v>
                </c:pt>
                <c:pt idx="1">
                  <c:v>0.000842</c:v>
                </c:pt>
                <c:pt idx="2">
                  <c:v>0.00027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944</c:v>
                </c:pt>
                <c:pt idx="1">
                  <c:v>0.004786</c:v>
                </c:pt>
                <c:pt idx="2">
                  <c:v>0.00327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1398</c:v>
                </c:pt>
                <c:pt idx="1">
                  <c:v>0.009664</c:v>
                </c:pt>
                <c:pt idx="2">
                  <c:v>0.00455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358</c:v>
                </c:pt>
                <c:pt idx="1">
                  <c:v>0.002797</c:v>
                </c:pt>
                <c:pt idx="2">
                  <c:v>0.00106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3893</c:v>
                </c:pt>
                <c:pt idx="1">
                  <c:v>0.003716</c:v>
                </c:pt>
                <c:pt idx="2">
                  <c:v>0.001439</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10105</c:v>
                </c:pt>
                <c:pt idx="1">
                  <c:v>0.008197</c:v>
                </c:pt>
                <c:pt idx="2">
                  <c:v>0.003656</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3699</c:v>
                </c:pt>
                <c:pt idx="1">
                  <c:v>0.002025</c:v>
                </c:pt>
                <c:pt idx="2">
                  <c:v>0.00056</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8292</c:v>
                </c:pt>
                <c:pt idx="1">
                  <c:v>0.00881</c:v>
                </c:pt>
                <c:pt idx="2">
                  <c:v>0.003311</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6e-05</c:v>
                </c:pt>
                <c:pt idx="1">
                  <c:v>8e-06</c:v>
                </c:pt>
                <c:pt idx="2">
                  <c:v>1e-05</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3583</c:v>
                </c:pt>
                <c:pt idx="1">
                  <c:v>0.025212</c:v>
                </c:pt>
                <c:pt idx="2">
                  <c:v>0.011025</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16492</c:v>
                </c:pt>
                <c:pt idx="1">
                  <c:v>0.014723</c:v>
                </c:pt>
                <c:pt idx="2">
                  <c:v>0.006397</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14656</c:v>
                </c:pt>
                <c:pt idx="1">
                  <c:v>0.013022</c:v>
                </c:pt>
                <c:pt idx="2">
                  <c:v>0.0049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757864</c:v>
                </c:pt>
                <c:pt idx="1">
                  <c:v>1.993627</c:v>
                </c:pt>
                <c:pt idx="2">
                  <c:v>0.65749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8986</c:v>
                </c:pt>
                <c:pt idx="1">
                  <c:v>0.112855</c:v>
                </c:pt>
                <c:pt idx="2">
                  <c:v>0.04047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0151</c:v>
                </c:pt>
                <c:pt idx="1">
                  <c:v>0.036498</c:v>
                </c:pt>
                <c:pt idx="2">
                  <c:v>0.01797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a:solidFill>
                          <a:srgbClr val="FFFFFF"/>
                        </a:solidFill>
                      </a:rPr>
                      <a:t>9.2</a:t>
                    </a:r>
                  </a:p>
                </c:rich>
              </c:tx>
              <c:showLegendKey val="0"/>
              <c:showVal val="1"/>
              <c:showCatName val="0"/>
              <c:showSerName val="0"/>
              <c:showPercent val="0"/>
              <c:showBubbleSize val="0"/>
            </c:dLbl>
            <c:dLbl>
              <c:idx val="1"/>
              <c:tx>
                <c:rich>
                  <a:bodyPr/>
                  <a:lstStyle/>
                  <a:p>
                    <a:r>
                      <a:rPr>
                        <a:solidFill>
                          <a:srgbClr val="FFFFFF"/>
                        </a:solidFill>
                      </a:rPr>
                      <a:t>8.6</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232135</c:v>
                </c:pt>
                <c:pt idx="1">
                  <c:v>8.639661</c:v>
                </c:pt>
                <c:pt idx="2">
                  <c:v>2.9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720715</c:v>
                </c:pt>
                <c:pt idx="1">
                  <c:v>0.60276</c:v>
                </c:pt>
                <c:pt idx="2">
                  <c:v>0.25821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558</c:v>
                </c:pt>
                <c:pt idx="1">
                  <c:v>0.040566</c:v>
                </c:pt>
                <c:pt idx="2">
                  <c:v>0.01367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239</c:v>
                </c:pt>
                <c:pt idx="1">
                  <c:v>0.09645</c:v>
                </c:pt>
                <c:pt idx="2">
                  <c:v>0.07194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449139</c:v>
                </c:pt>
                <c:pt idx="1">
                  <c:v>0.401843</c:v>
                </c:pt>
                <c:pt idx="2">
                  <c:v>0.20529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57258</c:v>
                </c:pt>
                <c:pt idx="1">
                  <c:v>0.453109</c:v>
                </c:pt>
                <c:pt idx="2">
                  <c:v>0.17551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88309</c:v>
                </c:pt>
                <c:pt idx="1">
                  <c:v>0.084599</c:v>
                </c:pt>
                <c:pt idx="2">
                  <c:v>0.033019</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9982</c:v>
                </c:pt>
                <c:pt idx="1">
                  <c:v>0.097748</c:v>
                </c:pt>
                <c:pt idx="2">
                  <c:v>0.045515</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46697</c:v>
                </c:pt>
                <c:pt idx="1">
                  <c:v>0.027212</c:v>
                </c:pt>
                <c:pt idx="2">
                  <c:v>0.007414</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137569</c:v>
                </c:pt>
                <c:pt idx="1">
                  <c:v>0.145661</c:v>
                </c:pt>
                <c:pt idx="2">
                  <c:v>0.059938</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0124</c:v>
                </c:pt>
                <c:pt idx="1">
                  <c:v>5.4e-05</c:v>
                </c:pt>
                <c:pt idx="2">
                  <c:v>0.000123</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315548</c:v>
                </c:pt>
                <c:pt idx="1">
                  <c:v>0.309998</c:v>
                </c:pt>
                <c:pt idx="2">
                  <c:v>0.137842</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234112</c:v>
                </c:pt>
                <c:pt idx="1">
                  <c:v>0.22183</c:v>
                </c:pt>
                <c:pt idx="2">
                  <c:v>0.100735</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985174</c:v>
                </c:pt>
                <c:pt idx="1">
                  <c:v>0.902339</c:v>
                </c:pt>
                <c:pt idx="2">
                  <c:v>0.3290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398</c:v>
                </c:pt>
                <c:pt idx="1">
                  <c:v>0.010338</c:v>
                </c:pt>
                <c:pt idx="2">
                  <c:v>0.00386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52</c:v>
                </c:pt>
                <c:pt idx="1">
                  <c:v>0.001038</c:v>
                </c:pt>
                <c:pt idx="2">
                  <c:v>0.00036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915</c:v>
                </c:pt>
                <c:pt idx="1">
                  <c:v>0.000674</c:v>
                </c:pt>
                <c:pt idx="2">
                  <c:v>0.00040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912</c:v>
                </c:pt>
                <c:pt idx="1">
                  <c:v>0.098946</c:v>
                </c:pt>
                <c:pt idx="2">
                  <c:v>0.03673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0985</c:v>
                </c:pt>
                <c:pt idx="1">
                  <c:v>0.009573</c:v>
                </c:pt>
                <c:pt idx="2">
                  <c:v>0.00400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368</c:v>
                </c:pt>
                <c:pt idx="1">
                  <c:v>0.000294</c:v>
                </c:pt>
                <c:pt idx="2">
                  <c:v>0.00012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807</c:v>
                </c:pt>
                <c:pt idx="1">
                  <c:v>0.002315</c:v>
                </c:pt>
                <c:pt idx="2">
                  <c:v>0.00152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7969</c:v>
                </c:pt>
                <c:pt idx="1">
                  <c:v>0.005783</c:v>
                </c:pt>
                <c:pt idx="2">
                  <c:v>0.00319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334</c:v>
                </c:pt>
                <c:pt idx="1">
                  <c:v>0.001892</c:v>
                </c:pt>
                <c:pt idx="2">
                  <c:v>0.00097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4194</c:v>
                </c:pt>
                <c:pt idx="1">
                  <c:v>0.004456</c:v>
                </c:pt>
                <c:pt idx="2">
                  <c:v>0.001769</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2604</c:v>
                </c:pt>
                <c:pt idx="1">
                  <c:v>0.002867</c:v>
                </c:pt>
                <c:pt idx="2">
                  <c:v>0.001165</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129</c:v>
                </c:pt>
                <c:pt idx="1">
                  <c:v>0.000847</c:v>
                </c:pt>
                <c:pt idx="2">
                  <c:v>0.000263</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3506</c:v>
                </c:pt>
                <c:pt idx="1">
                  <c:v>0.003795</c:v>
                </c:pt>
                <c:pt idx="2">
                  <c:v>0.001509</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e-06</c:v>
                </c:pt>
                <c:pt idx="1">
                  <c:v>0.0</c:v>
                </c:pt>
                <c:pt idx="2">
                  <c:v>3e-06</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15947</c:v>
                </c:pt>
                <c:pt idx="1">
                  <c:v>0.016362</c:v>
                </c:pt>
                <c:pt idx="2">
                  <c:v>0.007164</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6077</c:v>
                </c:pt>
                <c:pt idx="1">
                  <c:v>0.00572</c:v>
                </c:pt>
                <c:pt idx="2">
                  <c:v>0.002674</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08534</c:v>
                </c:pt>
                <c:pt idx="1">
                  <c:v>0.006771</c:v>
                </c:pt>
                <c:pt idx="2">
                  <c:v>0.0026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70408</c:v>
                </c:pt>
                <c:pt idx="1">
                  <c:v>1.090267</c:v>
                </c:pt>
                <c:pt idx="2">
                  <c:v>0.39037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075</c:v>
                </c:pt>
                <c:pt idx="1">
                  <c:v>0.060476</c:v>
                </c:pt>
                <c:pt idx="2">
                  <c:v>0.01881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8428</c:v>
                </c:pt>
                <c:pt idx="1">
                  <c:v>0.0437</c:v>
                </c:pt>
                <c:pt idx="2">
                  <c:v>0.02479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a:solidFill>
                          <a:srgbClr val="FFFFFF"/>
                        </a:solidFill>
                      </a:rPr>
                      <a:t>5.7</a:t>
                    </a:r>
                  </a:p>
                </c:rich>
              </c:tx>
              <c:showLegendKey val="0"/>
              <c:showVal val="1"/>
              <c:showCatName val="0"/>
              <c:showSerName val="0"/>
              <c:showPercent val="0"/>
              <c:showBubbleSize val="0"/>
            </c:dLbl>
            <c:dLbl>
              <c:idx val="1"/>
              <c:tx>
                <c:rich>
                  <a:bodyPr/>
                  <a:lstStyle/>
                  <a:p>
                    <a:r>
                      <a:rPr>
                        <a:solidFill>
                          <a:srgbClr val="FFFFFF"/>
                        </a:solidFill>
                      </a:rPr>
                      <a:t>5.4</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720601</c:v>
                </c:pt>
                <c:pt idx="1">
                  <c:v>5.365196</c:v>
                </c:pt>
                <c:pt idx="2">
                  <c:v>1.98268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27915</c:v>
                </c:pt>
                <c:pt idx="1">
                  <c:v>0.384813</c:v>
                </c:pt>
                <c:pt idx="2">
                  <c:v>0.16161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6959</c:v>
                </c:pt>
                <c:pt idx="1">
                  <c:v>0.01429</c:v>
                </c:pt>
                <c:pt idx="2">
                  <c:v>0.00634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4452</c:v>
                </c:pt>
                <c:pt idx="1">
                  <c:v>0.050883</c:v>
                </c:pt>
                <c:pt idx="2">
                  <c:v>0.03846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323015</c:v>
                </c:pt>
                <c:pt idx="1">
                  <c:v>0.249706</c:v>
                </c:pt>
                <c:pt idx="2">
                  <c:v>0.14770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46606</c:v>
                </c:pt>
                <c:pt idx="1">
                  <c:v>0.391071</c:v>
                </c:pt>
                <c:pt idx="2">
                  <c:v>0.19371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8021</c:v>
                </c:pt>
                <c:pt idx="1">
                  <c:v>0.08345</c:v>
                </c:pt>
                <c:pt idx="2">
                  <c:v>0.034693</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29388</c:v>
                </c:pt>
                <c:pt idx="1">
                  <c:v>0.038105</c:v>
                </c:pt>
                <c:pt idx="2">
                  <c:v>0.01721</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16465</c:v>
                </c:pt>
                <c:pt idx="1">
                  <c:v>0.011361</c:v>
                </c:pt>
                <c:pt idx="2">
                  <c:v>0.003636</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59059</c:v>
                </c:pt>
                <c:pt idx="1">
                  <c:v>0.062848</c:v>
                </c:pt>
                <c:pt idx="2">
                  <c:v>0.027729</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7e-06</c:v>
                </c:pt>
                <c:pt idx="1">
                  <c:v>0.0</c:v>
                </c:pt>
                <c:pt idx="2">
                  <c:v>4e-05</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214564</c:v>
                </c:pt>
                <c:pt idx="1">
                  <c:v>0.205311</c:v>
                </c:pt>
                <c:pt idx="2">
                  <c:v>0.090607</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89439</c:v>
                </c:pt>
                <c:pt idx="1">
                  <c:v>0.090112</c:v>
                </c:pt>
                <c:pt idx="2">
                  <c:v>0.044182</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634725</c:v>
                </c:pt>
                <c:pt idx="1">
                  <c:v>0.527592</c:v>
                </c:pt>
                <c:pt idx="2">
                  <c:v>0.1968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996</c:v>
                </c:pt>
                <c:pt idx="1">
                  <c:v>0.001802</c:v>
                </c:pt>
                <c:pt idx="2">
                  <c:v>0.00065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21</c:v>
                </c:pt>
                <c:pt idx="1">
                  <c:v>0.000159</c:v>
                </c:pt>
                <c:pt idx="2">
                  <c:v>5.7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32</c:v>
                </c:pt>
                <c:pt idx="1">
                  <c:v>0.000159</c:v>
                </c:pt>
                <c:pt idx="2">
                  <c:v>6.3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9101</c:v>
                </c:pt>
                <c:pt idx="1">
                  <c:v>0.018864</c:v>
                </c:pt>
                <c:pt idx="2">
                  <c:v>0.0063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804</c:v>
                </c:pt>
                <c:pt idx="1">
                  <c:v>0.00147</c:v>
                </c:pt>
                <c:pt idx="2">
                  <c:v>0.00059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6.5e-05</c:v>
                </c:pt>
                <c:pt idx="1">
                  <c:v>3.7e-05</c:v>
                </c:pt>
                <c:pt idx="2">
                  <c:v>2e-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196</c:v>
                </c:pt>
                <c:pt idx="1">
                  <c:v>0.000491</c:v>
                </c:pt>
                <c:pt idx="2">
                  <c:v>0.00032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232</c:v>
                </c:pt>
                <c:pt idx="1">
                  <c:v>0.001054</c:v>
                </c:pt>
                <c:pt idx="2">
                  <c:v>0.00046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303</c:v>
                </c:pt>
                <c:pt idx="1">
                  <c:v>0.000316</c:v>
                </c:pt>
                <c:pt idx="2">
                  <c:v>0.00012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0938</c:v>
                </c:pt>
                <c:pt idx="1">
                  <c:v>0.001225</c:v>
                </c:pt>
                <c:pt idx="2">
                  <c:v>0.000542</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0662</c:v>
                </c:pt>
                <c:pt idx="1">
                  <c:v>0.000751</c:v>
                </c:pt>
                <c:pt idx="2">
                  <c:v>0.00028</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0589</c:v>
                </c:pt>
                <c:pt idx="1">
                  <c:v>0.000304</c:v>
                </c:pt>
                <c:pt idx="2">
                  <c:v>0.000101</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06</c:v>
                </c:pt>
                <c:pt idx="1">
                  <c:v>0.000781</c:v>
                </c:pt>
                <c:pt idx="2">
                  <c:v>0.000174</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c:v>
                </c:pt>
                <c:pt idx="1">
                  <c:v>1e-06</c:v>
                </c:pt>
                <c:pt idx="2">
                  <c:v>0.0</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2526</c:v>
                </c:pt>
                <c:pt idx="1">
                  <c:v>0.002477</c:v>
                </c:pt>
                <c:pt idx="2">
                  <c:v>0.001125</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973</c:v>
                </c:pt>
                <c:pt idx="1">
                  <c:v>0.001838</c:v>
                </c:pt>
                <c:pt idx="2">
                  <c:v>0.000765</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01448</c:v>
                </c:pt>
                <c:pt idx="1">
                  <c:v>0.001275</c:v>
                </c:pt>
                <c:pt idx="2">
                  <c:v>0.0004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7384</c:v>
                </c:pt>
                <c:pt idx="1">
                  <c:v>0.169716</c:v>
                </c:pt>
                <c:pt idx="2">
                  <c:v>0.05985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563</c:v>
                </c:pt>
                <c:pt idx="1">
                  <c:v>0.007448</c:v>
                </c:pt>
                <c:pt idx="2">
                  <c:v>0.00252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965</c:v>
                </c:pt>
                <c:pt idx="1">
                  <c:v>0.012516</c:v>
                </c:pt>
                <c:pt idx="2">
                  <c:v>0.00455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963859</c:v>
                </c:pt>
                <c:pt idx="1">
                  <c:v>0.981917</c:v>
                </c:pt>
                <c:pt idx="2">
                  <c:v>0.32621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062</c:v>
                </c:pt>
                <c:pt idx="1">
                  <c:v>0.059212</c:v>
                </c:pt>
                <c:pt idx="2">
                  <c:v>0.0237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923</c:v>
                </c:pt>
                <c:pt idx="1">
                  <c:v>0.001577</c:v>
                </c:pt>
                <c:pt idx="2">
                  <c:v>0.00100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159</c:v>
                </c:pt>
                <c:pt idx="1">
                  <c:v>0.009002</c:v>
                </c:pt>
                <c:pt idx="2">
                  <c:v>0.00700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741</c:v>
                </c:pt>
                <c:pt idx="1">
                  <c:v>0.044333</c:v>
                </c:pt>
                <c:pt idx="2">
                  <c:v>0.02174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6789</c:v>
                </c:pt>
                <c:pt idx="1">
                  <c:v>0.050972</c:v>
                </c:pt>
                <c:pt idx="2">
                  <c:v>0.01688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4386</c:v>
                </c:pt>
                <c:pt idx="1">
                  <c:v>0.020237</c:v>
                </c:pt>
                <c:pt idx="2">
                  <c:v>0.008585</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6467</c:v>
                </c:pt>
                <c:pt idx="1">
                  <c:v>0.007855</c:v>
                </c:pt>
                <c:pt idx="2">
                  <c:v>0.003194</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7932</c:v>
                </c:pt>
                <c:pt idx="1">
                  <c:v>0.004639</c:v>
                </c:pt>
                <c:pt idx="2">
                  <c:v>0.001643</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9764</c:v>
                </c:pt>
                <c:pt idx="1">
                  <c:v>0.012277</c:v>
                </c:pt>
                <c:pt idx="2">
                  <c:v>0.003128</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c:v>
                </c:pt>
                <c:pt idx="1">
                  <c:v>7e-06</c:v>
                </c:pt>
                <c:pt idx="2">
                  <c:v>0.0</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34513</c:v>
                </c:pt>
                <c:pt idx="1">
                  <c:v>0.03132</c:v>
                </c:pt>
                <c:pt idx="2">
                  <c:v>0.014564</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28143</c:v>
                </c:pt>
                <c:pt idx="1">
                  <c:v>0.027601</c:v>
                </c:pt>
                <c:pt idx="2">
                  <c:v>0.012135</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10134</c:v>
                </c:pt>
                <c:pt idx="1">
                  <c:v>0.090191</c:v>
                </c:pt>
                <c:pt idx="2">
                  <c:v>0.03100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307</c:v>
                </c:pt>
                <c:pt idx="1">
                  <c:v>0.00205</c:v>
                </c:pt>
                <c:pt idx="2">
                  <c:v>0.00083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97</c:v>
                </c:pt>
                <c:pt idx="1">
                  <c:v>0.000198</c:v>
                </c:pt>
                <c:pt idx="2">
                  <c:v>5.1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5e-05</c:v>
                </c:pt>
                <c:pt idx="1">
                  <c:v>4.3e-05</c:v>
                </c:pt>
                <c:pt idx="2">
                  <c:v>2.2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4977</c:v>
                </c:pt>
                <c:pt idx="1">
                  <c:v>0.013875</c:v>
                </c:pt>
                <c:pt idx="2">
                  <c:v>0.00446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051</c:v>
                </c:pt>
                <c:pt idx="1">
                  <c:v>0.000916</c:v>
                </c:pt>
                <c:pt idx="2">
                  <c:v>0.00031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125</c:v>
                </c:pt>
                <c:pt idx="1">
                  <c:v>0.000104</c:v>
                </c:pt>
                <c:pt idx="2">
                  <c:v>4.4e-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182</c:v>
                </c:pt>
                <c:pt idx="1">
                  <c:v>0.000381</c:v>
                </c:pt>
                <c:pt idx="2">
                  <c:v>0.00030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888</c:v>
                </c:pt>
                <c:pt idx="1">
                  <c:v>0.000808</c:v>
                </c:pt>
                <c:pt idx="2">
                  <c:v>0.00034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379</c:v>
                </c:pt>
                <c:pt idx="1">
                  <c:v>0.000313</c:v>
                </c:pt>
                <c:pt idx="2">
                  <c:v>0.0001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535</c:v>
                </c:pt>
                <c:pt idx="1">
                  <c:v>0.001389</c:v>
                </c:pt>
                <c:pt idx="2">
                  <c:v>0.000577</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2076</c:v>
                </c:pt>
                <c:pt idx="1">
                  <c:v>0.001618</c:v>
                </c:pt>
                <c:pt idx="2">
                  <c:v>0.000448</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0166</c:v>
                </c:pt>
                <c:pt idx="1">
                  <c:v>0.000129</c:v>
                </c:pt>
                <c:pt idx="2">
                  <c:v>1.4e-05</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0548</c:v>
                </c:pt>
                <c:pt idx="1">
                  <c:v>0.000684</c:v>
                </c:pt>
                <c:pt idx="2">
                  <c:v>0.00023</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368</c:v>
                </c:pt>
                <c:pt idx="1">
                  <c:v>0.004255</c:v>
                </c:pt>
                <c:pt idx="2">
                  <c:v>0.001256</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122</c:v>
                </c:pt>
                <c:pt idx="1">
                  <c:v>0.000851</c:v>
                </c:pt>
                <c:pt idx="2">
                  <c:v>0.00035</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Rosé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45</c:v>
                </c:pt>
                <c:pt idx="1">
                  <c:v>0.001261</c:v>
                </c:pt>
                <c:pt idx="2">
                  <c:v>0.00049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5675</c:v>
                </c:pt>
                <c:pt idx="1">
                  <c:v>0.213875</c:v>
                </c:pt>
                <c:pt idx="2">
                  <c:v>0.08323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153</c:v>
                </c:pt>
                <c:pt idx="1">
                  <c:v>0.009878</c:v>
                </c:pt>
                <c:pt idx="2">
                  <c:v>0.00259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728</c:v>
                </c:pt>
                <c:pt idx="1">
                  <c:v>0.002619</c:v>
                </c:pt>
                <c:pt idx="2">
                  <c:v>0.00129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86095</c:v>
                </c:pt>
                <c:pt idx="1">
                  <c:v>0.75454</c:v>
                </c:pt>
                <c:pt idx="2">
                  <c:v>0.24570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0779</c:v>
                </c:pt>
                <c:pt idx="1">
                  <c:v>0.03648</c:v>
                </c:pt>
                <c:pt idx="2">
                  <c:v>0.01277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5887</c:v>
                </c:pt>
                <c:pt idx="1">
                  <c:v>0.004948</c:v>
                </c:pt>
                <c:pt idx="2">
                  <c:v>0.00176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518</c:v>
                </c:pt>
                <c:pt idx="1">
                  <c:v>0.008909</c:v>
                </c:pt>
                <c:pt idx="2">
                  <c:v>0.00800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179</c:v>
                </c:pt>
                <c:pt idx="1">
                  <c:v>0.03372</c:v>
                </c:pt>
                <c:pt idx="2">
                  <c:v>0.01632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1875</c:v>
                </c:pt>
                <c:pt idx="1">
                  <c:v>0.067956</c:v>
                </c:pt>
                <c:pt idx="2">
                  <c:v>0.02704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4492</c:v>
                </c:pt>
                <c:pt idx="1">
                  <c:v>0.022601</c:v>
                </c:pt>
                <c:pt idx="2">
                  <c:v>0.009712</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27168</c:v>
                </c:pt>
                <c:pt idx="1">
                  <c:v>0.023568</c:v>
                </c:pt>
                <c:pt idx="2">
                  <c:v>0.006339</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206</c:v>
                </c:pt>
                <c:pt idx="1">
                  <c:v>0.001624</c:v>
                </c:pt>
                <c:pt idx="2">
                  <c:v>0.000185</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8927</c:v>
                </c:pt>
                <c:pt idx="1">
                  <c:v>0.011094</c:v>
                </c:pt>
                <c:pt idx="2">
                  <c:v>0.004174</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45677</c:v>
                </c:pt>
                <c:pt idx="1">
                  <c:v>0.049149</c:v>
                </c:pt>
                <c:pt idx="2">
                  <c:v>0.015076</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1793</c:v>
                </c:pt>
                <c:pt idx="1">
                  <c:v>0.013235</c:v>
                </c:pt>
                <c:pt idx="2">
                  <c:v>0.005805</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Rosés</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106554</c:v>
                </c:pt>
                <c:pt idx="1">
                  <c:v>0.105271</c:v>
                </c:pt>
                <c:pt idx="2">
                  <c:v>0.03760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1701</c:v>
                </c:pt>
                <c:pt idx="1">
                  <c:v>0.062943</c:v>
                </c:pt>
                <c:pt idx="2">
                  <c:v>0.02372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17</c:v>
                </c:pt>
                <c:pt idx="1">
                  <c:v>0.006929</c:v>
                </c:pt>
                <c:pt idx="2">
                  <c:v>0.00250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878</c:v>
                </c:pt>
                <c:pt idx="1">
                  <c:v>0.003066</c:v>
                </c:pt>
                <c:pt idx="2">
                  <c:v>0.00167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652268</c:v>
                </c:pt>
                <c:pt idx="1">
                  <c:v>0.597878</c:v>
                </c:pt>
                <c:pt idx="2">
                  <c:v>0.22053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9309</c:v>
                </c:pt>
                <c:pt idx="1">
                  <c:v>0.058767</c:v>
                </c:pt>
                <c:pt idx="2">
                  <c:v>0.02580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38</c:v>
                </c:pt>
                <c:pt idx="1">
                  <c:v>0.001936</c:v>
                </c:pt>
                <c:pt idx="2">
                  <c:v>0.00072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965</c:v>
                </c:pt>
                <c:pt idx="1">
                  <c:v>0.017008</c:v>
                </c:pt>
                <c:pt idx="2">
                  <c:v>0.01208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528</c:v>
                </c:pt>
                <c:pt idx="1">
                  <c:v>0.036953</c:v>
                </c:pt>
                <c:pt idx="2">
                  <c:v>0.02084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2562</c:v>
                </c:pt>
                <c:pt idx="1">
                  <c:v>0.009796</c:v>
                </c:pt>
                <c:pt idx="2">
                  <c:v>0.00424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1134</c:v>
                </c:pt>
                <c:pt idx="1">
                  <c:v>0.011272</c:v>
                </c:pt>
                <c:pt idx="2">
                  <c:v>0.004638</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19424</c:v>
                </c:pt>
                <c:pt idx="1">
                  <c:v>0.018014</c:v>
                </c:pt>
                <c:pt idx="2">
                  <c:v>0.008169</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10612</c:v>
                </c:pt>
                <c:pt idx="1">
                  <c:v>0.006135</c:v>
                </c:pt>
                <c:pt idx="2">
                  <c:v>0.001634</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2255</c:v>
                </c:pt>
                <c:pt idx="1">
                  <c:v>0.025657</c:v>
                </c:pt>
                <c:pt idx="2">
                  <c:v>0.009178</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2.6e-05</c:v>
                </c:pt>
                <c:pt idx="1">
                  <c:v>1.4e-05</c:v>
                </c:pt>
                <c:pt idx="2">
                  <c:v>2.9e-05</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98751</c:v>
                </c:pt>
                <c:pt idx="1">
                  <c:v>0.097835</c:v>
                </c:pt>
                <c:pt idx="2">
                  <c:v>0.046428</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46844</c:v>
                </c:pt>
                <c:pt idx="1">
                  <c:v>0.043996</c:v>
                </c:pt>
                <c:pt idx="2">
                  <c:v>0.021496</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51184</c:v>
                </c:pt>
                <c:pt idx="1">
                  <c:v>0.042717</c:v>
                </c:pt>
                <c:pt idx="2">
                  <c:v>0.017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a:solidFill>
                          <a:srgbClr val="FFFFFF"/>
                        </a:solidFill>
                      </a:rPr>
                      <a:t>8.2</a:t>
                    </a:r>
                  </a:p>
                </c:rich>
              </c:tx>
              <c:showLegendKey val="0"/>
              <c:showVal val="1"/>
              <c:showCatName val="0"/>
              <c:showSerName val="0"/>
              <c:showPercent val="0"/>
              <c:showBubbleSize val="0"/>
            </c:dLbl>
            <c:dLbl>
              <c:idx val="1"/>
              <c:tx>
                <c:rich>
                  <a:bodyPr/>
                  <a:lstStyle/>
                  <a:p>
                    <a:r>
                      <a:rPr>
                        <a:solidFill>
                          <a:srgbClr val="FFFFFF"/>
                        </a:solidFill>
                      </a:rPr>
                      <a:t>6.2</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195313</c:v>
                </c:pt>
                <c:pt idx="1">
                  <c:v>6.24945</c:v>
                </c:pt>
                <c:pt idx="2">
                  <c:v>2.26422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3019</c:v>
                </c:pt>
                <c:pt idx="1">
                  <c:v>0.343224</c:v>
                </c:pt>
                <c:pt idx="2">
                  <c:v>0.12251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9727</c:v>
                </c:pt>
                <c:pt idx="1">
                  <c:v>0.194942</c:v>
                </c:pt>
                <c:pt idx="2">
                  <c:v>0.10147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a:solidFill>
                          <a:srgbClr val="FFFFFF"/>
                        </a:solidFill>
                      </a:rPr>
                      <a:t>33.4</a:t>
                    </a:r>
                  </a:p>
                </c:rich>
              </c:tx>
              <c:showLegendKey val="0"/>
              <c:showVal val="1"/>
              <c:showCatName val="0"/>
              <c:showSerName val="0"/>
              <c:showPercent val="0"/>
              <c:showBubbleSize val="0"/>
            </c:dLbl>
            <c:dLbl>
              <c:idx val="1"/>
              <c:tx>
                <c:rich>
                  <a:bodyPr/>
                  <a:lstStyle/>
                  <a:p>
                    <a:r>
                      <a:rPr>
                        <a:solidFill>
                          <a:srgbClr val="FFFFFF"/>
                        </a:solidFill>
                      </a:rPr>
                      <a:t>31.6</a:t>
                    </a:r>
                  </a:p>
                </c:rich>
              </c:tx>
              <c:showLegendKey val="0"/>
              <c:showVal val="1"/>
              <c:showCatName val="0"/>
              <c:showSerName val="0"/>
              <c:showPercent val="0"/>
              <c:showBubbleSize val="0"/>
            </c:dLbl>
            <c:dLbl>
              <c:idx val="2"/>
              <c:tx>
                <c:rich>
                  <a:bodyPr/>
                  <a:lstStyle/>
                  <a:p>
                    <a:r>
                      <a:rPr>
                        <a:solidFill>
                          <a:srgbClr val="FFFFFF"/>
                        </a:solidFill>
                      </a:rPr>
                      <a:t>1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3.444311</c:v>
                </c:pt>
                <c:pt idx="1">
                  <c:v>31.597166</c:v>
                </c:pt>
                <c:pt idx="2">
                  <c:v>11.56055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677643</c:v>
                </c:pt>
                <c:pt idx="1">
                  <c:v>2.353456</c:v>
                </c:pt>
                <c:pt idx="2">
                  <c:v>1.03593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09094</c:v>
                </c:pt>
                <c:pt idx="1">
                  <c:v>0.091201</c:v>
                </c:pt>
                <c:pt idx="2">
                  <c:v>0.03408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17857</c:v>
                </c:pt>
                <c:pt idx="1">
                  <c:v>0.36766</c:v>
                </c:pt>
                <c:pt idx="2">
                  <c:v>0.28790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1.8</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814334</c:v>
                </c:pt>
                <c:pt idx="1">
                  <c:v>1.558585</c:v>
                </c:pt>
                <c:pt idx="2">
                  <c:v>0.95278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18873</c:v>
                </c:pt>
                <c:pt idx="1">
                  <c:v>1.75665</c:v>
                </c:pt>
                <c:pt idx="2">
                  <c:v>0.72002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8472</c:v>
                </c:pt>
                <c:pt idx="1">
                  <c:v>0.26146</c:v>
                </c:pt>
                <c:pt idx="2">
                  <c:v>0.108981</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180929</c:v>
                </c:pt>
                <c:pt idx="1">
                  <c:v>0.207661</c:v>
                </c:pt>
                <c:pt idx="2">
                  <c:v>0.103144</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13361</c:v>
                </c:pt>
                <c:pt idx="1">
                  <c:v>0.082789</c:v>
                </c:pt>
                <c:pt idx="2">
                  <c:v>0.022039</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372974</c:v>
                </c:pt>
                <c:pt idx="1">
                  <c:v>0.417366</c:v>
                </c:pt>
                <c:pt idx="2">
                  <c:v>0.166563</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0224</c:v>
                </c:pt>
                <c:pt idx="1">
                  <c:v>0.000118</c:v>
                </c:pt>
                <c:pt idx="2">
                  <c:v>0.000366</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325199</c:v>
                </c:pt>
                <c:pt idx="1">
                  <c:v>1.226263</c:v>
                </c:pt>
                <c:pt idx="2">
                  <c:v>0.581676</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686517</c:v>
                </c:pt>
                <c:pt idx="1">
                  <c:v>0.687455</c:v>
                </c:pt>
                <c:pt idx="2">
                  <c:v>0.352014</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a:solidFill>
                          <a:srgbClr val="FFFFFF"/>
                        </a:solidFill>
                      </a:rPr>
                      <a:t>3.8</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3.795316</c:v>
                </c:pt>
                <c:pt idx="1">
                  <c:v>3.250045</c:v>
                </c:pt>
                <c:pt idx="2">
                  <c:v>1.2895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545</c:v>
                </c:pt>
                <c:pt idx="1">
                  <c:v>0.001928</c:v>
                </c:pt>
                <c:pt idx="2">
                  <c:v>0.0007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6e-05</c:v>
                </c:pt>
                <c:pt idx="1">
                  <c:v>0.000168</c:v>
                </c:pt>
                <c:pt idx="2">
                  <c:v>3.9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2</c:v>
                </c:pt>
                <c:pt idx="1">
                  <c:v>0.000122</c:v>
                </c:pt>
                <c:pt idx="2">
                  <c:v>5.4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9071</c:v>
                </c:pt>
                <c:pt idx="1">
                  <c:v>0.017782</c:v>
                </c:pt>
                <c:pt idx="2">
                  <c:v>0.006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436</c:v>
                </c:pt>
                <c:pt idx="1">
                  <c:v>0.001251</c:v>
                </c:pt>
                <c:pt idx="2">
                  <c:v>0.0004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5.1e-05</c:v>
                </c:pt>
                <c:pt idx="1">
                  <c:v>6.5e-05</c:v>
                </c:pt>
                <c:pt idx="2">
                  <c:v>2.4e-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235</c:v>
                </c:pt>
                <c:pt idx="1">
                  <c:v>0.000498</c:v>
                </c:pt>
                <c:pt idx="2">
                  <c:v>0.00031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054</c:v>
                </c:pt>
                <c:pt idx="1">
                  <c:v>0.000856</c:v>
                </c:pt>
                <c:pt idx="2">
                  <c:v>0.00036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31</c:v>
                </c:pt>
                <c:pt idx="1">
                  <c:v>0.000319</c:v>
                </c:pt>
                <c:pt idx="2">
                  <c:v>0.00010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0293</c:v>
                </c:pt>
                <c:pt idx="1">
                  <c:v>0.000292</c:v>
                </c:pt>
                <c:pt idx="2">
                  <c:v>8e-05</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1326</c:v>
                </c:pt>
                <c:pt idx="1">
                  <c:v>0.001051</c:v>
                </c:pt>
                <c:pt idx="2">
                  <c:v>0.000421</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0467</c:v>
                </c:pt>
                <c:pt idx="1">
                  <c:v>0.000166</c:v>
                </c:pt>
                <c:pt idx="2">
                  <c:v>4.5e-05</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0652</c:v>
                </c:pt>
                <c:pt idx="1">
                  <c:v>0.000747</c:v>
                </c:pt>
                <c:pt idx="2">
                  <c:v>0.000244</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7e-06</c:v>
                </c:pt>
                <c:pt idx="1">
                  <c:v>2e-06</c:v>
                </c:pt>
                <c:pt idx="2">
                  <c:v>0.0</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154</c:v>
                </c:pt>
                <c:pt idx="1">
                  <c:v>0.001845</c:v>
                </c:pt>
                <c:pt idx="2">
                  <c:v>0.000773</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49</c:v>
                </c:pt>
                <c:pt idx="1">
                  <c:v>0.001777</c:v>
                </c:pt>
                <c:pt idx="2">
                  <c:v>0.000631</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01281</c:v>
                </c:pt>
                <c:pt idx="1">
                  <c:v>0.001211</c:v>
                </c:pt>
                <c:pt idx="2">
                  <c:v>0.0004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917</c:v>
                </c:pt>
                <c:pt idx="1">
                  <c:v>0.179197</c:v>
                </c:pt>
                <c:pt idx="2">
                  <c:v>0.06851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321</c:v>
                </c:pt>
                <c:pt idx="1">
                  <c:v>0.007759</c:v>
                </c:pt>
                <c:pt idx="2">
                  <c:v>0.00180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805</c:v>
                </c:pt>
                <c:pt idx="1">
                  <c:v>0.006568</c:v>
                </c:pt>
                <c:pt idx="2">
                  <c:v>0.00300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938174</c:v>
                </c:pt>
                <c:pt idx="1">
                  <c:v>0.89529</c:v>
                </c:pt>
                <c:pt idx="2">
                  <c:v>0.30380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507</c:v>
                </c:pt>
                <c:pt idx="1">
                  <c:v>0.049992</c:v>
                </c:pt>
                <c:pt idx="2">
                  <c:v>0.01917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098</c:v>
                </c:pt>
                <c:pt idx="1">
                  <c:v>0.003109</c:v>
                </c:pt>
                <c:pt idx="2">
                  <c:v>0.00104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689</c:v>
                </c:pt>
                <c:pt idx="1">
                  <c:v>0.009418</c:v>
                </c:pt>
                <c:pt idx="2">
                  <c:v>0.00700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078</c:v>
                </c:pt>
                <c:pt idx="1">
                  <c:v>0.036474</c:v>
                </c:pt>
                <c:pt idx="2">
                  <c:v>0.01633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6934</c:v>
                </c:pt>
                <c:pt idx="1">
                  <c:v>0.048551</c:v>
                </c:pt>
                <c:pt idx="2">
                  <c:v>0.01648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815</c:v>
                </c:pt>
                <c:pt idx="1">
                  <c:v>0.006859</c:v>
                </c:pt>
                <c:pt idx="2">
                  <c:v>0.00193</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10825</c:v>
                </c:pt>
                <c:pt idx="1">
                  <c:v>0.010388</c:v>
                </c:pt>
                <c:pt idx="2">
                  <c:v>0.004248</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5831</c:v>
                </c:pt>
                <c:pt idx="1">
                  <c:v>0.002234</c:v>
                </c:pt>
                <c:pt idx="2">
                  <c:v>0.000618</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0535</c:v>
                </c:pt>
                <c:pt idx="1">
                  <c:v>0.01214</c:v>
                </c:pt>
                <c:pt idx="2">
                  <c:v>0.004365</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4.9e-05</c:v>
                </c:pt>
                <c:pt idx="1">
                  <c:v>1.4e-05</c:v>
                </c:pt>
                <c:pt idx="2">
                  <c:v>0.0</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0836</c:v>
                </c:pt>
                <c:pt idx="1">
                  <c:v>0.022653</c:v>
                </c:pt>
                <c:pt idx="2">
                  <c:v>0.009811</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21052</c:v>
                </c:pt>
                <c:pt idx="1">
                  <c:v>0.02703</c:v>
                </c:pt>
                <c:pt idx="2">
                  <c:v>0.010291</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89193</c:v>
                </c:pt>
                <c:pt idx="1">
                  <c:v>0.085192</c:v>
                </c:pt>
                <c:pt idx="2">
                  <c:v>0.03106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6189</c:v>
                </c:pt>
                <c:pt idx="1">
                  <c:v>0.020115</c:v>
                </c:pt>
                <c:pt idx="2">
                  <c:v>0.00748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087</c:v>
                </c:pt>
                <c:pt idx="1">
                  <c:v>0.00198</c:v>
                </c:pt>
                <c:pt idx="2">
                  <c:v>0.00076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152</c:v>
                </c:pt>
                <c:pt idx="1">
                  <c:v>0.00088</c:v>
                </c:pt>
                <c:pt idx="2">
                  <c:v>0.00040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16676</c:v>
                </c:pt>
                <c:pt idx="1">
                  <c:v>0.198227</c:v>
                </c:pt>
                <c:pt idx="2">
                  <c:v>0.06925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1169</c:v>
                </c:pt>
                <c:pt idx="1">
                  <c:v>0.018023</c:v>
                </c:pt>
                <c:pt idx="2">
                  <c:v>0.00742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845</c:v>
                </c:pt>
                <c:pt idx="1">
                  <c:v>0.000711</c:v>
                </c:pt>
                <c:pt idx="2">
                  <c:v>0.00027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03</c:v>
                </c:pt>
                <c:pt idx="1">
                  <c:v>0.0053</c:v>
                </c:pt>
                <c:pt idx="2">
                  <c:v>0.00383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41</c:v>
                </c:pt>
                <c:pt idx="1">
                  <c:v>0.011407</c:v>
                </c:pt>
                <c:pt idx="2">
                  <c:v>0.0061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3463</c:v>
                </c:pt>
                <c:pt idx="1">
                  <c:v>0.002804</c:v>
                </c:pt>
                <c:pt idx="2">
                  <c:v>0.00117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4041</c:v>
                </c:pt>
                <c:pt idx="1">
                  <c:v>0.003954</c:v>
                </c:pt>
                <c:pt idx="2">
                  <c:v>0.001635</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791</c:v>
                </c:pt>
                <c:pt idx="1">
                  <c:v>0.007218</c:v>
                </c:pt>
                <c:pt idx="2">
                  <c:v>0.003233</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3606</c:v>
                </c:pt>
                <c:pt idx="1">
                  <c:v>0.00202</c:v>
                </c:pt>
                <c:pt idx="2">
                  <c:v>0.000524</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7197</c:v>
                </c:pt>
                <c:pt idx="1">
                  <c:v>0.007776</c:v>
                </c:pt>
                <c:pt idx="2">
                  <c:v>0.002982</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7e-06</c:v>
                </c:pt>
                <c:pt idx="1">
                  <c:v>0.0</c:v>
                </c:pt>
                <c:pt idx="2">
                  <c:v>6e-06</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33171</c:v>
                </c:pt>
                <c:pt idx="1">
                  <c:v>0.033808</c:v>
                </c:pt>
                <c:pt idx="2">
                  <c:v>0.015839</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17215</c:v>
                </c:pt>
                <c:pt idx="1">
                  <c:v>0.016501</c:v>
                </c:pt>
                <c:pt idx="2">
                  <c:v>0.007713</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16628</c:v>
                </c:pt>
                <c:pt idx="1">
                  <c:v>0.01391</c:v>
                </c:pt>
                <c:pt idx="2">
                  <c:v>0.0056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546676</c:v>
                </c:pt>
                <c:pt idx="1">
                  <c:v>1.935927</c:v>
                </c:pt>
                <c:pt idx="2">
                  <c:v>0.68146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2766</c:v>
                </c:pt>
                <c:pt idx="1">
                  <c:v>0.094608</c:v>
                </c:pt>
                <c:pt idx="2">
                  <c:v>0.03733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1172</c:v>
                </c:pt>
                <c:pt idx="1">
                  <c:v>0.058509</c:v>
                </c:pt>
                <c:pt idx="2">
                  <c:v>0.02536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a:solidFill>
                          <a:srgbClr val="FFFFFF"/>
                        </a:solidFill>
                      </a:rPr>
                      <a:t>10.9</a:t>
                    </a:r>
                  </a:p>
                </c:rich>
              </c:tx>
              <c:showLegendKey val="0"/>
              <c:showVal val="1"/>
              <c:showCatName val="0"/>
              <c:showSerName val="0"/>
              <c:showPercent val="0"/>
              <c:showBubbleSize val="0"/>
            </c:dLbl>
            <c:dLbl>
              <c:idx val="1"/>
              <c:tx>
                <c:rich>
                  <a:bodyPr/>
                  <a:lstStyle/>
                  <a:p>
                    <a:r>
                      <a:rPr>
                        <a:solidFill>
                          <a:srgbClr val="FFFFFF"/>
                        </a:solidFill>
                      </a:rPr>
                      <a:t>10.3</a:t>
                    </a:r>
                  </a:p>
                </c:rich>
              </c:tx>
              <c:showLegendKey val="0"/>
              <c:showVal val="1"/>
              <c:showCatName val="0"/>
              <c:showSerName val="0"/>
              <c:showPercent val="0"/>
              <c:showBubbleSize val="0"/>
            </c:dLbl>
            <c:dLbl>
              <c:idx val="2"/>
              <c:tx>
                <c:rich>
                  <a:bodyPr/>
                  <a:lstStyle/>
                  <a:p>
                    <a:r>
                      <a:rPr>
                        <a:solidFill>
                          <a:srgbClr val="FFFFFF"/>
                        </a:solidFill>
                      </a:rPr>
                      <a:t>3.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874635</c:v>
                </c:pt>
                <c:pt idx="1">
                  <c:v>10.278034</c:v>
                </c:pt>
                <c:pt idx="2">
                  <c:v>3.58954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820359</c:v>
                </c:pt>
                <c:pt idx="1">
                  <c:v>0.720662</c:v>
                </c:pt>
                <c:pt idx="2">
                  <c:v>0.29745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8967</c:v>
                </c:pt>
                <c:pt idx="1">
                  <c:v>0.03275</c:v>
                </c:pt>
                <c:pt idx="2">
                  <c:v>0.01257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602</c:v>
                </c:pt>
                <c:pt idx="1">
                  <c:v>0.11548</c:v>
                </c:pt>
                <c:pt idx="2">
                  <c:v>0.09060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56028</c:v>
                </c:pt>
                <c:pt idx="1">
                  <c:v>0.477896</c:v>
                </c:pt>
                <c:pt idx="2">
                  <c:v>0.27821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580448</c:v>
                </c:pt>
                <c:pt idx="1">
                  <c:v>0.502295</c:v>
                </c:pt>
                <c:pt idx="2">
                  <c:v>0.19717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89617</c:v>
                </c:pt>
                <c:pt idx="1">
                  <c:v>0.087836</c:v>
                </c:pt>
                <c:pt idx="2">
                  <c:v>0.036637</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85397</c:v>
                </c:pt>
                <c:pt idx="1">
                  <c:v>0.091258</c:v>
                </c:pt>
                <c:pt idx="2">
                  <c:v>0.043304</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45941</c:v>
                </c:pt>
                <c:pt idx="1">
                  <c:v>0.0283</c:v>
                </c:pt>
                <c:pt idx="2">
                  <c:v>0.007289</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118252</c:v>
                </c:pt>
                <c:pt idx="1">
                  <c:v>0.126054</c:v>
                </c:pt>
                <c:pt idx="2">
                  <c:v>0.05354</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5.6e-05</c:v>
                </c:pt>
                <c:pt idx="1">
                  <c:v>0.0</c:v>
                </c:pt>
                <c:pt idx="2">
                  <c:v>8e-05</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446439</c:v>
                </c:pt>
                <c:pt idx="1">
                  <c:v>0.421811</c:v>
                </c:pt>
                <c:pt idx="2">
                  <c:v>0.198426</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246995</c:v>
                </c:pt>
                <c:pt idx="1">
                  <c:v>0.252153</c:v>
                </c:pt>
                <c:pt idx="2">
                  <c:v>0.124151</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137161</c:v>
                </c:pt>
                <c:pt idx="1">
                  <c:v>0.990536</c:v>
                </c:pt>
                <c:pt idx="2">
                  <c:v>0.3880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321</c:v>
                </c:pt>
                <c:pt idx="1">
                  <c:v>0.01687</c:v>
                </c:pt>
                <c:pt idx="2">
                  <c:v>0.00550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504</c:v>
                </c:pt>
                <c:pt idx="1">
                  <c:v>0.001746</c:v>
                </c:pt>
                <c:pt idx="2">
                  <c:v>0.00060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724</c:v>
                </c:pt>
                <c:pt idx="1">
                  <c:v>0.000598</c:v>
                </c:pt>
                <c:pt idx="2">
                  <c:v>0.00031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8766</c:v>
                </c:pt>
                <c:pt idx="1">
                  <c:v>0.157818</c:v>
                </c:pt>
                <c:pt idx="2">
                  <c:v>0.05430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7841</c:v>
                </c:pt>
                <c:pt idx="1">
                  <c:v>0.015321</c:v>
                </c:pt>
                <c:pt idx="2">
                  <c:v>0.00667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665</c:v>
                </c:pt>
                <c:pt idx="1">
                  <c:v>0.00064</c:v>
                </c:pt>
                <c:pt idx="2">
                  <c:v>0.000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688</c:v>
                </c:pt>
                <c:pt idx="1">
                  <c:v>0.004553</c:v>
                </c:pt>
                <c:pt idx="2">
                  <c:v>0.00289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0933</c:v>
                </c:pt>
                <c:pt idx="1">
                  <c:v>0.00991</c:v>
                </c:pt>
                <c:pt idx="2">
                  <c:v>0.0046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775</c:v>
                </c:pt>
                <c:pt idx="1">
                  <c:v>0.002287</c:v>
                </c:pt>
                <c:pt idx="2">
                  <c:v>0.00088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639</c:v>
                </c:pt>
                <c:pt idx="1">
                  <c:v>0.006779</c:v>
                </c:pt>
                <c:pt idx="2">
                  <c:v>0.002619</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7632</c:v>
                </c:pt>
                <c:pt idx="1">
                  <c:v>0.006962</c:v>
                </c:pt>
                <c:pt idx="2">
                  <c:v>0.00301</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2698</c:v>
                </c:pt>
                <c:pt idx="1">
                  <c:v>0.001467</c:v>
                </c:pt>
                <c:pt idx="2">
                  <c:v>0.000444</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7734</c:v>
                </c:pt>
                <c:pt idx="1">
                  <c:v>0.008448</c:v>
                </c:pt>
                <c:pt idx="2">
                  <c:v>0.002986</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9e-06</c:v>
                </c:pt>
                <c:pt idx="1">
                  <c:v>3e-06</c:v>
                </c:pt>
                <c:pt idx="2">
                  <c:v>5e-06</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3491</c:v>
                </c:pt>
                <c:pt idx="1">
                  <c:v>0.02488</c:v>
                </c:pt>
                <c:pt idx="2">
                  <c:v>0.011333</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14188</c:v>
                </c:pt>
                <c:pt idx="1">
                  <c:v>0.013349</c:v>
                </c:pt>
                <c:pt idx="2">
                  <c:v>0.005876</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12187</c:v>
                </c:pt>
                <c:pt idx="1">
                  <c:v>0.010543</c:v>
                </c:pt>
                <c:pt idx="2">
                  <c:v>0.003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261278</c:v>
                </c:pt>
                <c:pt idx="1">
                  <c:v>1.651437</c:v>
                </c:pt>
                <c:pt idx="2">
                  <c:v>0.5075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306</c:v>
                </c:pt>
                <c:pt idx="1">
                  <c:v>0.083544</c:v>
                </c:pt>
                <c:pt idx="2">
                  <c:v>0.02980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5509</c:v>
                </c:pt>
                <c:pt idx="1">
                  <c:v>0.038176</c:v>
                </c:pt>
                <c:pt idx="2">
                  <c:v>0.01942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a:solidFill>
                          <a:srgbClr val="FFFFFF"/>
                        </a:solidFill>
                      </a:rPr>
                      <a:t>8.5</a:t>
                    </a:r>
                  </a:p>
                </c:rich>
              </c:tx>
              <c:showLegendKey val="0"/>
              <c:showVal val="1"/>
              <c:showCatName val="0"/>
              <c:showSerName val="0"/>
              <c:showPercent val="0"/>
              <c:showBubbleSize val="0"/>
            </c:dLbl>
            <c:dLbl>
              <c:idx val="1"/>
              <c:tx>
                <c:rich>
                  <a:bodyPr/>
                  <a:lstStyle/>
                  <a:p>
                    <a:r>
                      <a:rPr>
                        <a:solidFill>
                          <a:srgbClr val="FFFFFF"/>
                        </a:solidFill>
                      </a:rPr>
                      <a:t>8.2</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8.5128</c:v>
                </c:pt>
                <c:pt idx="1">
                  <c:v>8.222532</c:v>
                </c:pt>
                <c:pt idx="2">
                  <c:v>2.80908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89588</c:v>
                </c:pt>
                <c:pt idx="1">
                  <c:v>0.61347</c:v>
                </c:pt>
                <c:pt idx="2">
                  <c:v>0.2685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0793</c:v>
                </c:pt>
                <c:pt idx="1">
                  <c:v>0.031164</c:v>
                </c:pt>
                <c:pt idx="2">
                  <c:v>0.00978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8895</c:v>
                </c:pt>
                <c:pt idx="1">
                  <c:v>0.094506</c:v>
                </c:pt>
                <c:pt idx="2">
                  <c:v>0.06393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432782</c:v>
                </c:pt>
                <c:pt idx="1">
                  <c:v>0.417149</c:v>
                </c:pt>
                <c:pt idx="2">
                  <c:v>0.21255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5958</c:v>
                </c:pt>
                <c:pt idx="1">
                  <c:v>0.400223</c:v>
                </c:pt>
                <c:pt idx="2">
                  <c:v>0.14277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27725</c:v>
                </c:pt>
                <c:pt idx="1">
                  <c:v>0.129024</c:v>
                </c:pt>
                <c:pt idx="2">
                  <c:v>0.050353</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8154</c:v>
                </c:pt>
                <c:pt idx="1">
                  <c:v>0.086916</c:v>
                </c:pt>
                <c:pt idx="2">
                  <c:v>0.041544</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3416</c:v>
                </c:pt>
                <c:pt idx="1">
                  <c:v>0.019872</c:v>
                </c:pt>
                <c:pt idx="2">
                  <c:v>0.005968</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132361</c:v>
                </c:pt>
                <c:pt idx="1">
                  <c:v>0.142222</c:v>
                </c:pt>
                <c:pt idx="2">
                  <c:v>0.05474</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7.7e-05</c:v>
                </c:pt>
                <c:pt idx="1">
                  <c:v>2.1e-05</c:v>
                </c:pt>
                <c:pt idx="2">
                  <c:v>5e-05</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313725</c:v>
                </c:pt>
                <c:pt idx="1">
                  <c:v>0.307856</c:v>
                </c:pt>
                <c:pt idx="2">
                  <c:v>0.140686</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202451</c:v>
                </c:pt>
                <c:pt idx="1">
                  <c:v>0.202993</c:v>
                </c:pt>
                <c:pt idx="2">
                  <c:v>0.093778</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849427</c:v>
                </c:pt>
                <c:pt idx="1">
                  <c:v>0.752142</c:v>
                </c:pt>
                <c:pt idx="2">
                  <c:v>0.26686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3589767795546</c:v>
                </c:pt>
                <c:pt idx="1">
                  <c:v>0.24896980824823495</c:v>
                </c:pt>
                <c:pt idx="2">
                  <c:v>0.21308151460603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776904156820052</c:v>
                </c:pt>
                <c:pt idx="1">
                  <c:v>0.10679641719169117</c:v>
                </c:pt>
                <c:pt idx="2">
                  <c:v>0.102148418701102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393336214935537</c:v>
                </c:pt>
                <c:pt idx="1">
                  <c:v>0.07551343158942704</c:v>
                </c:pt>
                <c:pt idx="2">
                  <c:v>0.0601469454680658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05975807837637</c:v>
                </c:pt>
                <c:pt idx="1">
                  <c:v>0.08464473318563104</c:v>
                </c:pt>
                <c:pt idx="2">
                  <c:v>0.0934492430829624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883940147229948</c:v>
                </c:pt>
                <c:pt idx="1">
                  <c:v>0.050535213564084774</c:v>
                </c:pt>
                <c:pt idx="2">
                  <c:v>0.0540583368361840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301921634024535</c:v>
                </c:pt>
                <c:pt idx="1">
                  <c:v>0.051701496709702546</c:v>
                </c:pt>
                <c:pt idx="2">
                  <c:v>0.06152824394237551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97217278721942</c:v>
                </c:pt>
                <c:pt idx="1">
                  <c:v>0.0431576381785561</c:v>
                </c:pt>
                <c:pt idx="2">
                  <c:v>0.05153343429577718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758083116745876</c:v>
                </c:pt>
                <c:pt idx="1">
                  <c:v>0.03849040959622565</c:v>
                </c:pt>
                <c:pt idx="2">
                  <c:v>0.04157030095092420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94841743212477</c:v>
                </c:pt>
                <c:pt idx="1">
                  <c:v>0.03613525656023711</c:v>
                </c:pt>
                <c:pt idx="2">
                  <c:v>0.04101470350411555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9752274320051</c:v>
                </c:pt>
                <c:pt idx="1">
                  <c:v>0.2640555951762096</c:v>
                </c:pt>
                <c:pt idx="2">
                  <c:v>0.281468858612460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668494443992538</c:v>
                </c:pt>
                <c:pt idx="1">
                  <c:v>0.1256752951183347</c:v>
                </c:pt>
                <c:pt idx="2">
                  <c:v>0.102636196283725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056456183350246</c:v>
                </c:pt>
                <c:pt idx="1">
                  <c:v>0.06852090253910964</c:v>
                </c:pt>
                <c:pt idx="2">
                  <c:v>0.060544066041534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221506876167642</c:v>
                </c:pt>
                <c:pt idx="1">
                  <c:v>0.0752494281543466</c:v>
                </c:pt>
                <c:pt idx="2">
                  <c:v>0.0590483518380026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481271727636286</c:v>
                </c:pt>
                <c:pt idx="1">
                  <c:v>0.12192956240876332</c:v>
                </c:pt>
                <c:pt idx="2">
                  <c:v>0.1294871426105965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340289288433666</c:v>
                </c:pt>
                <c:pt idx="1">
                  <c:v>0.03817859975402016</c:v>
                </c:pt>
                <c:pt idx="2">
                  <c:v>0.03783150204222516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119675854003619</c:v>
                </c:pt>
                <c:pt idx="1">
                  <c:v>0.056677375602018416</c:v>
                </c:pt>
                <c:pt idx="2">
                  <c:v>0.0645889662313754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10789575801864</c:v>
                </c:pt>
                <c:pt idx="1">
                  <c:v>0.030807825377303186</c:v>
                </c:pt>
                <c:pt idx="2">
                  <c:v>0.0371339814761548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0787735578583535</c:v>
                </c:pt>
                <c:pt idx="1">
                  <c:v>0.0315808227680778</c:v>
                </c:pt>
                <c:pt idx="2">
                  <c:v>0.03346300983719726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538017279429904</c:v>
                </c:pt>
                <c:pt idx="1">
                  <c:v>0.03922889918274923</c:v>
                </c:pt>
                <c:pt idx="2">
                  <c:v>0.04213527584421561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99098557291619</c:v>
                </c:pt>
                <c:pt idx="1">
                  <c:v>0.41215128909527704</c:v>
                </c:pt>
                <c:pt idx="2">
                  <c:v>0.433131507794972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691786195379625</c:v>
                </c:pt>
                <c:pt idx="1">
                  <c:v>0.28249189478788805</c:v>
                </c:pt>
                <c:pt idx="2">
                  <c:v>0.240604296470737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273046380335909</c:v>
                </c:pt>
                <c:pt idx="1">
                  <c:v>0.09088122167234543</c:v>
                </c:pt>
                <c:pt idx="2">
                  <c:v>0.088331372182355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721048236961994</c:v>
                </c:pt>
                <c:pt idx="1">
                  <c:v>0.09253586375479024</c:v>
                </c:pt>
                <c:pt idx="2">
                  <c:v>0.1079439351068667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191818989046915</c:v>
                </c:pt>
                <c:pt idx="1">
                  <c:v>0.07467475034958469</c:v>
                </c:pt>
                <c:pt idx="2">
                  <c:v>0.06046282109939115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851722172050714</c:v>
                </c:pt>
                <c:pt idx="1">
                  <c:v>0.048580943769274805</c:v>
                </c:pt>
                <c:pt idx="2">
                  <c:v>0.05832013448118094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0213713807143</c:v>
                </c:pt>
                <c:pt idx="1">
                  <c:v>0.04328730321081457</c:v>
                </c:pt>
                <c:pt idx="2">
                  <c:v>0.0452092856467246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04986150982044</c:v>
                </c:pt>
                <c:pt idx="1">
                  <c:v>0.03637374963029786</c:v>
                </c:pt>
                <c:pt idx="2">
                  <c:v>0.04197146125461400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24803868643704</c:v>
                </c:pt>
                <c:pt idx="1">
                  <c:v>0.03344895569291887</c:v>
                </c:pt>
                <c:pt idx="2">
                  <c:v>0.0369872613716314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44936910029312</c:v>
                </c:pt>
                <c:pt idx="1">
                  <c:v>0.03352024908924451</c:v>
                </c:pt>
                <c:pt idx="2">
                  <c:v>0.0401644641812344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79371395849835</c:v>
                </c:pt>
                <c:pt idx="1">
                  <c:v>0.264205068042841</c:v>
                </c:pt>
                <c:pt idx="2">
                  <c:v>0.2800049682052634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651812268208584</c:v>
                </c:pt>
                <c:pt idx="1">
                  <c:v>0.14085384136356296</c:v>
                </c:pt>
                <c:pt idx="2">
                  <c:v>0.1138709082445523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1495076839224144</c:v>
                </c:pt>
                <c:pt idx="1">
                  <c:v>0.0595487958774164</c:v>
                </c:pt>
                <c:pt idx="2">
                  <c:v>0.05201261231193514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983542069030889</c:v>
                </c:pt>
                <c:pt idx="1">
                  <c:v>0.1360531665672704</c:v>
                </c:pt>
                <c:pt idx="2">
                  <c:v>0.150434316730635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24819602592509</c:v>
                </c:pt>
                <c:pt idx="1">
                  <c:v>0.0735949706588819</c:v>
                </c:pt>
                <c:pt idx="2">
                  <c:v>0.05895114046567185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737798736921925</c:v>
                </c:pt>
                <c:pt idx="1">
                  <c:v>0.0536080843758958</c:v>
                </c:pt>
                <c:pt idx="2">
                  <c:v>0.06177924940934681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547815680652156</c:v>
                </c:pt>
                <c:pt idx="1">
                  <c:v>0.03273486897815149</c:v>
                </c:pt>
                <c:pt idx="2">
                  <c:v>0.03084570996952317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937118617960353</c:v>
                </c:pt>
                <c:pt idx="1">
                  <c:v>0.02923238626815904</c:v>
                </c:pt>
                <c:pt idx="2">
                  <c:v>0.03255838464038223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64073367536761</c:v>
                </c:pt>
                <c:pt idx="1">
                  <c:v>0.037390568008461314</c:v>
                </c:pt>
                <c:pt idx="2">
                  <c:v>0.03840782736239317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424849224498501</c:v>
                </c:pt>
                <c:pt idx="1">
                  <c:v>0.02420765801534766</c:v>
                </c:pt>
                <c:pt idx="2">
                  <c:v>0.02864119026498151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0286088368069956</c:v>
                </c:pt>
                <c:pt idx="1">
                  <c:v>0.41277565988685305</c:v>
                </c:pt>
                <c:pt idx="2">
                  <c:v>0.432498660600577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30632992245523</c:v>
                </c:pt>
                <c:pt idx="1">
                  <c:v>0.28773410083374656</c:v>
                </c:pt>
                <c:pt idx="2">
                  <c:v>0.250051266269457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349296746394871</c:v>
                </c:pt>
                <c:pt idx="1">
                  <c:v>0.10934769962698898</c:v>
                </c:pt>
                <c:pt idx="2">
                  <c:v>0.1089608704465121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96769403461825</c:v>
                </c:pt>
                <c:pt idx="1">
                  <c:v>0.07536167488024532</c:v>
                </c:pt>
                <c:pt idx="2">
                  <c:v>0.0814623241004730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229288592361931</c:v>
                </c:pt>
                <c:pt idx="1">
                  <c:v>0.060836081286109955</c:v>
                </c:pt>
                <c:pt idx="2">
                  <c:v>0.0483536351705842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75569002445893</c:v>
                </c:pt>
                <c:pt idx="1">
                  <c:v>0.05675472688827238</c:v>
                </c:pt>
                <c:pt idx="2">
                  <c:v>0.0666100493724505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7512907819334644</c:v>
                </c:pt>
                <c:pt idx="1">
                  <c:v>0.05136586720244969</c:v>
                </c:pt>
                <c:pt idx="2">
                  <c:v>0.058577889960244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58366574135107</c:v>
                </c:pt>
                <c:pt idx="1">
                  <c:v>0.04273056474423593</c:v>
                </c:pt>
                <c:pt idx="2">
                  <c:v>0.0487323989507059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22388162646087</c:v>
                </c:pt>
                <c:pt idx="1">
                  <c:v>0.03349128366335874</c:v>
                </c:pt>
                <c:pt idx="2">
                  <c:v>0.0389280393204149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557741354032815</c:v>
                </c:pt>
                <c:pt idx="1">
                  <c:v>0.033167839038082146</c:v>
                </c:pt>
                <c:pt idx="2">
                  <c:v>0.03537683297257069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65492667876231</c:v>
                </c:pt>
                <c:pt idx="1">
                  <c:v>0.2492101618365103</c:v>
                </c:pt>
                <c:pt idx="2">
                  <c:v>0.262946693436585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97388105326394</c:v>
                </c:pt>
                <c:pt idx="1">
                  <c:v>0.1528796360480221</c:v>
                </c:pt>
                <c:pt idx="2">
                  <c:v>0.1285724727724581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823988176564718</c:v>
                </c:pt>
                <c:pt idx="1">
                  <c:v>0.07308747546178446</c:v>
                </c:pt>
                <c:pt idx="2">
                  <c:v>0.06565309553395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203023907368914</c:v>
                </c:pt>
                <c:pt idx="1">
                  <c:v>0.12005522190701982</c:v>
                </c:pt>
                <c:pt idx="2">
                  <c:v>0.126174987208537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314150376659347</c:v>
                </c:pt>
                <c:pt idx="1">
                  <c:v>0.06433818175463532</c:v>
                </c:pt>
                <c:pt idx="2">
                  <c:v>0.0508003800891747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3556387260035835</c:v>
                </c:pt>
                <c:pt idx="1">
                  <c:v>0.040863046175533435</c:v>
                </c:pt>
                <c:pt idx="2">
                  <c:v>0.05145822673781156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740846672798125</c:v>
                </c:pt>
                <c:pt idx="1">
                  <c:v>0.0400883084504663</c:v>
                </c:pt>
                <c:pt idx="2">
                  <c:v>0.0435055916965134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4523899394474246</c:v>
                </c:pt>
                <c:pt idx="1">
                  <c:v>0.05129579253339236</c:v>
                </c:pt>
                <c:pt idx="2">
                  <c:v>0.0566040494115927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590916582049004</c:v>
                </c:pt>
                <c:pt idx="1">
                  <c:v>0.03912134256805168</c:v>
                </c:pt>
                <c:pt idx="2">
                  <c:v>0.0436225422118266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020031791431196</c:v>
                </c:pt>
                <c:pt idx="1">
                  <c:v>0.029096352907596507</c:v>
                </c:pt>
                <c:pt idx="2">
                  <c:v>0.03023170820846429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714174831606424</c:v>
                </c:pt>
                <c:pt idx="1">
                  <c:v>0.389174642193498</c:v>
                </c:pt>
                <c:pt idx="2">
                  <c:v>0.403376946129668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804939540994503</c:v>
                </c:pt>
                <c:pt idx="1">
                  <c:v>0.27739773454749744</c:v>
                </c:pt>
                <c:pt idx="2">
                  <c:v>0.240029752219794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68794740572835</c:v>
                </c:pt>
                <c:pt idx="1">
                  <c:v>0.10862152310526385</c:v>
                </c:pt>
                <c:pt idx="2">
                  <c:v>0.1006629166472967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083032790928942</c:v>
                </c:pt>
                <c:pt idx="1">
                  <c:v>0.09308801818633151</c:v>
                </c:pt>
                <c:pt idx="2">
                  <c:v>0.09988563990516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057784632481429</c:v>
                </c:pt>
                <c:pt idx="1">
                  <c:v>0.07302164852823977</c:v>
                </c:pt>
                <c:pt idx="2">
                  <c:v>0.0599172516386964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78472595466029</c:v>
                </c:pt>
                <c:pt idx="1">
                  <c:v>0.045414222442873756</c:v>
                </c:pt>
                <c:pt idx="2">
                  <c:v>0.05502301148249732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399603258061417</c:v>
                </c:pt>
                <c:pt idx="1">
                  <c:v>0.04795599743928091</c:v>
                </c:pt>
                <c:pt idx="2">
                  <c:v>0.0571744688763888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48563757831629</c:v>
                </c:pt>
                <c:pt idx="1">
                  <c:v>0.04542598084686639</c:v>
                </c:pt>
                <c:pt idx="2">
                  <c:v>0.0467704895169913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205111427881505</c:v>
                </c:pt>
                <c:pt idx="1">
                  <c:v>0.03339517382840569</c:v>
                </c:pt>
                <c:pt idx="2">
                  <c:v>0.03652270931151503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350171497415205</c:v>
                </c:pt>
                <c:pt idx="1">
                  <c:v>0.03590428659149998</c:v>
                </c:pt>
                <c:pt idx="2">
                  <c:v>0.04174050485797963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481872684265596</c:v>
                </c:pt>
                <c:pt idx="1">
                  <c:v>0.2397754144837407</c:v>
                </c:pt>
                <c:pt idx="2">
                  <c:v>0.262273255543675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464703437629876</c:v>
                </c:pt>
                <c:pt idx="1">
                  <c:v>0.1405284207974791</c:v>
                </c:pt>
                <c:pt idx="2">
                  <c:v>0.117798225980270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89930534940331</c:v>
                </c:pt>
                <c:pt idx="1">
                  <c:v>0.07144588534723063</c:v>
                </c:pt>
                <c:pt idx="2">
                  <c:v>0.059437950758517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829840289734608</c:v>
                </c:pt>
                <c:pt idx="1">
                  <c:v>0.1364077081565871</c:v>
                </c:pt>
                <c:pt idx="2">
                  <c:v>0.140595208488767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9748857091967</c:v>
                </c:pt>
                <c:pt idx="1">
                  <c:v>0.0742940249666707</c:v>
                </c:pt>
                <c:pt idx="2">
                  <c:v>0.0599353394677940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393932197352016</c:v>
                </c:pt>
                <c:pt idx="1">
                  <c:v>0.04947885104835777</c:v>
                </c:pt>
                <c:pt idx="2">
                  <c:v>0.058774765812816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9656237012408715</c:v>
                </c:pt>
                <c:pt idx="1">
                  <c:v>0.03314749727305781</c:v>
                </c:pt>
                <c:pt idx="2">
                  <c:v>0.04053717980601840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425755506738704</c:v>
                </c:pt>
                <c:pt idx="1">
                  <c:v>0.033662586353169315</c:v>
                </c:pt>
                <c:pt idx="2">
                  <c:v>0.03116969244798143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06150923232203</c:v>
                </c:pt>
                <c:pt idx="1">
                  <c:v>0.036692522118531086</c:v>
                </c:pt>
                <c:pt idx="2">
                  <c:v>0.03738705131393517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420471412456212</c:v>
                </c:pt>
                <c:pt idx="1">
                  <c:v>0.02778451096836747</c:v>
                </c:pt>
                <c:pt idx="2">
                  <c:v>0.03034071126585426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30713055868907</c:v>
                </c:pt>
                <c:pt idx="1">
                  <c:v>0.396557992970549</c:v>
                </c:pt>
                <c:pt idx="2">
                  <c:v>0.424023874658045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927819879451216</c:v>
                </c:pt>
                <c:pt idx="1">
                  <c:v>0.33710932299202556</c:v>
                </c:pt>
                <c:pt idx="2">
                  <c:v>0.315754874395214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25909576396924</c:v>
                </c:pt>
                <c:pt idx="1">
                  <c:v>0.09960447734295867</c:v>
                </c:pt>
                <c:pt idx="2">
                  <c:v>0.104779869736982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150225808070562</c:v>
                </c:pt>
                <c:pt idx="1">
                  <c:v>0.06777214893778223</c:v>
                </c:pt>
                <c:pt idx="2">
                  <c:v>0.05623794878666133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577802172479337</c:v>
                </c:pt>
                <c:pt idx="1">
                  <c:v>0.0655565747458379</c:v>
                </c:pt>
                <c:pt idx="2">
                  <c:v>0.076413852012670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551789535144275</c:v>
                </c:pt>
                <c:pt idx="1">
                  <c:v>0.041119791800757206</c:v>
                </c:pt>
                <c:pt idx="2">
                  <c:v>0.0482404443430217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2277604320925255</c:v>
                </c:pt>
                <c:pt idx="1">
                  <c:v>0.04288371839846057</c:v>
                </c:pt>
                <c:pt idx="2">
                  <c:v>0.0412185516980041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916953241577525</c:v>
                </c:pt>
                <c:pt idx="1">
                  <c:v>0.03278049412012208</c:v>
                </c:pt>
                <c:pt idx="2">
                  <c:v>0.03533557068056250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75238231225485</c:v>
                </c:pt>
                <c:pt idx="1">
                  <c:v>0.029872001306394343</c:v>
                </c:pt>
                <c:pt idx="2">
                  <c:v>0.02955517545310468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565567043684973</c:v>
                </c:pt>
                <c:pt idx="1">
                  <c:v>0.02974033205660748</c:v>
                </c:pt>
                <c:pt idx="2">
                  <c:v>0.0209044716936495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660619199729695</c:v>
                </c:pt>
                <c:pt idx="1">
                  <c:v>0.25356113829905397</c:v>
                </c:pt>
                <c:pt idx="2">
                  <c:v>0.271559241200128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894019976650667</c:v>
                </c:pt>
                <c:pt idx="1">
                  <c:v>0.15785281385281386</c:v>
                </c:pt>
                <c:pt idx="2">
                  <c:v>0.1460548971943684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74497340770528</c:v>
                </c:pt>
                <c:pt idx="1">
                  <c:v>0.06361904761904762</c:v>
                </c:pt>
                <c:pt idx="2">
                  <c:v>0.05945507950977413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548449863795564</c:v>
                </c:pt>
                <c:pt idx="1">
                  <c:v>0.06718614718614718</c:v>
                </c:pt>
                <c:pt idx="2">
                  <c:v>0.0576319254532563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990660267220133</c:v>
                </c:pt>
                <c:pt idx="1">
                  <c:v>0.09478787878787878</c:v>
                </c:pt>
                <c:pt idx="2">
                  <c:v>0.1101995340828522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001816059151641</c:v>
                </c:pt>
                <c:pt idx="1">
                  <c:v>0.030303030303030304</c:v>
                </c:pt>
                <c:pt idx="2">
                  <c:v>0.0339309227185252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6397716954209366</c:v>
                </c:pt>
                <c:pt idx="1">
                  <c:v>0.026632034632034632</c:v>
                </c:pt>
                <c:pt idx="2">
                  <c:v>0.0319051959890610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2385523414191204</c:v>
                </c:pt>
                <c:pt idx="1">
                  <c:v>0.03587878787878788</c:v>
                </c:pt>
                <c:pt idx="2">
                  <c:v>0.039400384888078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84005707614477</c:v>
                </c:pt>
                <c:pt idx="1">
                  <c:v>0.033800865800865804</c:v>
                </c:pt>
                <c:pt idx="2">
                  <c:v>0.03291805935379317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608250097288884</c:v>
                </c:pt>
                <c:pt idx="1">
                  <c:v>0.03487445887445888</c:v>
                </c:pt>
                <c:pt idx="2">
                  <c:v>0.02461257976298997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5667401738228053</c:v>
                </c:pt>
                <c:pt idx="1">
                  <c:v>0.45506493506493506</c:v>
                </c:pt>
                <c:pt idx="2">
                  <c:v>0.463891421047300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551</c:v>
                </c:pt>
                <c:pt idx="1">
                  <c:v>0.009074</c:v>
                </c:pt>
                <c:pt idx="2">
                  <c:v>0.0028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54</c:v>
                </c:pt>
                <c:pt idx="1">
                  <c:v>0.004417</c:v>
                </c:pt>
                <c:pt idx="2">
                  <c:v>0.00113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79</c:v>
                </c:pt>
                <c:pt idx="1">
                  <c:v>0.008677</c:v>
                </c:pt>
                <c:pt idx="2">
                  <c:v>0.0030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114</c:v>
                </c:pt>
                <c:pt idx="1">
                  <c:v>0.004222</c:v>
                </c:pt>
                <c:pt idx="2">
                  <c:v>0.0011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986</c:v>
                </c:pt>
                <c:pt idx="1">
                  <c:v>0.001922</c:v>
                </c:pt>
                <c:pt idx="2">
                  <c:v>0.00057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338</c:v>
                </c:pt>
                <c:pt idx="1">
                  <c:v>0.002693</c:v>
                </c:pt>
                <c:pt idx="2">
                  <c:v>0.00099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55</c:v>
                </c:pt>
                <c:pt idx="1">
                  <c:v>0.001532</c:v>
                </c:pt>
                <c:pt idx="2">
                  <c:v>0.0006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873</c:v>
                </c:pt>
                <c:pt idx="1">
                  <c:v>0.001406</c:v>
                </c:pt>
                <c:pt idx="2">
                  <c:v>0.00067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987</c:v>
                </c:pt>
                <c:pt idx="1">
                  <c:v>0.00194</c:v>
                </c:pt>
                <c:pt idx="2">
                  <c:v>0.00057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3188</c:v>
                </c:pt>
                <c:pt idx="1">
                  <c:v>0.020686</c:v>
                </c:pt>
                <c:pt idx="2">
                  <c:v>0.0073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58793998211118</c:v>
                </c:pt>
                <c:pt idx="1">
                  <c:v>0.27501955241573867</c:v>
                </c:pt>
                <c:pt idx="2">
                  <c:v>0.2384323159983607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435936439200409</c:v>
                </c:pt>
                <c:pt idx="1">
                  <c:v>0.10316027849572246</c:v>
                </c:pt>
                <c:pt idx="2">
                  <c:v>0.0971689415752270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31812577411931</c:v>
                </c:pt>
                <c:pt idx="1">
                  <c:v>0.0871118480824324</c:v>
                </c:pt>
                <c:pt idx="2">
                  <c:v>0.096211374784778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054024723360472</c:v>
                </c:pt>
                <c:pt idx="1">
                  <c:v>0.0729707688532253</c:v>
                </c:pt>
                <c:pt idx="2">
                  <c:v>0.0572420030634218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7872208427308856</c:v>
                </c:pt>
                <c:pt idx="1">
                  <c:v>0.05030057464150512</c:v>
                </c:pt>
                <c:pt idx="2">
                  <c:v>0.0530276532882289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835535275836776</c:v>
                </c:pt>
                <c:pt idx="1">
                  <c:v>0.0478227943330096</c:v>
                </c:pt>
                <c:pt idx="2">
                  <c:v>0.0567001958029405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17916878200019</c:v>
                </c:pt>
                <c:pt idx="1">
                  <c:v>0.03985121846658364</c:v>
                </c:pt>
                <c:pt idx="2">
                  <c:v>0.0500364944476304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1765858030713</c:v>
                </c:pt>
                <c:pt idx="1">
                  <c:v>0.034448331388422265</c:v>
                </c:pt>
                <c:pt idx="2">
                  <c:v>0.04096402756155715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12370348629638</c:v>
                </c:pt>
                <c:pt idx="1">
                  <c:v>0.03553750625458359</c:v>
                </c:pt>
                <c:pt idx="2">
                  <c:v>0.0400307134103566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27156610046466</c:v>
                </c:pt>
                <c:pt idx="1">
                  <c:v>0.253777127068777</c:v>
                </c:pt>
                <c:pt idx="2">
                  <c:v>0.270186280067498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980046942138252</c:v>
                </c:pt>
                <c:pt idx="1">
                  <c:v>0.14007904037326555</c:v>
                </c:pt>
                <c:pt idx="2">
                  <c:v>0.1153966387305178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015889330995057</c:v>
                </c:pt>
                <c:pt idx="1">
                  <c:v>0.068063510854994</c:v>
                </c:pt>
                <c:pt idx="2">
                  <c:v>0.058107685666225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142135072558983</c:v>
                </c:pt>
                <c:pt idx="1">
                  <c:v>0.1298536998671054</c:v>
                </c:pt>
                <c:pt idx="2">
                  <c:v>0.135477916548818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81297319635696</c:v>
                </c:pt>
                <c:pt idx="1">
                  <c:v>0.07398863722093584</c:v>
                </c:pt>
                <c:pt idx="2">
                  <c:v>0.05667862512467064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728848222185724</c:v>
                </c:pt>
                <c:pt idx="1">
                  <c:v>0.0384872067178514</c:v>
                </c:pt>
                <c:pt idx="2">
                  <c:v>0.03798174970600056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26433828009515</c:v>
                </c:pt>
                <c:pt idx="1">
                  <c:v>0.05361339856195268</c:v>
                </c:pt>
                <c:pt idx="2">
                  <c:v>0.0606159846375991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451460451513434</c:v>
                </c:pt>
                <c:pt idx="1">
                  <c:v>0.028552029109141872</c:v>
                </c:pt>
                <c:pt idx="2">
                  <c:v>0.0365675752117540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02554796734184</c:v>
                </c:pt>
                <c:pt idx="1">
                  <c:v>0.03855104255529054</c:v>
                </c:pt>
                <c:pt idx="2">
                  <c:v>0.0430653348616341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77858781517725</c:v>
                </c:pt>
                <c:pt idx="1">
                  <c:v>0.029213600515329306</c:v>
                </c:pt>
                <c:pt idx="2">
                  <c:v>0.03217619125593581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05575306104067</c:v>
                </c:pt>
                <c:pt idx="1">
                  <c:v>0.3995978342241334</c:v>
                </c:pt>
                <c:pt idx="2">
                  <c:v>0.4239322982568438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31081087046686</c:v>
                </c:pt>
                <c:pt idx="1">
                  <c:v>0.2760188602547955</c:v>
                </c:pt>
                <c:pt idx="2">
                  <c:v>0.231690604361885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116013618389802</c:v>
                </c:pt>
                <c:pt idx="1">
                  <c:v>0.10232022488474596</c:v>
                </c:pt>
                <c:pt idx="2">
                  <c:v>0.0936878041231977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952737779988322</c:v>
                </c:pt>
                <c:pt idx="1">
                  <c:v>0.08457887584458929</c:v>
                </c:pt>
                <c:pt idx="2">
                  <c:v>0.094237040946866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84446966108955</c:v>
                </c:pt>
                <c:pt idx="1">
                  <c:v>0.07218958304957074</c:v>
                </c:pt>
                <c:pt idx="2">
                  <c:v>0.0589345314369718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81614129692551</c:v>
                </c:pt>
                <c:pt idx="1">
                  <c:v>0.05081114603554379</c:v>
                </c:pt>
                <c:pt idx="2">
                  <c:v>0.0604067235405531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43298698752442</c:v>
                </c:pt>
                <c:pt idx="1">
                  <c:v>0.04596684955568557</c:v>
                </c:pt>
                <c:pt idx="2">
                  <c:v>0.0508034522851834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68454320325342</c:v>
                </c:pt>
                <c:pt idx="1">
                  <c:v>0.040066179311279475</c:v>
                </c:pt>
                <c:pt idx="2">
                  <c:v>0.04599344349866612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615732734019916</c:v>
                </c:pt>
                <c:pt idx="1">
                  <c:v>0.037666997366152546</c:v>
                </c:pt>
                <c:pt idx="2">
                  <c:v>0.04591416346313849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46893086726877</c:v>
                </c:pt>
                <c:pt idx="1">
                  <c:v>0.03584424668165464</c:v>
                </c:pt>
                <c:pt idx="2">
                  <c:v>0.0392190280564414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774134561166258</c:v>
                </c:pt>
                <c:pt idx="1">
                  <c:v>0.2545370370159825</c:v>
                </c:pt>
                <c:pt idx="2">
                  <c:v>0.279113208287095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601600424128961</c:v>
                </c:pt>
                <c:pt idx="1">
                  <c:v>0.13855635175459113</c:v>
                </c:pt>
                <c:pt idx="2">
                  <c:v>0.112551872100573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47431203300254</c:v>
                </c:pt>
                <c:pt idx="1">
                  <c:v>0.06833017925110038</c:v>
                </c:pt>
                <c:pt idx="2">
                  <c:v>0.0560265735713411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63198528802664</c:v>
                </c:pt>
                <c:pt idx="1">
                  <c:v>0.12398023914322369</c:v>
                </c:pt>
                <c:pt idx="2">
                  <c:v>0.1306188894430277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765569343428486</c:v>
                </c:pt>
                <c:pt idx="1">
                  <c:v>0.07258641830927016</c:v>
                </c:pt>
                <c:pt idx="2">
                  <c:v>0.0579179644493794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06726420252158</c:v>
                </c:pt>
                <c:pt idx="1">
                  <c:v>0.05651477457171816</c:v>
                </c:pt>
                <c:pt idx="2">
                  <c:v>0.0636580064175551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144203846982223</c:v>
                </c:pt>
                <c:pt idx="1">
                  <c:v>0.034248371572150514</c:v>
                </c:pt>
                <c:pt idx="2">
                  <c:v>0.0347507786696276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08800675955533</c:v>
                </c:pt>
                <c:pt idx="1">
                  <c:v>0.03289105303819629</c:v>
                </c:pt>
                <c:pt idx="2">
                  <c:v>0.0368774171693124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896999618946636</c:v>
                </c:pt>
                <c:pt idx="1">
                  <c:v>0.02725268805772325</c:v>
                </c:pt>
                <c:pt idx="2">
                  <c:v>0.0330005363645773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24195231862688</c:v>
                </c:pt>
                <c:pt idx="1">
                  <c:v>0.0397981387370913</c:v>
                </c:pt>
                <c:pt idx="2">
                  <c:v>0.0405096404475350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341274706340396</c:v>
                </c:pt>
                <c:pt idx="1">
                  <c:v>0.4058417855649351</c:v>
                </c:pt>
                <c:pt idx="2">
                  <c:v>0.4340883213670710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006248168366885</c:v>
                </c:pt>
                <c:pt idx="1">
                  <c:v>0.26938830995272656</c:v>
                </c:pt>
                <c:pt idx="2">
                  <c:v>0.2357944185373411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536889752295283</c:v>
                </c:pt>
                <c:pt idx="1">
                  <c:v>0.1155550005789907</c:v>
                </c:pt>
                <c:pt idx="2">
                  <c:v>0.1130366800548985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055752815559113</c:v>
                </c:pt>
                <c:pt idx="1">
                  <c:v>0.08170643604434233</c:v>
                </c:pt>
                <c:pt idx="2">
                  <c:v>0.066558162305451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00036125970377</c:v>
                </c:pt>
                <c:pt idx="1">
                  <c:v>0.09158661357260481</c:v>
                </c:pt>
                <c:pt idx="2">
                  <c:v>0.1034102370458651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298874686079242</c:v>
                </c:pt>
                <c:pt idx="1">
                  <c:v>0.05467970542659327</c:v>
                </c:pt>
                <c:pt idx="2">
                  <c:v>0.05982055329835206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758123183586986</c:v>
                </c:pt>
                <c:pt idx="1">
                  <c:v>0.055941637737723406</c:v>
                </c:pt>
                <c:pt idx="2">
                  <c:v>0.0680866969189705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21412322146124</c:v>
                </c:pt>
                <c:pt idx="1">
                  <c:v>0.046697080631080565</c:v>
                </c:pt>
                <c:pt idx="2">
                  <c:v>0.0570265149347734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231025503202275</c:v>
                </c:pt>
                <c:pt idx="1">
                  <c:v>0.04164708348964615</c:v>
                </c:pt>
                <c:pt idx="2">
                  <c:v>0.04600138571038652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2268592118486006</c:v>
                </c:pt>
                <c:pt idx="1">
                  <c:v>0.03909877973944843</c:v>
                </c:pt>
                <c:pt idx="2">
                  <c:v>0.0453865657099125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0755012049055446</c:v>
                </c:pt>
                <c:pt idx="1">
                  <c:v>0.20369935282684382</c:v>
                </c:pt>
                <c:pt idx="2">
                  <c:v>0.204878785484048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588951376067315</c:v>
                </c:pt>
                <c:pt idx="1">
                  <c:v>0.16492600211557207</c:v>
                </c:pt>
                <c:pt idx="2">
                  <c:v>0.1416084609889673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988132342974778</c:v>
                </c:pt>
                <c:pt idx="1">
                  <c:v>0.08992124113562099</c:v>
                </c:pt>
                <c:pt idx="2">
                  <c:v>0.083533415350424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019602780839856</c:v>
                </c:pt>
                <c:pt idx="1">
                  <c:v>0.09875120910035391</c:v>
                </c:pt>
                <c:pt idx="2">
                  <c:v>0.081469759504722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350477203125982</c:v>
                </c:pt>
                <c:pt idx="1">
                  <c:v>0.1600104081621109</c:v>
                </c:pt>
                <c:pt idx="2">
                  <c:v>0.1786550519882530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025754870970865</c:v>
                </c:pt>
                <c:pt idx="1">
                  <c:v>0.05010247891498681</c:v>
                </c:pt>
                <c:pt idx="2">
                  <c:v>0.0521966029049924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794912211270452</c:v>
                </c:pt>
                <c:pt idx="1">
                  <c:v>0.07437876282400589</c:v>
                </c:pt>
                <c:pt idx="2">
                  <c:v>0.0891142154139217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897301539041656</c:v>
                </c:pt>
                <c:pt idx="1">
                  <c:v>0.04042967608366503</c:v>
                </c:pt>
                <c:pt idx="2">
                  <c:v>0.0512342249384871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21575288368609</c:v>
                </c:pt>
                <c:pt idx="1">
                  <c:v>0.04144409478215453</c:v>
                </c:pt>
                <c:pt idx="2">
                  <c:v>0.0461693388364155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780281039434864</c:v>
                </c:pt>
                <c:pt idx="1">
                  <c:v>0.05148080618003481</c:v>
                </c:pt>
                <c:pt idx="2">
                  <c:v>0.05813457417255337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3563762116916892</c:v>
                </c:pt>
                <c:pt idx="1">
                  <c:v>0.22855532070149503</c:v>
                </c:pt>
                <c:pt idx="2">
                  <c:v>0.2178843559012619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46530676938368</c:v>
                </c:pt>
                <c:pt idx="1">
                  <c:v>0.3035675248106348</c:v>
                </c:pt>
                <c:pt idx="2">
                  <c:v>0.264443289849373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866938678333052</c:v>
                </c:pt>
                <c:pt idx="1">
                  <c:v>0.09766151887492454</c:v>
                </c:pt>
                <c:pt idx="2">
                  <c:v>0.097083215052447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215542806742207</c:v>
                </c:pt>
                <c:pt idx="1">
                  <c:v>0.0994396074172257</c:v>
                </c:pt>
                <c:pt idx="2">
                  <c:v>0.1186389841646851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780509078396075</c:v>
                </c:pt>
                <c:pt idx="1">
                  <c:v>0.08024594527392243</c:v>
                </c:pt>
                <c:pt idx="2">
                  <c:v>0.0664534572309337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624507408318525</c:v>
                </c:pt>
                <c:pt idx="1">
                  <c:v>0.05220538049092265</c:v>
                </c:pt>
                <c:pt idx="2">
                  <c:v>0.0640984739378376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968810322056286</c:v>
                </c:pt>
                <c:pt idx="1">
                  <c:v>0.04651680184063757</c:v>
                </c:pt>
                <c:pt idx="2">
                  <c:v>0.04968860657737219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48676506488729</c:v>
                </c:pt>
                <c:pt idx="1">
                  <c:v>0.039087454709602135</c:v>
                </c:pt>
                <c:pt idx="2">
                  <c:v>0.0461299796253035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569544490508915</c:v>
                </c:pt>
                <c:pt idx="1">
                  <c:v>0.03594445318448596</c:v>
                </c:pt>
                <c:pt idx="2">
                  <c:v>0.04065194688168178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6556791024635</c:v>
                </c:pt>
                <c:pt idx="1">
                  <c:v>0.03602106550596218</c:v>
                </c:pt>
                <c:pt idx="2">
                  <c:v>0.04414394588508393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104117202832153</c:v>
                </c:pt>
                <c:pt idx="1">
                  <c:v>0.209310247891682</c:v>
                </c:pt>
                <c:pt idx="2">
                  <c:v>0.2086681007952815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844474781499013</c:v>
                </c:pt>
                <c:pt idx="1">
                  <c:v>0.18112294616603536</c:v>
                </c:pt>
                <c:pt idx="2">
                  <c:v>0.1540115464113468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701325102758529</c:v>
                </c:pt>
                <c:pt idx="1">
                  <c:v>0.07657337027904178</c:v>
                </c:pt>
                <c:pt idx="2">
                  <c:v>0.0703475802428072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007567776112538</c:v>
                </c:pt>
                <c:pt idx="1">
                  <c:v>0.17494979281592393</c:v>
                </c:pt>
                <c:pt idx="2">
                  <c:v>0.2034639234040531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429330326007924</c:v>
                </c:pt>
                <c:pt idx="1">
                  <c:v>0.09463524586691072</c:v>
                </c:pt>
                <c:pt idx="2">
                  <c:v>0.0797320092181226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105548218604858</c:v>
                </c:pt>
                <c:pt idx="1">
                  <c:v>0.0689342518917728</c:v>
                </c:pt>
                <c:pt idx="2">
                  <c:v>0.0835570549523651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4431007107774034</c:v>
                </c:pt>
                <c:pt idx="1">
                  <c:v>0.042093533653642455</c:v>
                </c:pt>
                <c:pt idx="2">
                  <c:v>0.04171913235608562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74404594085264</c:v>
                </c:pt>
                <c:pt idx="1">
                  <c:v>0.037589716212895405</c:v>
                </c:pt>
                <c:pt idx="2">
                  <c:v>0.04403554203986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34010476176344</c:v>
                </c:pt>
                <c:pt idx="1">
                  <c:v>0.04808026370423096</c:v>
                </c:pt>
                <c:pt idx="2">
                  <c:v>0.0519469720367774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367556498642253</c:v>
                </c:pt>
                <c:pt idx="1">
                  <c:v>0.03112845412715764</c:v>
                </c:pt>
                <c:pt idx="2">
                  <c:v>0.03873749732721959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217388078526803</c:v>
                </c:pt>
                <c:pt idx="1">
                  <c:v>0.24489242528238891</c:v>
                </c:pt>
                <c:pt idx="2">
                  <c:v>0.2324487420113563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60745419806933</c:v>
                </c:pt>
                <c:pt idx="1">
                  <c:v>0.2994931877264822</c:v>
                </c:pt>
                <c:pt idx="2">
                  <c:v>0.2647721841725792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658603632960679</c:v>
                </c:pt>
                <c:pt idx="1">
                  <c:v>0.11727351077170033</c:v>
                </c:pt>
                <c:pt idx="2">
                  <c:v>0.111039319331885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67040713446188</c:v>
                </c:pt>
                <c:pt idx="1">
                  <c:v>0.10050272166513151</c:v>
                </c:pt>
                <c:pt idx="2">
                  <c:v>0.110181920368558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788659391832801</c:v>
                </c:pt>
                <c:pt idx="1">
                  <c:v>0.07883801331845669</c:v>
                </c:pt>
                <c:pt idx="2">
                  <c:v>0.0660935631490746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324203583941894</c:v>
                </c:pt>
                <c:pt idx="1">
                  <c:v>0.04903158372840617</c:v>
                </c:pt>
                <c:pt idx="2">
                  <c:v>0.0606948213512853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193117316444134</c:v>
                </c:pt>
                <c:pt idx="1">
                  <c:v>0.051775817733774744</c:v>
                </c:pt>
                <c:pt idx="2">
                  <c:v>0.0630680524531250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08163856441793</c:v>
                </c:pt>
                <c:pt idx="1">
                  <c:v>0.049044278719949895</c:v>
                </c:pt>
                <c:pt idx="2">
                  <c:v>0.0515916237454386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27205427716783</c:v>
                </c:pt>
                <c:pt idx="1">
                  <c:v>0.03605518653879519</c:v>
                </c:pt>
                <c:pt idx="2">
                  <c:v>0.0402874953078944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5936203160597806</c:v>
                </c:pt>
                <c:pt idx="1">
                  <c:v>0.038764156678764525</c:v>
                </c:pt>
                <c:pt idx="2">
                  <c:v>0.04604314480812108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8994153952418352</c:v>
                </c:pt>
                <c:pt idx="1">
                  <c:v>0.17922154311853877</c:v>
                </c:pt>
                <c:pt idx="2">
                  <c:v>0.186227875312037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739332875353026</c:v>
                </c:pt>
                <c:pt idx="1">
                  <c:v>0.18451623169955442</c:v>
                </c:pt>
                <c:pt idx="2">
                  <c:v>0.16245569909683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243569193191359</c:v>
                </c:pt>
                <c:pt idx="1">
                  <c:v>0.09380967536600891</c:v>
                </c:pt>
                <c:pt idx="2">
                  <c:v>0.0819709614725048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208762689871003</c:v>
                </c:pt>
                <c:pt idx="1">
                  <c:v>0.1791056651814131</c:v>
                </c:pt>
                <c:pt idx="2">
                  <c:v>0.193895049731336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109609953438668</c:v>
                </c:pt>
                <c:pt idx="1">
                  <c:v>0.0975493316359007</c:v>
                </c:pt>
                <c:pt idx="2">
                  <c:v>0.0826569109408940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934585146172048</c:v>
                </c:pt>
                <c:pt idx="1">
                  <c:v>0.064966581795035</c:v>
                </c:pt>
                <c:pt idx="2">
                  <c:v>0.0810563621813193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812686054499657</c:v>
                </c:pt>
                <c:pt idx="1">
                  <c:v>0.043523233609166136</c:v>
                </c:pt>
                <c:pt idx="2">
                  <c:v>0.05590488167371670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04243950843447</c:v>
                </c:pt>
                <c:pt idx="1">
                  <c:v>0.0441995544239338</c:v>
                </c:pt>
                <c:pt idx="2">
                  <c:v>0.0429861666857208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178917639874819</c:v>
                </c:pt>
                <c:pt idx="1">
                  <c:v>0.048177912157861234</c:v>
                </c:pt>
                <c:pt idx="2">
                  <c:v>0.05156053504058534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3966872757804745</c:v>
                </c:pt>
                <c:pt idx="1">
                  <c:v>0.036481540420114575</c:v>
                </c:pt>
                <c:pt idx="2">
                  <c:v>0.0418429175717388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19716052209755</c:v>
                </c:pt>
                <c:pt idx="1">
                  <c:v>0.20767027371101213</c:v>
                </c:pt>
                <c:pt idx="2">
                  <c:v>0.205670515605350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849407552970016</c:v>
                </c:pt>
                <c:pt idx="1">
                  <c:v>0.37280879078685447</c:v>
                </c:pt>
                <c:pt idx="2">
                  <c:v>0.3520960711942831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579878203007958</c:v>
                </c:pt>
                <c:pt idx="1">
                  <c:v>0.11015247049712557</c:v>
                </c:pt>
                <c:pt idx="2">
                  <c:v>0.1168393062666190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973364204136428</c:v>
                </c:pt>
                <c:pt idx="1">
                  <c:v>0.07494913718277343</c:v>
                </c:pt>
                <c:pt idx="2">
                  <c:v>0.0627105467737755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411366422164715</c:v>
                </c:pt>
                <c:pt idx="1">
                  <c:v>0.07249893637531349</c:v>
                </c:pt>
                <c:pt idx="2">
                  <c:v>0.0852085565741953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112496838336868</c:v>
                </c:pt>
                <c:pt idx="1">
                  <c:v>0.04547432780140032</c:v>
                </c:pt>
                <c:pt idx="2">
                  <c:v>0.0537925850182911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54746385975835</c:v>
                </c:pt>
                <c:pt idx="1">
                  <c:v>0.04742505208303675</c:v>
                </c:pt>
                <c:pt idx="2">
                  <c:v>0.0459625212151773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746405432223674</c:v>
                </c:pt>
                <c:pt idx="1">
                  <c:v>0.036251908626708004</c:v>
                </c:pt>
                <c:pt idx="2">
                  <c:v>0.039402449871483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4959238866081675</c:v>
                </c:pt>
                <c:pt idx="1">
                  <c:v>0.033035409957154024</c:v>
                </c:pt>
                <c:pt idx="2">
                  <c:v>0.0329567712309355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8246784831799522</c:v>
                </c:pt>
                <c:pt idx="1">
                  <c:v>0.03288979709376248</c:v>
                </c:pt>
                <c:pt idx="2">
                  <c:v>0.0233104314472544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9193727260345933</c:v>
                </c:pt>
                <c:pt idx="1">
                  <c:v>0.1745141695958714</c:v>
                </c:pt>
                <c:pt idx="2">
                  <c:v>0.187720760407985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55429558075505</c:v>
                </c:pt>
                <c:pt idx="1">
                  <c:v>0.2329313164349959</c:v>
                </c:pt>
                <c:pt idx="2">
                  <c:v>0.21538461538461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611787764244715</c:v>
                </c:pt>
                <c:pt idx="1">
                  <c:v>0.09387775960752248</c:v>
                </c:pt>
                <c:pt idx="2">
                  <c:v>0.0876773711725168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301087311587101</c:v>
                </c:pt>
                <c:pt idx="1">
                  <c:v>0.0991414554374489</c:v>
                </c:pt>
                <c:pt idx="2">
                  <c:v>0.0849887976101568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498436697932708</c:v>
                </c:pt>
                <c:pt idx="1">
                  <c:v>0.13987121831561733</c:v>
                </c:pt>
                <c:pt idx="2">
                  <c:v>0.162509335324869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758551495636754</c:v>
                </c:pt>
                <c:pt idx="1">
                  <c:v>0.044715862632869995</c:v>
                </c:pt>
                <c:pt idx="2">
                  <c:v>0.0500373412994772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7985906948527694</c:v>
                </c:pt>
                <c:pt idx="1">
                  <c:v>0.0392988552739166</c:v>
                </c:pt>
                <c:pt idx="2">
                  <c:v>0.0470500373412994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099211349106351</c:v>
                </c:pt>
                <c:pt idx="1">
                  <c:v>0.05294358135731807</c:v>
                </c:pt>
                <c:pt idx="2">
                  <c:v>0.0581030619865571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301227308787158</c:v>
                </c:pt>
                <c:pt idx="1">
                  <c:v>0.04987735077677841</c:v>
                </c:pt>
                <c:pt idx="2">
                  <c:v>0.0485436893203883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260581455037566</c:v>
                </c:pt>
                <c:pt idx="1">
                  <c:v>0.05146156991005724</c:v>
                </c:pt>
                <c:pt idx="2">
                  <c:v>0.03629574309185959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1816230342059822</c:v>
                </c:pt>
                <c:pt idx="1">
                  <c:v>0.19588103025347506</c:v>
                </c:pt>
                <c:pt idx="2">
                  <c:v>0.20941000746825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332703795805857</c:v>
                </c:pt>
                <c:pt idx="1">
                  <c:v>0.29051088956323334</c:v>
                </c:pt>
                <c:pt idx="2">
                  <c:v>0.259941325437754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869655188212206</c:v>
                </c:pt>
                <c:pt idx="1">
                  <c:v>0.11110217614529079</c:v>
                </c:pt>
                <c:pt idx="2">
                  <c:v>0.120979680814719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35278960635239</c:v>
                </c:pt>
                <c:pt idx="1">
                  <c:v>0.09545223985847014</c:v>
                </c:pt>
                <c:pt idx="2">
                  <c:v>0.0960646830109486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566691525763102</c:v>
                </c:pt>
                <c:pt idx="1">
                  <c:v>0.07905382835793198</c:v>
                </c:pt>
                <c:pt idx="2">
                  <c:v>0.0683623723611359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35294147591764</c:v>
                </c:pt>
                <c:pt idx="1">
                  <c:v>0.05215909030658322</c:v>
                </c:pt>
                <c:pt idx="2">
                  <c:v>0.0673781364048002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948906496708506</c:v>
                </c:pt>
                <c:pt idx="1">
                  <c:v>0.04741108874424063</c:v>
                </c:pt>
                <c:pt idx="2">
                  <c:v>0.0587233673342118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17149891867173</c:v>
                </c:pt>
                <c:pt idx="1">
                  <c:v>0.04910421567397233</c:v>
                </c:pt>
                <c:pt idx="2">
                  <c:v>0.04851496960527528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7578444024187136</c:v>
                </c:pt>
                <c:pt idx="1">
                  <c:v>0.047044362399857195</c:v>
                </c:pt>
                <c:pt idx="2">
                  <c:v>0.035473165335372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3247191897801116</c:v>
                </c:pt>
                <c:pt idx="1">
                  <c:v>0.04326663921373872</c:v>
                </c:pt>
                <c:pt idx="2">
                  <c:v>0.0410396568459982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648261602537835</c:v>
                </c:pt>
                <c:pt idx="1">
                  <c:v>0.18489546973668164</c:v>
                </c:pt>
                <c:pt idx="2">
                  <c:v>0.20352264284978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4436422705532</c:v>
                </c:pt>
                <c:pt idx="1">
                  <c:v>0.173166626592931</c:v>
                </c:pt>
                <c:pt idx="2">
                  <c:v>0.152643879637744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047197906326145</c:v>
                </c:pt>
                <c:pt idx="1">
                  <c:v>0.18946862226496755</c:v>
                </c:pt>
                <c:pt idx="2">
                  <c:v>0.206105755185509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093222633336342</c:v>
                </c:pt>
                <c:pt idx="1">
                  <c:v>0.07343111324837702</c:v>
                </c:pt>
                <c:pt idx="2">
                  <c:v>0.0704060765410458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8316938904431</c:v>
                </c:pt>
                <c:pt idx="1">
                  <c:v>0.09406107237316663</c:v>
                </c:pt>
                <c:pt idx="2">
                  <c:v>0.0839906514753140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490298709502752</c:v>
                </c:pt>
                <c:pt idx="1">
                  <c:v>0.06766049531137293</c:v>
                </c:pt>
                <c:pt idx="2">
                  <c:v>0.0864738533450189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92590921396986</c:v>
                </c:pt>
                <c:pt idx="1">
                  <c:v>0.04270257273383025</c:v>
                </c:pt>
                <c:pt idx="2">
                  <c:v>0.0506865322816243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04358812381554</c:v>
                </c:pt>
                <c:pt idx="1">
                  <c:v>0.0660735753786968</c:v>
                </c:pt>
                <c:pt idx="2">
                  <c:v>0.0651475314052001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429925097012905</c:v>
                </c:pt>
                <c:pt idx="1">
                  <c:v>0.06241885068526088</c:v>
                </c:pt>
                <c:pt idx="2">
                  <c:v>0.0442594215600350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51854525764823</c:v>
                </c:pt>
                <c:pt idx="1">
                  <c:v>0.036931954796826164</c:v>
                </c:pt>
                <c:pt idx="2">
                  <c:v>0.03520303827052293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807598592184821</c:v>
                </c:pt>
                <c:pt idx="1">
                  <c:v>0.1940851166145708</c:v>
                </c:pt>
                <c:pt idx="2">
                  <c:v>0.205083260297984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62810520427836</c:v>
                </c:pt>
                <c:pt idx="1">
                  <c:v>0.291367377723545</c:v>
                </c:pt>
                <c:pt idx="2">
                  <c:v>0.256937761026182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14809956339979</c:v>
                </c:pt>
                <c:pt idx="1">
                  <c:v>0.11216228749289338</c:v>
                </c:pt>
                <c:pt idx="2">
                  <c:v>0.119877134479279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582003325846866</c:v>
                </c:pt>
                <c:pt idx="1">
                  <c:v>0.09384436933368102</c:v>
                </c:pt>
                <c:pt idx="2">
                  <c:v>0.1035177536447058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851311740883024</c:v>
                </c:pt>
                <c:pt idx="1">
                  <c:v>0.07751422467267968</c:v>
                </c:pt>
                <c:pt idx="2">
                  <c:v>0.0646223609932614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320692465168048</c:v>
                </c:pt>
                <c:pt idx="1">
                  <c:v>0.0515504799644326</c:v>
                </c:pt>
                <c:pt idx="2">
                  <c:v>0.060434552578649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509141346598863</c:v>
                </c:pt>
                <c:pt idx="1">
                  <c:v>0.048361703658509704</c:v>
                </c:pt>
                <c:pt idx="2">
                  <c:v>0.05619088140852243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070648218343645</c:v>
                </c:pt>
                <c:pt idx="1">
                  <c:v>0.05026557019924315</c:v>
                </c:pt>
                <c:pt idx="2">
                  <c:v>0.0601647300459457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195289866388787</c:v>
                </c:pt>
                <c:pt idx="1">
                  <c:v>0.03709103416208869</c:v>
                </c:pt>
                <c:pt idx="2">
                  <c:v>0.04196242063624424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96370624651586</c:v>
                </c:pt>
                <c:pt idx="1">
                  <c:v>0.03945706479946133</c:v>
                </c:pt>
                <c:pt idx="2">
                  <c:v>0.0437351139993421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9531627251500844</c:v>
                </c:pt>
                <c:pt idx="1">
                  <c:v>0.19838588799346543</c:v>
                </c:pt>
                <c:pt idx="2">
                  <c:v>0.1925572911878672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253861620218162</c:v>
                </c:pt>
                <c:pt idx="1">
                  <c:v>0.1800889545206828</c:v>
                </c:pt>
                <c:pt idx="2">
                  <c:v>0.1565544662639997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178703171093391</c:v>
                </c:pt>
                <c:pt idx="1">
                  <c:v>0.0900444772603414</c:v>
                </c:pt>
                <c:pt idx="2">
                  <c:v>0.0913133213949676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785733509944958</c:v>
                </c:pt>
                <c:pt idx="1">
                  <c:v>0.16715011514863842</c:v>
                </c:pt>
                <c:pt idx="2">
                  <c:v>0.1830363917807387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93345928345638</c:v>
                </c:pt>
                <c:pt idx="1">
                  <c:v>0.09341982666174428</c:v>
                </c:pt>
                <c:pt idx="2">
                  <c:v>0.0805080887485962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00957819022339</c:v>
                </c:pt>
                <c:pt idx="1">
                  <c:v>0.04490503899817755</c:v>
                </c:pt>
                <c:pt idx="2">
                  <c:v>0.0545876711081433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154280105333706</c:v>
                </c:pt>
                <c:pt idx="1">
                  <c:v>0.04451242023100047</c:v>
                </c:pt>
                <c:pt idx="2">
                  <c:v>0.0486690745743163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073084493886318</c:v>
                </c:pt>
                <c:pt idx="1">
                  <c:v>0.06745424819366067</c:v>
                </c:pt>
                <c:pt idx="2">
                  <c:v>0.0795823595471514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7859657084958285</c:v>
                </c:pt>
                <c:pt idx="1">
                  <c:v>0.04937620495871643</c:v>
                </c:pt>
                <c:pt idx="2">
                  <c:v>0.0545117916654020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12278026101228</c:v>
                </c:pt>
                <c:pt idx="1">
                  <c:v>0.03912709714091498</c:v>
                </c:pt>
                <c:pt idx="2">
                  <c:v>0.04356997602209609</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2521676262447687</c:v>
                </c:pt>
                <c:pt idx="1">
                  <c:v>0.22392161688612297</c:v>
                </c:pt>
                <c:pt idx="2">
                  <c:v>0.207666858894588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219541330751257</c:v>
                </c:pt>
                <c:pt idx="1">
                  <c:v>0.2954829289115649</c:v>
                </c:pt>
                <c:pt idx="2">
                  <c:v>0.262419096289850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101378361466349</c:v>
                </c:pt>
                <c:pt idx="1">
                  <c:v>0.11083612408462486</c:v>
                </c:pt>
                <c:pt idx="2">
                  <c:v>0.1069443365042333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692945250173659</c:v>
                </c:pt>
                <c:pt idx="1">
                  <c:v>0.09359357830451978</c:v>
                </c:pt>
                <c:pt idx="2">
                  <c:v>0.105890436529582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63134978194601</c:v>
                </c:pt>
                <c:pt idx="1">
                  <c:v>0.07840030396488236</c:v>
                </c:pt>
                <c:pt idx="2">
                  <c:v>0.0630006660415415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156239893833827</c:v>
                </c:pt>
                <c:pt idx="1">
                  <c:v>0.05404328888783456</c:v>
                </c:pt>
                <c:pt idx="2">
                  <c:v>0.0583623440304301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88574267524212</c:v>
                </c:pt>
                <c:pt idx="1">
                  <c:v>0.051381144410023394</c:v>
                </c:pt>
                <c:pt idx="2">
                  <c:v>0.0624043518587788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93246545485163</c:v>
                </c:pt>
                <c:pt idx="1">
                  <c:v>0.042816427594938165</c:v>
                </c:pt>
                <c:pt idx="2">
                  <c:v>0.0550702684721210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1674659906578364</c:v>
                </c:pt>
                <c:pt idx="1">
                  <c:v>0.037011527963583056</c:v>
                </c:pt>
                <c:pt idx="2">
                  <c:v>0.0450850927991249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42711217677012</c:v>
                </c:pt>
                <c:pt idx="1">
                  <c:v>0.038181745050780196</c:v>
                </c:pt>
                <c:pt idx="2">
                  <c:v>0.04405788532900055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0506547360484673</c:v>
                </c:pt>
                <c:pt idx="1">
                  <c:v>0.1982529308272487</c:v>
                </c:pt>
                <c:pt idx="2">
                  <c:v>0.19676552214533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959197377517705</c:v>
                </c:pt>
                <c:pt idx="1">
                  <c:v>0.1800960243530294</c:v>
                </c:pt>
                <c:pt idx="2">
                  <c:v>0.157263708843040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60572791415407</c:v>
                </c:pt>
                <c:pt idx="1">
                  <c:v>0.08750750773156456</c:v>
                </c:pt>
                <c:pt idx="2">
                  <c:v>0.079189742965532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912916916135476</c:v>
                </c:pt>
                <c:pt idx="1">
                  <c:v>0.1669495666966354</c:v>
                </c:pt>
                <c:pt idx="2">
                  <c:v>0.1846306777838638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463406646841477</c:v>
                </c:pt>
                <c:pt idx="1">
                  <c:v>0.09512529051656923</c:v>
                </c:pt>
                <c:pt idx="2">
                  <c:v>0.0772422047755259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710051635908954</c:v>
                </c:pt>
                <c:pt idx="1">
                  <c:v>0.04948201315391876</c:v>
                </c:pt>
                <c:pt idx="2">
                  <c:v>0.0517619134562716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025593019063277</c:v>
                </c:pt>
                <c:pt idx="1">
                  <c:v>0.06892936949977058</c:v>
                </c:pt>
                <c:pt idx="2">
                  <c:v>0.0826080782261172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02400854754572</c:v>
                </c:pt>
                <c:pt idx="1">
                  <c:v>0.036708610482098954</c:v>
                </c:pt>
                <c:pt idx="2">
                  <c:v>0.0498346621224108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7470998217056056</c:v>
                </c:pt>
                <c:pt idx="1">
                  <c:v>0.049564085250525074</c:v>
                </c:pt>
                <c:pt idx="2">
                  <c:v>0.0586898748300975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18380861965737</c:v>
                </c:pt>
                <c:pt idx="1">
                  <c:v>0.037559175846928076</c:v>
                </c:pt>
                <c:pt idx="2">
                  <c:v>0.0438500395593694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3900380074691788</c:v>
                </c:pt>
                <c:pt idx="1">
                  <c:v>0.22807835646895996</c:v>
                </c:pt>
                <c:pt idx="2">
                  <c:v>0.2149290974377700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1948060469827</c:v>
                </c:pt>
                <c:pt idx="1">
                  <c:v>0.2982500912993351</c:v>
                </c:pt>
                <c:pt idx="2">
                  <c:v>0.256185422752005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13851590063657</c:v>
                </c:pt>
                <c:pt idx="1">
                  <c:v>0.11056134492213122</c:v>
                </c:pt>
                <c:pt idx="2">
                  <c:v>0.1035926759831820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432361929677785</c:v>
                </c:pt>
                <c:pt idx="1">
                  <c:v>0.09139106443435731</c:v>
                </c:pt>
                <c:pt idx="2">
                  <c:v>0.1041999792799647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45459208694371</c:v>
                </c:pt>
                <c:pt idx="1">
                  <c:v>0.07800390783267623</c:v>
                </c:pt>
                <c:pt idx="2">
                  <c:v>0.0651652141546905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4321616309975465</c:v>
                </c:pt>
                <c:pt idx="1">
                  <c:v>0.05490359945018103</c:v>
                </c:pt>
                <c:pt idx="2">
                  <c:v>0.0667930495063521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049997666677676</c:v>
                </c:pt>
                <c:pt idx="1">
                  <c:v>0.04966913153713682</c:v>
                </c:pt>
                <c:pt idx="2">
                  <c:v>0.05617450019946549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35313818369247</c:v>
                </c:pt>
                <c:pt idx="1">
                  <c:v>0.04329320694453169</c:v>
                </c:pt>
                <c:pt idx="2">
                  <c:v>0.05085596715921284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34175479171896</c:v>
                </c:pt>
                <c:pt idx="1">
                  <c:v>0.04070078904411255</c:v>
                </c:pt>
                <c:pt idx="2">
                  <c:v>0.05076830547144877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05366866058984</c:v>
                </c:pt>
                <c:pt idx="1">
                  <c:v>0.038731229581525126</c:v>
                </c:pt>
                <c:pt idx="2">
                  <c:v>0.0433653462566349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9584791472519641</c:v>
                </c:pt>
                <c:pt idx="1">
                  <c:v>0.1944956349540129</c:v>
                </c:pt>
                <c:pt idx="2">
                  <c:v>0.202899539237043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998502414646049</c:v>
                </c:pt>
                <c:pt idx="1">
                  <c:v>0.1812286483755383</c:v>
                </c:pt>
                <c:pt idx="2">
                  <c:v>0.1551381989390264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20188796715409</c:v>
                </c:pt>
                <c:pt idx="1">
                  <c:v>0.08937436553517543</c:v>
                </c:pt>
                <c:pt idx="2">
                  <c:v>0.077225385543262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537582661663497</c:v>
                </c:pt>
                <c:pt idx="1">
                  <c:v>0.16216341496201322</c:v>
                </c:pt>
                <c:pt idx="2">
                  <c:v>0.1800412456711500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397987514513116</c:v>
                </c:pt>
                <c:pt idx="1">
                  <c:v>0.09494143223336253</c:v>
                </c:pt>
                <c:pt idx="2">
                  <c:v>0.0798324232480317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625906543943192</c:v>
                </c:pt>
                <c:pt idx="1">
                  <c:v>0.07392007713238123</c:v>
                </c:pt>
                <c:pt idx="2">
                  <c:v>0.0877443287202168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6132023086372</c:v>
                </c:pt>
                <c:pt idx="1">
                  <c:v>0.044796113714638</c:v>
                </c:pt>
                <c:pt idx="2">
                  <c:v>0.0478994539488190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73768698783422</c:v>
                </c:pt>
                <c:pt idx="1">
                  <c:v>0.043020771045690735</c:v>
                </c:pt>
                <c:pt idx="2">
                  <c:v>0.05083075007457943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779181880899896</c:v>
                </c:pt>
                <c:pt idx="1">
                  <c:v>0.03564591416241372</c:v>
                </c:pt>
                <c:pt idx="2">
                  <c:v>0.0454869712966445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6167864174056434</c:v>
                </c:pt>
                <c:pt idx="1">
                  <c:v>0.0520550866116913</c:v>
                </c:pt>
                <c:pt idx="2">
                  <c:v>0.0558373000946834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2990038533375962</c:v>
                </c:pt>
                <c:pt idx="1">
                  <c:v>0.22285417622709552</c:v>
                </c:pt>
                <c:pt idx="2">
                  <c:v>0.21996394246358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000000000000002</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9341</c:v>
                </c:pt>
                <c:pt idx="1">
                  <c:v>0.202923</c:v>
                </c:pt>
                <c:pt idx="2">
                  <c:v>0.09157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0031</c:v>
                </c:pt>
                <c:pt idx="1">
                  <c:v>0.87929</c:v>
                </c:pt>
                <c:pt idx="2">
                  <c:v>0.27435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34673</c:v>
                </c:pt>
                <c:pt idx="1">
                  <c:v>0.306086</c:v>
                </c:pt>
                <c:pt idx="2">
                  <c:v>0.0878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9926</c:v>
                </c:pt>
                <c:pt idx="1">
                  <c:v>0.274816</c:v>
                </c:pt>
                <c:pt idx="2">
                  <c:v>0.09898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65324</c:v>
                </c:pt>
                <c:pt idx="1">
                  <c:v>0.194115</c:v>
                </c:pt>
                <c:pt idx="2">
                  <c:v>0.0522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29325</c:v>
                </c:pt>
                <c:pt idx="1">
                  <c:v>0.12358</c:v>
                </c:pt>
                <c:pt idx="2">
                  <c:v>0.03822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32115</c:v>
                </c:pt>
                <c:pt idx="1">
                  <c:v>0.112149</c:v>
                </c:pt>
                <c:pt idx="2">
                  <c:v>0.04149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18784</c:v>
                </c:pt>
                <c:pt idx="1">
                  <c:v>0.10148</c:v>
                </c:pt>
                <c:pt idx="2">
                  <c:v>0.03885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11049</c:v>
                </c:pt>
                <c:pt idx="1">
                  <c:v>0.084786</c:v>
                </c:pt>
                <c:pt idx="2">
                  <c:v>0.0407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1814</c:v>
                </c:pt>
                <c:pt idx="1">
                  <c:v>0.081015</c:v>
                </c:pt>
                <c:pt idx="2">
                  <c:v>0.02464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88216</c:v>
                </c:pt>
                <c:pt idx="1">
                  <c:v>0.598741</c:v>
                </c:pt>
                <c:pt idx="2">
                  <c:v>0.21044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957925</c:v>
                </c:pt>
                <c:pt idx="1">
                  <c:v>2.883112</c:v>
                </c:pt>
                <c:pt idx="2">
                  <c:v>1.3347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893</c:v>
                </c:pt>
                <c:pt idx="1">
                  <c:v>0.005443</c:v>
                </c:pt>
                <c:pt idx="2">
                  <c:v>0.0021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2047</c:v>
                </c:pt>
                <c:pt idx="1">
                  <c:v>0.021407</c:v>
                </c:pt>
                <c:pt idx="2">
                  <c:v>0.0082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4983</c:v>
                </c:pt>
                <c:pt idx="1">
                  <c:v>0.083558</c:v>
                </c:pt>
                <c:pt idx="2">
                  <c:v>0.0326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07659</c:v>
                </c:pt>
                <c:pt idx="1">
                  <c:v>0.286005</c:v>
                </c:pt>
                <c:pt idx="2">
                  <c:v>0.1155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0000000000000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729865940749092</c:v>
                </c:pt>
                <c:pt idx="1">
                  <c:v>0.22942044157863753</c:v>
                </c:pt>
                <c:pt idx="2">
                  <c:v>0.231914373672096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33731761395809</c:v>
                </c:pt>
                <c:pt idx="1">
                  <c:v>0.11251913378839701</c:v>
                </c:pt>
                <c:pt idx="2">
                  <c:v>0.111546474821681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30743454964467</c:v>
                </c:pt>
                <c:pt idx="1">
                  <c:v>0.061861798675645174</c:v>
                </c:pt>
                <c:pt idx="2">
                  <c:v>0.0590368672426463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24367750296788</c:v>
                </c:pt>
                <c:pt idx="1">
                  <c:v>0.05806871472372009</c:v>
                </c:pt>
                <c:pt idx="2">
                  <c:v>0.0567158508965732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73294303673719</c:v>
                </c:pt>
                <c:pt idx="1">
                  <c:v>0.044152241353562036</c:v>
                </c:pt>
                <c:pt idx="2">
                  <c:v>0.0458038419912754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2993622603574796</c:v>
                </c:pt>
                <c:pt idx="1">
                  <c:v>0.04336289930166176</c:v>
                </c:pt>
                <c:pt idx="2">
                  <c:v>0.0437716812612220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510551309694564</c:v>
                </c:pt>
                <c:pt idx="1">
                  <c:v>0.03572977813459169</c:v>
                </c:pt>
                <c:pt idx="2">
                  <c:v>0.0346151627864441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746873605204862</c:v>
                </c:pt>
                <c:pt idx="1">
                  <c:v>0.028564227653171428</c:v>
                </c:pt>
                <c:pt idx="2">
                  <c:v>0.02983827269782309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51760332442184</c:v>
                </c:pt>
                <c:pt idx="1">
                  <c:v>0.028471042124756776</c:v>
                </c:pt>
                <c:pt idx="2">
                  <c:v>0.02730003999328419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655359607383863</c:v>
                </c:pt>
                <c:pt idx="1">
                  <c:v>0.3578497226658565</c:v>
                </c:pt>
                <c:pt idx="2">
                  <c:v>0.35945743463695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565937731855297</c:v>
                </c:pt>
                <c:pt idx="1">
                  <c:v>0.2058998372392478</c:v>
                </c:pt>
                <c:pt idx="2">
                  <c:v>0.2061944387812552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17125569305107</c:v>
                </c:pt>
                <c:pt idx="1">
                  <c:v>0.27831336965668657</c:v>
                </c:pt>
                <c:pt idx="2">
                  <c:v>0.285994865165330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68373090748888</c:v>
                </c:pt>
                <c:pt idx="1">
                  <c:v>0.04896429315929201</c:v>
                </c:pt>
                <c:pt idx="2">
                  <c:v>0.0458118030072448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76613932990671</c:v>
                </c:pt>
                <c:pt idx="1">
                  <c:v>0.04614490041144321</c:v>
                </c:pt>
                <c:pt idx="2">
                  <c:v>0.0431063838986004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2417740392594837</c:v>
                </c:pt>
                <c:pt idx="1">
                  <c:v>0.02348730812638995</c:v>
                </c:pt>
                <c:pt idx="2">
                  <c:v>0.0247304412554286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8072268505129446</c:v>
                </c:pt>
                <c:pt idx="1">
                  <c:v>0.027996631814926932</c:v>
                </c:pt>
                <c:pt idx="2">
                  <c:v>0.02789725842331530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988826772099893</c:v>
                </c:pt>
                <c:pt idx="1">
                  <c:v>0.07839588282451818</c:v>
                </c:pt>
                <c:pt idx="2">
                  <c:v>0.0765962363498070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787920332895677</c:v>
                </c:pt>
                <c:pt idx="1">
                  <c:v>0.020163445461872487</c:v>
                </c:pt>
                <c:pt idx="2">
                  <c:v>0.02060117867388451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7220052987792365</c:v>
                </c:pt>
                <c:pt idx="1">
                  <c:v>0.0167055291515715</c:v>
                </c:pt>
                <c:pt idx="2">
                  <c:v>0.01612356871332193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479194557412943</c:v>
                </c:pt>
                <c:pt idx="1">
                  <c:v>0.25392880215405134</c:v>
                </c:pt>
                <c:pt idx="2">
                  <c:v>0.2529438257318118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596123791951747</c:v>
                </c:pt>
                <c:pt idx="1">
                  <c:v>0.22609947424390428</c:v>
                </c:pt>
                <c:pt idx="2">
                  <c:v>0.220433808444012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0%</a:t>
                    </a:r>
                  </a:p>
                </c:rich>
              </c:tx>
              <c:showLegendKey val="0"/>
              <c:showVal val="1"/>
              <c:showCatName val="0"/>
              <c:showSerName val="0"/>
              <c:showPercent val="0"/>
              <c:showBubbleSize val="0"/>
            </c:dLbl>
            <c:dLbl>
              <c:idx val="1"/>
              <c:tx>
                <c:rich>
                  <a:bodyPr/>
                  <a:lstStyle/>
                  <a:p>
                    <a:r>
                      <a:rPr sz="800">
                        <a:solidFill>
                          <a:srgbClr val="FFFFFF"/>
                        </a:solidFill>
                        <a:latin typeface="Nexa Book"/>
                      </a:rPr>
                      <a:t>77%</a:t>
                    </a:r>
                  </a:p>
                </c:rich>
              </c:tx>
              <c:showLegendKey val="0"/>
              <c:showVal val="1"/>
              <c:showCatName val="0"/>
              <c:showSerName val="0"/>
              <c:showPercent val="0"/>
              <c:showBubbleSize val="0"/>
            </c:dLbl>
            <c:dLbl>
              <c:idx val="2"/>
              <c:tx>
                <c:rich>
                  <a:bodyPr/>
                  <a:lstStyle/>
                  <a:p>
                    <a:r>
                      <a:rPr sz="800">
                        <a:solidFill>
                          <a:srgbClr val="FFFFFF"/>
                        </a:solidFill>
                        <a:latin typeface="Nexa Book"/>
                      </a:rPr>
                      <a:t>7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040387620804826</c:v>
                </c:pt>
                <c:pt idx="1">
                  <c:v>0.7739005257560957</c:v>
                </c:pt>
                <c:pt idx="2">
                  <c:v>0.77956619155598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162583518930958</c:v>
                </c:pt>
                <c:pt idx="1">
                  <c:v>0.20271880819366853</c:v>
                </c:pt>
                <c:pt idx="2">
                  <c:v>0.2059472422062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183741648106904</c:v>
                </c:pt>
                <c:pt idx="1">
                  <c:v>0.7972811918063314</c:v>
                </c:pt>
                <c:pt idx="2">
                  <c:v>0.794052757793764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76215760368911</c:v>
                </c:pt>
                <c:pt idx="1">
                  <c:v>0.10622247058050095</c:v>
                </c:pt>
                <c:pt idx="2">
                  <c:v>0.00855635615028306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257109784363174</c:v>
                </c:pt>
                <c:pt idx="1">
                  <c:v>0.1328095895514211</c:v>
                </c:pt>
                <c:pt idx="2">
                  <c:v>0.1349349312550547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76%</a:t>
                    </a:r>
                  </a:p>
                </c:rich>
              </c:tx>
              <c:showLegendKey val="0"/>
              <c:showVal val="1"/>
              <c:showCatName val="0"/>
              <c:showSerName val="0"/>
              <c:showPercent val="0"/>
              <c:showBubbleSize val="0"/>
            </c:dLbl>
            <c:dLbl>
              <c:idx val="2"/>
              <c:tx>
                <c:rich>
                  <a:bodyPr/>
                  <a:lstStyle/>
                  <a:p>
                    <a:r>
                      <a:rPr sz="800">
                        <a:solidFill>
                          <a:srgbClr val="FFFFFF"/>
                        </a:solidFill>
                        <a:latin typeface="Nexa Book"/>
                      </a:rPr>
                      <a:t>8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598073261194771</c:v>
                </c:pt>
                <c:pt idx="1">
                  <c:v>0.760967939868078</c:v>
                </c:pt>
                <c:pt idx="2">
                  <c:v>0.856508712594662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600132674872854</c:v>
                </c:pt>
                <c:pt idx="1">
                  <c:v>0.11141873690511823</c:v>
                </c:pt>
                <c:pt idx="2">
                  <c:v>0.01027762947143619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975160315471365</c:v>
                </c:pt>
                <c:pt idx="1">
                  <c:v>0.11804100568692008</c:v>
                </c:pt>
                <c:pt idx="2">
                  <c:v>0.128537106246663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442470700965579</c:v>
                </c:pt>
                <c:pt idx="1">
                  <c:v>0.7705402574079616</c:v>
                </c:pt>
                <c:pt idx="2">
                  <c:v>0.861185264281900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ouvet-Ladubay</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784793710703073</c:v>
                </c:pt>
                <c:pt idx="1">
                  <c:v>0.19378448060769038</c:v>
                </c:pt>
                <c:pt idx="2">
                  <c:v>0.2093578024988781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2%</a:t>
                    </a:r>
                  </a:p>
                </c:rich>
              </c:tx>
              <c:showLegendKey val="0"/>
              <c:showVal val="1"/>
              <c:showCatName val="0"/>
              <c:showSerName val="0"/>
              <c:showPercent val="0"/>
              <c:showBubbleSize val="0"/>
            </c:dLbl>
            <c:dLbl>
              <c:idx val="1"/>
              <c:tx>
                <c:rich>
                  <a:bodyPr/>
                  <a:lstStyle/>
                  <a:p>
                    <a:r>
                      <a:rPr sz="800">
                        <a:solidFill>
                          <a:srgbClr val="FFFFFF"/>
                        </a:solidFill>
                        <a:latin typeface="Nexa Book"/>
                      </a:rPr>
                      <a:t>81%</a:t>
                    </a:r>
                  </a:p>
                </c:rich>
              </c:tx>
              <c:showLegendKey val="0"/>
              <c:showVal val="1"/>
              <c:showCatName val="0"/>
              <c:showSerName val="0"/>
              <c:showPercent val="0"/>
              <c:showBubbleSize val="0"/>
            </c:dLbl>
            <c:dLbl>
              <c:idx val="2"/>
              <c:tx>
                <c:rich>
                  <a:bodyPr/>
                  <a:lstStyle/>
                  <a:p>
                    <a:r>
                      <a:rPr sz="800">
                        <a:solidFill>
                          <a:srgbClr val="FFFFFF"/>
                        </a:solidFill>
                        <a:latin typeface="Nexa Book"/>
                      </a:rPr>
                      <a:t>7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221520628929693</c:v>
                </c:pt>
                <c:pt idx="1">
                  <c:v>0.8062155193923096</c:v>
                </c:pt>
                <c:pt idx="2">
                  <c:v>0.790642197501121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ouvet-Ladubay</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62647754137116</c:v>
                </c:pt>
                <c:pt idx="1">
                  <c:v>0.17706876827253082</c:v>
                </c:pt>
                <c:pt idx="2">
                  <c:v>0.192307692307692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437352245862884</c:v>
                </c:pt>
                <c:pt idx="1">
                  <c:v>0.8229312317274691</c:v>
                </c:pt>
                <c:pt idx="2">
                  <c:v>0.80769230769230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148470446036743</c:v>
                </c:pt>
                <c:pt idx="1">
                  <c:v>0.03941027249486793</c:v>
                </c:pt>
                <c:pt idx="2">
                  <c:v>0.0310883086055532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7%</a:t>
                    </a:r>
                  </a:p>
                </c:rich>
              </c:tx>
              <c:showLegendKey val="0"/>
              <c:showVal val="1"/>
              <c:showCatName val="0"/>
              <c:showSerName val="0"/>
              <c:showPercent val="0"/>
              <c:showBubbleSize val="0"/>
            </c:dLbl>
            <c:dLbl>
              <c:idx val="1"/>
              <c:tx>
                <c:rich>
                  <a:bodyPr/>
                  <a:lstStyle/>
                  <a:p>
                    <a:r>
                      <a:rPr sz="800">
                        <a:solidFill>
                          <a:srgbClr val="FFFFFF"/>
                        </a:solidFill>
                        <a:latin typeface="Nexa Book"/>
                      </a:rPr>
                      <a:t>96%</a:t>
                    </a:r>
                  </a:p>
                </c:rich>
              </c:tx>
              <c:showLegendKey val="0"/>
              <c:showVal val="1"/>
              <c:showCatName val="0"/>
              <c:showSerName val="0"/>
              <c:showPercent val="0"/>
              <c:showBubbleSize val="0"/>
            </c:dLbl>
            <c:dLbl>
              <c:idx val="2"/>
              <c:tx>
                <c:rich>
                  <a:bodyPr/>
                  <a:lstStyle/>
                  <a:p>
                    <a:r>
                      <a:rPr sz="800">
                        <a:solidFill>
                          <a:srgbClr val="FFFFFF"/>
                        </a:solidFill>
                        <a:latin typeface="Nexa Book"/>
                      </a:rPr>
                      <a:t>9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685152955396326</c:v>
                </c:pt>
                <c:pt idx="1">
                  <c:v>0.9605897275051322</c:v>
                </c:pt>
                <c:pt idx="2">
                  <c:v>0.968911691394446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503788631268269</c:v>
                </c:pt>
                <c:pt idx="1">
                  <c:v>0.0539936144099444</c:v>
                </c:pt>
                <c:pt idx="2">
                  <c:v>0.038113391551043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549621136873174</c:v>
                </c:pt>
                <c:pt idx="1">
                  <c:v>0.9460063855900556</c:v>
                </c:pt>
                <c:pt idx="2">
                  <c:v>0.961886608448956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8%</a:t>
                    </a:r>
                  </a:p>
                </c:rich>
              </c:tx>
              <c:showLegendKey val="0"/>
              <c:showVal val="1"/>
              <c:showCatName val="0"/>
              <c:showSerName val="0"/>
              <c:showPercent val="0"/>
              <c:showBubbleSize val="0"/>
            </c:dLbl>
            <c:dLbl>
              <c:idx val="1"/>
              <c:tx>
                <c:rich>
                  <a:bodyPr/>
                  <a:lstStyle/>
                  <a:p>
                    <a:r>
                      <a:rPr sz="800">
                        <a:solidFill>
                          <a:srgbClr val="FFFFFF"/>
                        </a:solidFill>
                        <a:latin typeface="Nexa Book"/>
                      </a:rPr>
                      <a:t>67%</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82212328637729</c:v>
                </c:pt>
                <c:pt idx="1">
                  <c:v>0.6680748844090484</c:v>
                </c:pt>
                <c:pt idx="2">
                  <c:v>0.610919272287601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947944282466735</c:v>
                </c:pt>
                <c:pt idx="1">
                  <c:v>0.049974914401701605</c:v>
                </c:pt>
                <c:pt idx="2">
                  <c:v>0.05130720795954648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783082285376037</c:v>
                </c:pt>
                <c:pt idx="1">
                  <c:v>0.28195020118925</c:v>
                </c:pt>
                <c:pt idx="2">
                  <c:v>0.337773519752852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84771737376997</c:v>
                </c:pt>
                <c:pt idx="1">
                  <c:v>0.542464693364287</c:v>
                </c:pt>
                <c:pt idx="2">
                  <c:v>0.469720496894409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70511372802064</c:v>
                </c:pt>
                <c:pt idx="1">
                  <c:v>0.10224414780421745</c:v>
                </c:pt>
                <c:pt idx="2">
                  <c:v>0.0970496894409937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98177125342798</c:v>
                </c:pt>
                <c:pt idx="1">
                  <c:v>0.35529115883149553</c:v>
                </c:pt>
                <c:pt idx="2">
                  <c:v>0.4332298136645963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0%</a:t>
                    </a:r>
                  </a:p>
                </c:rich>
              </c:tx>
              <c:showLegendKey val="0"/>
              <c:showVal val="1"/>
              <c:showCatName val="0"/>
              <c:showSerName val="0"/>
              <c:showPercent val="0"/>
              <c:showBubbleSize val="0"/>
            </c:dLbl>
            <c:dLbl>
              <c:idx val="1"/>
              <c:tx>
                <c:rich>
                  <a:bodyPr/>
                  <a:lstStyle/>
                  <a:p>
                    <a:r>
                      <a:rPr sz="800">
                        <a:solidFill>
                          <a:srgbClr val="FFFFFF"/>
                        </a:solidFill>
                        <a:latin typeface="Nexa Book"/>
                      </a:rPr>
                      <a:t>78%</a:t>
                    </a:r>
                  </a:p>
                </c:rich>
              </c:tx>
              <c:showLegendKey val="0"/>
              <c:showVal val="1"/>
              <c:showCatName val="0"/>
              <c:showSerName val="0"/>
              <c:showPercent val="0"/>
              <c:showBubbleSize val="0"/>
            </c:dLbl>
            <c:dLbl>
              <c:idx val="2"/>
              <c:tx>
                <c:rich>
                  <a:bodyPr/>
                  <a:lstStyle/>
                  <a:p>
                    <a:r>
                      <a:rPr sz="800">
                        <a:solidFill>
                          <a:srgbClr val="FFFFFF"/>
                        </a:solidFill>
                        <a:latin typeface="Nexa Book"/>
                      </a:rPr>
                      <a:t>7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997449437282997</c:v>
                </c:pt>
                <c:pt idx="1">
                  <c:v>0.7779796938160654</c:v>
                </c:pt>
                <c:pt idx="2">
                  <c:v>0.745623404089774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7775584928571326</c:v>
                </c:pt>
                <c:pt idx="1">
                  <c:v>0.03048970822359583</c:v>
                </c:pt>
                <c:pt idx="2">
                  <c:v>0.03857534582475697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24794713431289</c:v>
                </c:pt>
                <c:pt idx="1">
                  <c:v>0.19153059796033886</c:v>
                </c:pt>
                <c:pt idx="2">
                  <c:v>0.215801250085468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190279542566709</c:v>
                </c:pt>
                <c:pt idx="1">
                  <c:v>0.6901700949367089</c:v>
                </c:pt>
                <c:pt idx="2">
                  <c:v>0.643188854489164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432020330368488</c:v>
                </c:pt>
                <c:pt idx="1">
                  <c:v>0.06606012658227849</c:v>
                </c:pt>
                <c:pt idx="2">
                  <c:v>0.078689370485036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66518424396442</c:v>
                </c:pt>
                <c:pt idx="1">
                  <c:v>0.24376977848101264</c:v>
                </c:pt>
                <c:pt idx="2">
                  <c:v>0.278121775025799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6%</a:t>
                    </a:r>
                  </a:p>
                </c:rich>
              </c:tx>
              <c:showLegendKey val="0"/>
              <c:showVal val="1"/>
              <c:showCatName val="0"/>
              <c:showSerName val="0"/>
              <c:showPercent val="0"/>
              <c:showBubbleSize val="0"/>
            </c:dLbl>
            <c:dLbl>
              <c:idx val="1"/>
              <c:tx>
                <c:rich>
                  <a:bodyPr/>
                  <a:lstStyle/>
                  <a:p>
                    <a:r>
                      <a:rPr sz="800">
                        <a:solidFill>
                          <a:srgbClr val="FFFFFF"/>
                        </a:solidFill>
                        <a:latin typeface="Nexa Book"/>
                      </a:rPr>
                      <a:t>72%</a:t>
                    </a:r>
                  </a:p>
                </c:rich>
              </c:tx>
              <c:showLegendKey val="0"/>
              <c:showVal val="1"/>
              <c:showCatName val="0"/>
              <c:showSerName val="0"/>
              <c:showPercent val="0"/>
              <c:showBubbleSize val="0"/>
            </c:dLbl>
            <c:dLbl>
              <c:idx val="2"/>
              <c:tx>
                <c:rich>
                  <a:bodyPr/>
                  <a:lstStyle/>
                  <a:p>
                    <a:r>
                      <a:rPr sz="800">
                        <a:solidFill>
                          <a:srgbClr val="FFFFFF"/>
                        </a:solidFill>
                        <a:latin typeface="Nexa Book"/>
                      </a:rPr>
                      <a:t>7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629907859143323</c:v>
                </c:pt>
                <c:pt idx="1">
                  <c:v>0.7237945509342211</c:v>
                </c:pt>
                <c:pt idx="2">
                  <c:v>0.760895509754962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80407975588346</c:v>
                </c:pt>
                <c:pt idx="1">
                  <c:v>0.052705278802363954</c:v>
                </c:pt>
                <c:pt idx="2">
                  <c:v>0.0470523509247111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594269710559474</c:v>
                </c:pt>
                <c:pt idx="1">
                  <c:v>0.05529901119919547</c:v>
                </c:pt>
                <c:pt idx="2">
                  <c:v>0.0414998518769308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226243722418948</c:v>
                </c:pt>
                <c:pt idx="1">
                  <c:v>0.16820115906421956</c:v>
                </c:pt>
                <c:pt idx="2">
                  <c:v>0.150552287443395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83834444584224</c:v>
                </c:pt>
                <c:pt idx="1">
                  <c:v>0.5817749064943897</c:v>
                </c:pt>
                <c:pt idx="2">
                  <c:v>0.625562556255625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68398540696944</c:v>
                </c:pt>
                <c:pt idx="1">
                  <c:v>0.06307378442706563</c:v>
                </c:pt>
                <c:pt idx="2">
                  <c:v>0.0598559855985598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80727135488741</c:v>
                </c:pt>
                <c:pt idx="1">
                  <c:v>0.1125467528051683</c:v>
                </c:pt>
                <c:pt idx="2">
                  <c:v>0.0823582358235823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961252987797207</c:v>
                </c:pt>
                <c:pt idx="1">
                  <c:v>0.2426045562733764</c:v>
                </c:pt>
                <c:pt idx="2">
                  <c:v>0.2322232223222322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7%</a:t>
                    </a:r>
                  </a:p>
                </c:rich>
              </c:tx>
              <c:showLegendKey val="0"/>
              <c:showVal val="1"/>
              <c:showCatName val="0"/>
              <c:showSerName val="0"/>
              <c:showPercent val="0"/>
              <c:showBubbleSize val="0"/>
            </c:dLbl>
            <c:dLbl>
              <c:idx val="1"/>
              <c:tx>
                <c:rich>
                  <a:bodyPr/>
                  <a:lstStyle/>
                  <a:p>
                    <a:r>
                      <a:rPr sz="800">
                        <a:solidFill>
                          <a:srgbClr val="FFFFFF"/>
                        </a:solidFill>
                        <a:latin typeface="Nexa Book"/>
                      </a:rPr>
                      <a:t>75%</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706019861919183</c:v>
                </c:pt>
                <c:pt idx="1">
                  <c:v>0.7464916878467518</c:v>
                </c:pt>
                <c:pt idx="2">
                  <c:v>0.721768438618448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070332782245544</c:v>
                </c:pt>
                <c:pt idx="1">
                  <c:v>0.06671182887150529</c:v>
                </c:pt>
                <c:pt idx="2">
                  <c:v>0.064584568429835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86946859856262</c:v>
                </c:pt>
                <c:pt idx="1">
                  <c:v>0.18679648328174292</c:v>
                </c:pt>
                <c:pt idx="2">
                  <c:v>0.2136469929517159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57429616398741</c:v>
                </c:pt>
                <c:pt idx="1">
                  <c:v>0.6009384775808133</c:v>
                </c:pt>
                <c:pt idx="2">
                  <c:v>0.583501586385924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526239686994982</c:v>
                </c:pt>
                <c:pt idx="1">
                  <c:v>0.13628779979144942</c:v>
                </c:pt>
                <c:pt idx="2">
                  <c:v>0.1266224401499855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899464149017604</c:v>
                </c:pt>
                <c:pt idx="1">
                  <c:v>0.26277372262773724</c:v>
                </c:pt>
                <c:pt idx="2">
                  <c:v>0.2898759734640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3%</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6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312769600936423</c:v>
                </c:pt>
                <c:pt idx="1">
                  <c:v>0.6522409007925202</c:v>
                </c:pt>
                <c:pt idx="2">
                  <c:v>0.636282554405993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92825092666854</c:v>
                </c:pt>
                <c:pt idx="1">
                  <c:v>0.08431738795496037</c:v>
                </c:pt>
                <c:pt idx="2">
                  <c:v>0.0599357830895469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87947889796892</c:v>
                </c:pt>
                <c:pt idx="1">
                  <c:v>0.26344171125251953</c:v>
                </c:pt>
                <c:pt idx="2">
                  <c:v>0.303781662504459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23863636363636</c:v>
                </c:pt>
                <c:pt idx="1">
                  <c:v>0.4619826756496631</c:v>
                </c:pt>
                <c:pt idx="2">
                  <c:v>0.44582043343653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571022727272727</c:v>
                </c:pt>
                <c:pt idx="1">
                  <c:v>0.1530317613089509</c:v>
                </c:pt>
                <c:pt idx="2">
                  <c:v>0.102167182662538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19034090909091</c:v>
                </c:pt>
                <c:pt idx="1">
                  <c:v>0.3849855630413859</c:v>
                </c:pt>
                <c:pt idx="2">
                  <c:v>0.45201238390092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4%</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26743748503404</c:v>
                </c:pt>
                <c:pt idx="1">
                  <c:v>0.519307681699076</c:v>
                </c:pt>
                <c:pt idx="2">
                  <c:v>0.485725971370143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58567372489994</c:v>
                </c:pt>
                <c:pt idx="1">
                  <c:v>0.09964142876844573</c:v>
                </c:pt>
                <c:pt idx="2">
                  <c:v>0.094314928425357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214688879006602</c:v>
                </c:pt>
                <c:pt idx="1">
                  <c:v>0.3810508895324783</c:v>
                </c:pt>
                <c:pt idx="2">
                  <c:v>0.4199591002044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88</c:v>
                </c:pt>
                <c:pt idx="1">
                  <c:v>0.001615</c:v>
                </c:pt>
                <c:pt idx="2">
                  <c:v>0.0004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29</c:v>
                </c:pt>
                <c:pt idx="1">
                  <c:v>0.005618</c:v>
                </c:pt>
                <c:pt idx="2">
                  <c:v>0.00212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81021897810219</c:v>
                </c:pt>
                <c:pt idx="1">
                  <c:v>0.388412017167382</c:v>
                </c:pt>
                <c:pt idx="2">
                  <c:v>0.313725490196078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16788321167883</c:v>
                </c:pt>
                <c:pt idx="1">
                  <c:v>0.17167381974248927</c:v>
                </c:pt>
                <c:pt idx="2">
                  <c:v>0.143790849673202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072992700729926</c:v>
                </c:pt>
                <c:pt idx="1">
                  <c:v>0.43991416309012876</c:v>
                </c:pt>
                <c:pt idx="2">
                  <c:v>0.542483660130718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206</c:v>
                </c:pt>
                <c:pt idx="1">
                  <c:v>0.019471</c:v>
                </c:pt>
                <c:pt idx="2">
                  <c:v>0.0053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4007</c:v>
                </c:pt>
                <c:pt idx="1">
                  <c:v>0.079408</c:v>
                </c:pt>
                <c:pt idx="2">
                  <c:v>0.0317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8%</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812123222988106</c:v>
                </c:pt>
                <c:pt idx="1">
                  <c:v>0.6182243392405465</c:v>
                </c:pt>
                <c:pt idx="2">
                  <c:v>0.591642728345451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618086120901467</c:v>
                </c:pt>
                <c:pt idx="1">
                  <c:v>0.094182831488729</c:v>
                </c:pt>
                <c:pt idx="2">
                  <c:v>0.0845155078106939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26068164921748</c:v>
                </c:pt>
                <c:pt idx="1">
                  <c:v>0.28759282927072444</c:v>
                </c:pt>
                <c:pt idx="2">
                  <c:v>0.323841763843854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65304117126854</c:v>
                </c:pt>
                <c:pt idx="1">
                  <c:v>0.43867549668874173</c:v>
                </c:pt>
                <c:pt idx="2">
                  <c:v>0.414161535675479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226294585830796</c:v>
                </c:pt>
                <c:pt idx="1">
                  <c:v>0.1652317880794702</c:v>
                </c:pt>
                <c:pt idx="2">
                  <c:v>0.1446939514668598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12066424290066</c:v>
                </c:pt>
                <c:pt idx="1">
                  <c:v>0.39609271523178813</c:v>
                </c:pt>
                <c:pt idx="2">
                  <c:v>0.4411445128576602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Vranken Pommery</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531150788000493</c:v>
                </c:pt>
                <c:pt idx="1">
                  <c:v>0.15513273206431638</c:v>
                </c:pt>
                <c:pt idx="2">
                  <c:v>0.1466594803970717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491727471013785</c:v>
                </c:pt>
                <c:pt idx="1">
                  <c:v>0.13075978387313225</c:v>
                </c:pt>
                <c:pt idx="2">
                  <c:v>0.137431206458087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94885850446315</c:v>
                </c:pt>
                <c:pt idx="1">
                  <c:v>0.11185405646572606</c:v>
                </c:pt>
                <c:pt idx="2">
                  <c:v>0.108255719258944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ernod Ric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36151601290946</c:v>
                </c:pt>
                <c:pt idx="1">
                  <c:v>0.07596463068797782</c:v>
                </c:pt>
                <c:pt idx="2">
                  <c:v>0.0832860726423212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24175272099566</c:v>
                </c:pt>
                <c:pt idx="1">
                  <c:v>0.0575983391308753</c:v>
                </c:pt>
                <c:pt idx="2">
                  <c:v>0.05088258649519332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607772625200696</c:v>
                </c:pt>
                <c:pt idx="1">
                  <c:v>0.0490818959492183</c:v>
                </c:pt>
                <c:pt idx="2">
                  <c:v>0.0505016353033644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031708944875746</c:v>
                </c:pt>
                <c:pt idx="1">
                  <c:v>0.0474953306665599</c:v>
                </c:pt>
                <c:pt idx="2">
                  <c:v>0.0470596393395282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81557295659804</c:v>
                </c:pt>
                <c:pt idx="1">
                  <c:v>0.040947423399796186</c:v>
                </c:pt>
                <c:pt idx="2">
                  <c:v>0.0436368532939926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7430385476629</c:v>
                </c:pt>
                <c:pt idx="1">
                  <c:v>0.00991633017696487</c:v>
                </c:pt>
                <c:pt idx="2">
                  <c:v>0.0089057285289982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48452226081906</c:v>
                </c:pt>
                <c:pt idx="1">
                  <c:v>0.32124947758543293</c:v>
                </c:pt>
                <c:pt idx="2">
                  <c:v>0.323381078282498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Vranken Pommery</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437483203185565</c:v>
                </c:pt>
                <c:pt idx="1">
                  <c:v>0.2704387802498592</c:v>
                </c:pt>
                <c:pt idx="2">
                  <c:v>0.25576847200398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712331037235954</c:v>
                </c:pt>
                <c:pt idx="1">
                  <c:v>0.12343802977679286</c:v>
                </c:pt>
                <c:pt idx="2">
                  <c:v>0.13075267327989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9384775746002</c:v>
                </c:pt>
                <c:pt idx="1">
                  <c:v>0.05130851113180164</c:v>
                </c:pt>
                <c:pt idx="2">
                  <c:v>0.0495519272519815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ernod Ric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56921864043279</c:v>
                </c:pt>
                <c:pt idx="1">
                  <c:v>0.051392992556744656</c:v>
                </c:pt>
                <c:pt idx="2">
                  <c:v>0.0549670000437894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272682200981325</c:v>
                </c:pt>
                <c:pt idx="1">
                  <c:v>0.047787715420225314</c:v>
                </c:pt>
                <c:pt idx="2">
                  <c:v>0.0412866910869397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77912839165312</c:v>
                </c:pt>
                <c:pt idx="1">
                  <c:v>0.04716498818202924</c:v>
                </c:pt>
                <c:pt idx="2">
                  <c:v>0.0448164400419609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142303046372676</c:v>
                </c:pt>
                <c:pt idx="1">
                  <c:v>0.030998163660455144</c:v>
                </c:pt>
                <c:pt idx="2">
                  <c:v>0.03063962400337914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205835813831026</c:v>
                </c:pt>
                <c:pt idx="1">
                  <c:v>0.03457822567779507</c:v>
                </c:pt>
                <c:pt idx="2">
                  <c:v>0.0367638148173418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183520582513835</c:v>
                </c:pt>
                <c:pt idx="1">
                  <c:v>0.008813653965484274</c:v>
                </c:pt>
                <c:pt idx="2">
                  <c:v>0.007787738470212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522952594781207</c:v>
                </c:pt>
                <c:pt idx="1">
                  <c:v>0.3340789393788126</c:v>
                </c:pt>
                <c:pt idx="2">
                  <c:v>0.3476656190005158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73</c:v>
                </c:pt>
                <c:pt idx="1">
                  <c:v>0.001084</c:v>
                </c:pt>
                <c:pt idx="2">
                  <c:v>0.00047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229</c:v>
                </c:pt>
                <c:pt idx="1">
                  <c:v>0.006767</c:v>
                </c:pt>
                <c:pt idx="2">
                  <c:v>0.00248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823756105346275</c:v>
                </c:pt>
                <c:pt idx="1">
                  <c:v>0.25442817000534557</c:v>
                </c:pt>
                <c:pt idx="2">
                  <c:v>0.207110873049737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49950188800093</c:v>
                </c:pt>
                <c:pt idx="1">
                  <c:v>0.1382715561556372</c:v>
                </c:pt>
                <c:pt idx="2">
                  <c:v>0.1327671305837244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25086734767904</c:v>
                </c:pt>
                <c:pt idx="1">
                  <c:v>0.09902937376379167</c:v>
                </c:pt>
                <c:pt idx="2">
                  <c:v>0.1169905209206519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080601671048199</c:v>
                </c:pt>
                <c:pt idx="1">
                  <c:v>0.08111483718395376</c:v>
                </c:pt>
                <c:pt idx="2">
                  <c:v>0.0648485233638072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457345653017925</c:v>
                </c:pt>
                <c:pt idx="1">
                  <c:v>0.07547869639804398</c:v>
                </c:pt>
                <c:pt idx="2">
                  <c:v>0.0903342038713217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43967285954745</c:v>
                </c:pt>
                <c:pt idx="1">
                  <c:v>0.0685039279086915</c:v>
                </c:pt>
                <c:pt idx="2">
                  <c:v>0.0854710942047186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814591858442846</c:v>
                </c:pt>
                <c:pt idx="1">
                  <c:v>0.044583273379015416</c:v>
                </c:pt>
                <c:pt idx="2">
                  <c:v>0.0485100485100485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36334661340653</c:v>
                </c:pt>
                <c:pt idx="1">
                  <c:v>0.038814425418940895</c:v>
                </c:pt>
                <c:pt idx="2">
                  <c:v>0.0428106978325318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651218989053776</c:v>
                </c:pt>
                <c:pt idx="1">
                  <c:v>0.03740459807992103</c:v>
                </c:pt>
                <c:pt idx="2">
                  <c:v>0.03033618099120282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24067104138184</c:v>
                </c:pt>
                <c:pt idx="1">
                  <c:v>0.16237114170665898</c:v>
                </c:pt>
                <c:pt idx="2">
                  <c:v>0.1808207266722550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804985337243403</c:v>
                </c:pt>
                <c:pt idx="1">
                  <c:v>0.18398924665979424</c:v>
                </c:pt>
                <c:pt idx="2">
                  <c:v>0.147321428571428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83137829912023</c:v>
                </c:pt>
                <c:pt idx="1">
                  <c:v>0.1127483677965759</c:v>
                </c:pt>
                <c:pt idx="2">
                  <c:v>0.103386324041811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51576246334311</c:v>
                </c:pt>
                <c:pt idx="1">
                  <c:v>0.18068441372061528</c:v>
                </c:pt>
                <c:pt idx="2">
                  <c:v>0.2091136759581881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659457478005864</c:v>
                </c:pt>
                <c:pt idx="1">
                  <c:v>0.095395468235199</c:v>
                </c:pt>
                <c:pt idx="2">
                  <c:v>0.0791049651567944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634714076246334</c:v>
                </c:pt>
                <c:pt idx="1">
                  <c:v>0.06615729792007762</c:v>
                </c:pt>
                <c:pt idx="2">
                  <c:v>0.0768728222996515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27657624633431</c:v>
                </c:pt>
                <c:pt idx="1">
                  <c:v>0.06078062781719322</c:v>
                </c:pt>
                <c:pt idx="2">
                  <c:v>0.0799488240418118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4783724340176</c:v>
                </c:pt>
                <c:pt idx="1">
                  <c:v>0.03915266913265822</c:v>
                </c:pt>
                <c:pt idx="2">
                  <c:v>0.0426284843205574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74523460410557</c:v>
                </c:pt>
                <c:pt idx="1">
                  <c:v>0.040638327976876276</c:v>
                </c:pt>
                <c:pt idx="2">
                  <c:v>0.0450783972125435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594941348973607</c:v>
                </c:pt>
                <c:pt idx="1">
                  <c:v>0.048005983061467875</c:v>
                </c:pt>
                <c:pt idx="2">
                  <c:v>0.03718423344947735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850806451612903</c:v>
                </c:pt>
                <c:pt idx="1">
                  <c:v>0.17244759767954237</c:v>
                </c:pt>
                <c:pt idx="2">
                  <c:v>0.1793608449477352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65138046420205</c:v>
                </c:pt>
                <c:pt idx="1">
                  <c:v>0.2955485723264152</c:v>
                </c:pt>
                <c:pt idx="2">
                  <c:v>0.232245050847099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533928557500058</c:v>
                </c:pt>
                <c:pt idx="1">
                  <c:v>0.1533245725549572</c:v>
                </c:pt>
                <c:pt idx="2">
                  <c:v>0.152189378068912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33167540696329</c:v>
                </c:pt>
                <c:pt idx="1">
                  <c:v>0.07674299018697596</c:v>
                </c:pt>
                <c:pt idx="2">
                  <c:v>0.0868848769716183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190719598977685</c:v>
                </c:pt>
                <c:pt idx="1">
                  <c:v>0.07537088088674314</c:v>
                </c:pt>
                <c:pt idx="2">
                  <c:v>0.1035006185025140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124297677949753</c:v>
                </c:pt>
                <c:pt idx="1">
                  <c:v>0.07613535402591096</c:v>
                </c:pt>
                <c:pt idx="2">
                  <c:v>0.0595265246200249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828143321798048</c:v>
                </c:pt>
                <c:pt idx="1">
                  <c:v>0.08118099101544088</c:v>
                </c:pt>
                <c:pt idx="2">
                  <c:v>0.0986394455075874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53347615940013</c:v>
                </c:pt>
                <c:pt idx="1">
                  <c:v>0.04516533588538617</c:v>
                </c:pt>
                <c:pt idx="2">
                  <c:v>0.046102225853858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27522444405734</c:v>
                </c:pt>
                <c:pt idx="1">
                  <c:v>0.03555257181219557</c:v>
                </c:pt>
                <c:pt idx="2">
                  <c:v>0.0434107204081663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681563737432302</c:v>
                </c:pt>
                <c:pt idx="1">
                  <c:v>0.02761902041166136</c:v>
                </c:pt>
                <c:pt idx="2">
                  <c:v>0.02456791671134887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41893364047871</c:v>
                </c:pt>
                <c:pt idx="1">
                  <c:v>0.1333597108943136</c:v>
                </c:pt>
                <c:pt idx="2">
                  <c:v>0.152933242508869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966017012724158</c:v>
                </c:pt>
                <c:pt idx="1">
                  <c:v>0.22237347853939782</c:v>
                </c:pt>
                <c:pt idx="2">
                  <c:v>0.1691337258200168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966852079883374</c:v>
                </c:pt>
                <c:pt idx="1">
                  <c:v>0.13119795003203075</c:v>
                </c:pt>
                <c:pt idx="2">
                  <c:v>0.122624053826745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030048264051066</c:v>
                </c:pt>
                <c:pt idx="1">
                  <c:v>0.07022741832158873</c:v>
                </c:pt>
                <c:pt idx="2">
                  <c:v>0.078763666947014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160347048249897</c:v>
                </c:pt>
                <c:pt idx="1">
                  <c:v>0.06904228058936579</c:v>
                </c:pt>
                <c:pt idx="2">
                  <c:v>0.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2037705405290645</c:v>
                </c:pt>
                <c:pt idx="1">
                  <c:v>0.09349775784753363</c:v>
                </c:pt>
                <c:pt idx="2">
                  <c:v>0.0743061396131202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3399289485230634</c:v>
                </c:pt>
                <c:pt idx="1">
                  <c:v>0.1545003203074952</c:v>
                </c:pt>
                <c:pt idx="2">
                  <c:v>0.1842724978973927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89547506829151</c:v>
                </c:pt>
                <c:pt idx="1">
                  <c:v>0.041527866752082</c:v>
                </c:pt>
                <c:pt idx="2">
                  <c:v>0.04209419680403700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422359984714025</c:v>
                </c:pt>
                <c:pt idx="1">
                  <c:v>0.038693145419602816</c:v>
                </c:pt>
                <c:pt idx="2">
                  <c:v>0.04726661059714045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74295500544917</c:v>
                </c:pt>
                <c:pt idx="1">
                  <c:v>0.03707559256886611</c:v>
                </c:pt>
                <c:pt idx="2">
                  <c:v>0.03111858704793944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5853537712482133</c:v>
                </c:pt>
                <c:pt idx="1">
                  <c:v>0.14186418962203715</c:v>
                </c:pt>
                <c:pt idx="2">
                  <c:v>0.150420521446593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6339</c:v>
                </c:pt>
                <c:pt idx="1">
                  <c:v>0.012519</c:v>
                </c:pt>
                <c:pt idx="2">
                  <c:v>0.00683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852</c:v>
                </c:pt>
                <c:pt idx="1">
                  <c:v>0.094158</c:v>
                </c:pt>
                <c:pt idx="2">
                  <c:v>0.03625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994612423868534</c:v>
                </c:pt>
                <c:pt idx="1">
                  <c:v>0.2114515504592332</c:v>
                </c:pt>
                <c:pt idx="2">
                  <c:v>0.17852576807338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674145041807788</c:v>
                </c:pt>
                <c:pt idx="1">
                  <c:v>0.12231108793814895</c:v>
                </c:pt>
                <c:pt idx="2">
                  <c:v>0.1051658971510241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684913639841846</c:v>
                </c:pt>
                <c:pt idx="1">
                  <c:v>0.14300916910015193</c:v>
                </c:pt>
                <c:pt idx="2">
                  <c:v>0.1348839027004695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0962521280761864</c:v>
                </c:pt>
                <c:pt idx="1">
                  <c:v>0.09181551295794432</c:v>
                </c:pt>
                <c:pt idx="2">
                  <c:v>0.1009619410776196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742030467332904</c:v>
                </c:pt>
                <c:pt idx="1">
                  <c:v>0.07012328577904278</c:v>
                </c:pt>
                <c:pt idx="2">
                  <c:v>0.0702445887325044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136560635629116</c:v>
                </c:pt>
                <c:pt idx="1">
                  <c:v>0.06572063913277783</c:v>
                </c:pt>
                <c:pt idx="2">
                  <c:v>0.0810866640240736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9085324589992</c:v>
                </c:pt>
                <c:pt idx="1">
                  <c:v>0.05008667163415426</c:v>
                </c:pt>
                <c:pt idx="2">
                  <c:v>0.0761736741906128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904942380135444</c:v>
                </c:pt>
                <c:pt idx="1">
                  <c:v>0.05562548515687468</c:v>
                </c:pt>
                <c:pt idx="2">
                  <c:v>0.05018507456020366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355776651542784</c:v>
                </c:pt>
                <c:pt idx="1">
                  <c:v>0.03726199346704046</c:v>
                </c:pt>
                <c:pt idx="2">
                  <c:v>0.0559634205575126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5834361527987378</c:v>
                </c:pt>
                <c:pt idx="1">
                  <c:v>0.15259460437463157</c:v>
                </c:pt>
                <c:pt idx="2">
                  <c:v>0.1468090689325971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808824715657014</c:v>
                </c:pt>
                <c:pt idx="1">
                  <c:v>0.14580632292809415</c:v>
                </c:pt>
                <c:pt idx="2">
                  <c:v>0.1232444826597879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68314914898766</c:v>
                </c:pt>
                <c:pt idx="1">
                  <c:v>0.14470928493068713</c:v>
                </c:pt>
                <c:pt idx="2">
                  <c:v>0.1263972484952708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301121239009437</c:v>
                </c:pt>
                <c:pt idx="1">
                  <c:v>0.1082078388351451</c:v>
                </c:pt>
                <c:pt idx="2">
                  <c:v>0.0988822012037833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655803823505687</c:v>
                </c:pt>
                <c:pt idx="1">
                  <c:v>0.15797347162660816</c:v>
                </c:pt>
                <c:pt idx="2">
                  <c:v>0.170822585267985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010002419940308</c:v>
                </c:pt>
                <c:pt idx="1">
                  <c:v>0.061134935673681064</c:v>
                </c:pt>
                <c:pt idx="2">
                  <c:v>0.05875609057036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864322013390336</c:v>
                </c:pt>
                <c:pt idx="1">
                  <c:v>0.06402712675775406</c:v>
                </c:pt>
                <c:pt idx="2">
                  <c:v>0.0791057609630266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638944906025652</c:v>
                </c:pt>
                <c:pt idx="1">
                  <c:v>0.06592201057145707</c:v>
                </c:pt>
                <c:pt idx="2">
                  <c:v>0.0991688162797363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15681213196741</c:v>
                </c:pt>
                <c:pt idx="1">
                  <c:v>0.06901366310960406</c:v>
                </c:pt>
                <c:pt idx="2">
                  <c:v>0.0607623961020349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12115834476083</c:v>
                </c:pt>
                <c:pt idx="1">
                  <c:v>0.03281140919517303</c:v>
                </c:pt>
                <c:pt idx="2">
                  <c:v>0.05015763829177414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4810034685811083</c:v>
                </c:pt>
                <c:pt idx="1">
                  <c:v>0.15039393637179616</c:v>
                </c:pt>
                <c:pt idx="2">
                  <c:v>0.132702780166236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232058753093317</c:v>
                </c:pt>
                <c:pt idx="1">
                  <c:v>0.2541541434439916</c:v>
                </c:pt>
                <c:pt idx="2">
                  <c:v>0.205418239124123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349325457012852</c:v>
                </c:pt>
                <c:pt idx="1">
                  <c:v>0.12219747298388274</c:v>
                </c:pt>
                <c:pt idx="2">
                  <c:v>0.1395098079873926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484952502594396</c:v>
                </c:pt>
                <c:pt idx="1">
                  <c:v>0.10426778459732773</c:v>
                </c:pt>
                <c:pt idx="2">
                  <c:v>0.1207128934599593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994891035363614</c:v>
                </c:pt>
                <c:pt idx="1">
                  <c:v>0.08131583810755867</c:v>
                </c:pt>
                <c:pt idx="2">
                  <c:v>0.0650271637705801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371278039434821</c:v>
                </c:pt>
                <c:pt idx="1">
                  <c:v>0.08031398029355406</c:v>
                </c:pt>
                <c:pt idx="2">
                  <c:v>0.0987848878198482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90971501556638</c:v>
                </c:pt>
                <c:pt idx="1">
                  <c:v>0.059482470730513215</c:v>
                </c:pt>
                <c:pt idx="2">
                  <c:v>0.0561833865549703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554083180330486</c:v>
                </c:pt>
                <c:pt idx="1">
                  <c:v>0.04276538694731655</c:v>
                </c:pt>
                <c:pt idx="2">
                  <c:v>0.076048189773151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76618504031292</c:v>
                </c:pt>
                <c:pt idx="1">
                  <c:v>0.05498545847153459</c:v>
                </c:pt>
                <c:pt idx="2">
                  <c:v>0.05938705262721353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783268140815838</c:v>
                </c:pt>
                <c:pt idx="1">
                  <c:v>0.04553103327529691</c:v>
                </c:pt>
                <c:pt idx="2">
                  <c:v>0.04378343632065690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26255288576674</c:v>
                </c:pt>
                <c:pt idx="1">
                  <c:v>0.1549864311490239</c:v>
                </c:pt>
                <c:pt idx="2">
                  <c:v>0.1351449425621034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305447470817121</c:v>
                </c:pt>
                <c:pt idx="1">
                  <c:v>0.1819432502149613</c:v>
                </c:pt>
                <c:pt idx="2">
                  <c:v>0.145673603504928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58171206225681</c:v>
                </c:pt>
                <c:pt idx="1">
                  <c:v>0.09750644883920895</c:v>
                </c:pt>
                <c:pt idx="2">
                  <c:v>0.107886089813800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797665369649806</c:v>
                </c:pt>
                <c:pt idx="1">
                  <c:v>0.09853826311263972</c:v>
                </c:pt>
                <c:pt idx="2">
                  <c:v>0.114457831325301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721141374837873</c:v>
                </c:pt>
                <c:pt idx="1">
                  <c:v>0.09836629406706793</c:v>
                </c:pt>
                <c:pt idx="2">
                  <c:v>0.0750273822562979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311608300907912</c:v>
                </c:pt>
                <c:pt idx="1">
                  <c:v>0.13946689595872744</c:v>
                </c:pt>
                <c:pt idx="2">
                  <c:v>0.1725082146768893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328145265888457</c:v>
                </c:pt>
                <c:pt idx="1">
                  <c:v>0.07824591573516768</c:v>
                </c:pt>
                <c:pt idx="2">
                  <c:v>0.0733844468784227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701686121919585</c:v>
                </c:pt>
                <c:pt idx="1">
                  <c:v>0.03938091143594153</c:v>
                </c:pt>
                <c:pt idx="2">
                  <c:v>0.0690032858707557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642023346303502</c:v>
                </c:pt>
                <c:pt idx="1">
                  <c:v>0.0644883920894239</c:v>
                </c:pt>
                <c:pt idx="2">
                  <c:v>0.072836801752464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636835278858625</c:v>
                </c:pt>
                <c:pt idx="1">
                  <c:v>0.0469475494411006</c:v>
                </c:pt>
                <c:pt idx="2">
                  <c:v>0.044359255202628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169260700389105</c:v>
                </c:pt>
                <c:pt idx="1">
                  <c:v>0.15511607910576097</c:v>
                </c:pt>
                <c:pt idx="2">
                  <c:v>0.124863088718510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04182074119827</c:v>
                </c:pt>
                <c:pt idx="1">
                  <c:v>0.6397052383442898</c:v>
                </c:pt>
                <c:pt idx="2">
                  <c:v>0.703168157402945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74434940773172</c:v>
                </c:pt>
                <c:pt idx="1">
                  <c:v>0.048331377264389616</c:v>
                </c:pt>
                <c:pt idx="2">
                  <c:v>0.01120476369577226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213829851070007</c:v>
                </c:pt>
                <c:pt idx="1">
                  <c:v>0.31196338439132054</c:v>
                </c:pt>
                <c:pt idx="2">
                  <c:v>0.285627078901282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26009651748713</c:v>
                </c:pt>
                <c:pt idx="1">
                  <c:v>0.6499630432331533</c:v>
                </c:pt>
                <c:pt idx="2">
                  <c:v>0.710091094012558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4448220392248774</c:v>
                </c:pt>
                <c:pt idx="1">
                  <c:v>0.04466131315535623</c:v>
                </c:pt>
                <c:pt idx="2">
                  <c:v>0.00978744730402995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29508144328799</c:v>
                </c:pt>
                <c:pt idx="1">
                  <c:v>0.30537564361149044</c:v>
                </c:pt>
                <c:pt idx="2">
                  <c:v>0.280121458683411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43334582198321</c:v>
                </c:pt>
                <c:pt idx="1">
                  <c:v>0.6485269016837656</c:v>
                </c:pt>
                <c:pt idx="2">
                  <c:v>0.71278212673561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877379299076873</c:v>
                </c:pt>
                <c:pt idx="1">
                  <c:v>0.21324740967603728</c:v>
                </c:pt>
                <c:pt idx="2">
                  <c:v>0.189539169190331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99130958987462</c:v>
                </c:pt>
                <c:pt idx="1">
                  <c:v>0.043610681024465345</c:v>
                </c:pt>
                <c:pt idx="2">
                  <c:v>0.00744528884063767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190143919952448</c:v>
                </c:pt>
                <c:pt idx="1">
                  <c:v>0.09461500761573174</c:v>
                </c:pt>
                <c:pt idx="2">
                  <c:v>0.0902334152334152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56046395229909</c:v>
                </c:pt>
                <c:pt idx="1">
                  <c:v>0.6588866228567112</c:v>
                </c:pt>
                <c:pt idx="2">
                  <c:v>0.71882177308222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5710182142624</c:v>
                </c:pt>
                <c:pt idx="1">
                  <c:v>0.21265453080544855</c:v>
                </c:pt>
                <c:pt idx="2">
                  <c:v>0.187873220027560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2618980262442064</c:v>
                </c:pt>
                <c:pt idx="1">
                  <c:v>0.03958002870307425</c:v>
                </c:pt>
                <c:pt idx="2">
                  <c:v>0.00648828663298116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606619807194307</c:v>
                </c:pt>
                <c:pt idx="1">
                  <c:v>0.08887881763476596</c:v>
                </c:pt>
                <c:pt idx="2">
                  <c:v>0.0868167202572347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6%</a:t>
                    </a:r>
                  </a:p>
                </c:rich>
              </c:tx>
              <c:showLegendKey val="0"/>
              <c:showVal val="1"/>
              <c:showCatName val="0"/>
              <c:showSerName val="0"/>
              <c:showPercent val="0"/>
              <c:showBubbleSize val="0"/>
            </c:dLbl>
            <c:dLbl>
              <c:idx val="1"/>
              <c:tx>
                <c:rich>
                  <a:bodyPr/>
                  <a:lstStyle/>
                  <a:p>
                    <a:r>
                      <a:rPr sz="800">
                        <a:solidFill>
                          <a:srgbClr val="FFFFFF"/>
                        </a:solidFill>
                        <a:latin typeface="Nexa Book"/>
                      </a:rPr>
                      <a:t>76%</a:t>
                    </a:r>
                  </a:p>
                </c:rich>
              </c:tx>
              <c:showLegendKey val="0"/>
              <c:showVal val="1"/>
              <c:showCatName val="0"/>
              <c:showSerName val="0"/>
              <c:showPercent val="0"/>
              <c:showBubbleSize val="0"/>
            </c:dLbl>
            <c:dLbl>
              <c:idx val="2"/>
              <c:tx>
                <c:rich>
                  <a:bodyPr/>
                  <a:lstStyle/>
                  <a:p>
                    <a:r>
                      <a:rPr sz="800">
                        <a:solidFill>
                          <a:srgbClr val="FFFFFF"/>
                        </a:solidFill>
                        <a:latin typeface="Nexa Book"/>
                      </a:rPr>
                      <a:t>7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617923523346088</c:v>
                </c:pt>
                <c:pt idx="1">
                  <c:v>0.7564572544982826</c:v>
                </c:pt>
                <c:pt idx="2">
                  <c:v>0.741930375570746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483556752426646</c:v>
                </c:pt>
                <c:pt idx="1">
                  <c:v>0.06781298908647837</c:v>
                </c:pt>
                <c:pt idx="2">
                  <c:v>0.038375254031513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337208014112473</c:v>
                </c:pt>
                <c:pt idx="1">
                  <c:v>0.17572975641523902</c:v>
                </c:pt>
                <c:pt idx="2">
                  <c:v>0.2196943703977407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852941176470588</c:v>
                </c:pt>
                <c:pt idx="1">
                  <c:v>0.768650461022632</c:v>
                </c:pt>
                <c:pt idx="2">
                  <c:v>0.755838641188959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30718954248366</c:v>
                </c:pt>
                <c:pt idx="1">
                  <c:v>0.06244761106454317</c:v>
                </c:pt>
                <c:pt idx="2">
                  <c:v>0.031847133757961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339869281045752</c:v>
                </c:pt>
                <c:pt idx="1">
                  <c:v>0.1689019279128248</c:v>
                </c:pt>
                <c:pt idx="2">
                  <c:v>0.212314225053078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39847068819031</c:v>
                </c:pt>
                <c:pt idx="1">
                  <c:v>0.6482638654326826</c:v>
                </c:pt>
                <c:pt idx="2">
                  <c:v>0.74932603201347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23534409515718</c:v>
                </c:pt>
                <c:pt idx="1">
                  <c:v>0.05612038100385057</c:v>
                </c:pt>
                <c:pt idx="2">
                  <c:v>0.00981465880370682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677994902293967</c:v>
                </c:pt>
                <c:pt idx="1">
                  <c:v>0.2956157535634668</c:v>
                </c:pt>
                <c:pt idx="2">
                  <c:v>0.240859309182813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85365853658537</c:v>
                </c:pt>
                <c:pt idx="1">
                  <c:v>0.6578231292517007</c:v>
                </c:pt>
                <c:pt idx="2">
                  <c:v>0.760469011725293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03769401330377</c:v>
                </c:pt>
                <c:pt idx="1">
                  <c:v>0.05510204081632653</c:v>
                </c:pt>
                <c:pt idx="2">
                  <c:v>0.0067001675041876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10864745011086</c:v>
                </c:pt>
                <c:pt idx="1">
                  <c:v>0.28707482993197275</c:v>
                </c:pt>
                <c:pt idx="2">
                  <c:v>0.232830820770519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18409982511698</c:v>
                </c:pt>
                <c:pt idx="1">
                  <c:v>0.6118240393416731</c:v>
                </c:pt>
                <c:pt idx="2">
                  <c:v>0.59886408664641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93478911628933</c:v>
                </c:pt>
                <c:pt idx="1">
                  <c:v>0.0662095949171707</c:v>
                </c:pt>
                <c:pt idx="2">
                  <c:v>0.0212213269933518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881111058593687</c:v>
                </c:pt>
                <c:pt idx="1">
                  <c:v>0.3219663657411562</c:v>
                </c:pt>
                <c:pt idx="2">
                  <c:v>0.379914586360234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75956284153005</c:v>
                </c:pt>
                <c:pt idx="1">
                  <c:v>0.6224928366762178</c:v>
                </c:pt>
                <c:pt idx="2">
                  <c:v>0.605217391304347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225258044930176</c:v>
                </c:pt>
                <c:pt idx="1">
                  <c:v>0.06303724928366762</c:v>
                </c:pt>
                <c:pt idx="2">
                  <c:v>0.0156521739130434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01517911353977</c:v>
                </c:pt>
                <c:pt idx="1">
                  <c:v>0.3144699140401146</c:v>
                </c:pt>
                <c:pt idx="2">
                  <c:v>0.379130434782608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46237248989542</c:v>
                </c:pt>
                <c:pt idx="1">
                  <c:v>0.5891923147685757</c:v>
                </c:pt>
                <c:pt idx="2">
                  <c:v>0.61666989226501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28299223712068</c:v>
                </c:pt>
                <c:pt idx="1">
                  <c:v>0.2531868478460851</c:v>
                </c:pt>
                <c:pt idx="2">
                  <c:v>0.2773369460034836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4789247449797907</c:v>
                </c:pt>
                <c:pt idx="1">
                  <c:v>0.06047783005230373</c:v>
                </c:pt>
                <c:pt idx="2">
                  <c:v>0.003096574414553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775710528004107</c:v>
                </c:pt>
                <c:pt idx="1">
                  <c:v>0.09714300733303545</c:v>
                </c:pt>
                <c:pt idx="2">
                  <c:v>0.10289658731694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28078817733991</c:v>
                </c:pt>
                <c:pt idx="1">
                  <c:v>0.5963446475195823</c:v>
                </c:pt>
                <c:pt idx="2">
                  <c:v>0.62162162162162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65024630541872</c:v>
                </c:pt>
                <c:pt idx="1">
                  <c:v>0.2485639686684073</c:v>
                </c:pt>
                <c:pt idx="2">
                  <c:v>0.272844272844272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827586206896552</c:v>
                </c:pt>
                <c:pt idx="1">
                  <c:v>0.06109660574412533</c:v>
                </c:pt>
                <c:pt idx="2">
                  <c:v>0.00386100386100386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241379310344828</c:v>
                </c:pt>
                <c:pt idx="1">
                  <c:v>0.09399477806788512</c:v>
                </c:pt>
                <c:pt idx="2">
                  <c:v>0.1016731016731016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06797826593049</c:v>
                </c:pt>
                <c:pt idx="1">
                  <c:v>0.6010331587291062</c:v>
                </c:pt>
                <c:pt idx="2">
                  <c:v>0.687824747677049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2812075849618514</c:v>
                </c:pt>
                <c:pt idx="1">
                  <c:v>0.038753699540081614</c:v>
                </c:pt>
                <c:pt idx="2">
                  <c:v>0.0044822936706289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565081414910766</c:v>
                </c:pt>
                <c:pt idx="1">
                  <c:v>0.3602131417308121</c:v>
                </c:pt>
                <c:pt idx="2">
                  <c:v>0.307692958652321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22994652406417</c:v>
                </c:pt>
                <c:pt idx="1">
                  <c:v>0.611972000965484</c:v>
                </c:pt>
                <c:pt idx="2">
                  <c:v>0.694475760992108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2441218911807146</c:v>
                </c:pt>
                <c:pt idx="1">
                  <c:v>0.03572290610668598</c:v>
                </c:pt>
                <c:pt idx="2">
                  <c:v>0.0039458850056369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4525931584755115</c:v>
                </c:pt>
                <c:pt idx="1">
                  <c:v>0.3523050929278301</c:v>
                </c:pt>
                <c:pt idx="2">
                  <c:v>0.301578354002254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7215332231969</c:v>
                </c:pt>
                <c:pt idx="1">
                  <c:v>0.626898699364491</c:v>
                </c:pt>
                <c:pt idx="2">
                  <c:v>0.699485902003791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654947219830762</c:v>
                </c:pt>
                <c:pt idx="1">
                  <c:v>0.23229925617526848</c:v>
                </c:pt>
                <c:pt idx="2">
                  <c:v>0.204835300072450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955464550806245</c:v>
                </c:pt>
                <c:pt idx="1">
                  <c:v>0.05368189011026207</c:v>
                </c:pt>
                <c:pt idx="2">
                  <c:v>0.0090661876358439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668055006166088</c:v>
                </c:pt>
                <c:pt idx="1">
                  <c:v>0.08712015434997843</c:v>
                </c:pt>
                <c:pt idx="2">
                  <c:v>0.086612610287914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91754122938531</c:v>
                </c:pt>
                <c:pt idx="1">
                  <c:v>0.6378259397223163</c:v>
                </c:pt>
                <c:pt idx="2">
                  <c:v>0.705600956747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286356821589207</c:v>
                </c:pt>
                <c:pt idx="1">
                  <c:v>0.23061293599729088</c:v>
                </c:pt>
                <c:pt idx="2">
                  <c:v>0.203109427944987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5997001499250375</c:v>
                </c:pt>
                <c:pt idx="1">
                  <c:v>0.04918726718591263</c:v>
                </c:pt>
                <c:pt idx="2">
                  <c:v>0.007773569862467610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19640179910045</c:v>
                </c:pt>
                <c:pt idx="1">
                  <c:v>0.0823738570944802</c:v>
                </c:pt>
                <c:pt idx="2">
                  <c:v>0.0835160454454853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8%</a:t>
                    </a:r>
                  </a:p>
                </c:rich>
              </c:tx>
              <c:showLegendKey val="0"/>
              <c:showVal val="1"/>
              <c:showCatName val="0"/>
              <c:showSerName val="0"/>
              <c:showPercent val="0"/>
              <c:showBubbleSize val="0"/>
            </c:dLbl>
            <c:dLbl>
              <c:idx val="1"/>
              <c:tx>
                <c:rich>
                  <a:bodyPr/>
                  <a:lstStyle/>
                  <a:p>
                    <a:r>
                      <a:rPr sz="800">
                        <a:solidFill>
                          <a:srgbClr val="FFFFFF"/>
                        </a:solidFill>
                        <a:latin typeface="Nexa Book"/>
                      </a:rPr>
                      <a:t>91%</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805451747243677</c:v>
                </c:pt>
                <c:pt idx="1">
                  <c:v>0.9059757232441726</c:v>
                </c:pt>
                <c:pt idx="2">
                  <c:v>0.70992931590939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45482527563231</c:v>
                </c:pt>
                <c:pt idx="1">
                  <c:v>0.09402427675582742</c:v>
                </c:pt>
                <c:pt idx="2">
                  <c:v>0.2900706840906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51076704039864</c:v>
                </c:pt>
                <c:pt idx="1">
                  <c:v>0.9312872975277068</c:v>
                </c:pt>
                <c:pt idx="2">
                  <c:v>0.768811685748124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489232959601353</c:v>
                </c:pt>
                <c:pt idx="1">
                  <c:v>0.06871270247229326</c:v>
                </c:pt>
                <c:pt idx="2">
                  <c:v>0.231188314251875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3%</a:t>
                    </a:r>
                  </a:p>
                </c:rich>
              </c:tx>
              <c:showLegendKey val="0"/>
              <c:showVal val="1"/>
              <c:showCatName val="0"/>
              <c:showSerName val="0"/>
              <c:showPercent val="0"/>
              <c:showBubbleSize val="0"/>
            </c:dLbl>
            <c:dLbl>
              <c:idx val="1"/>
              <c:tx>
                <c:rich>
                  <a:bodyPr/>
                  <a:lstStyle/>
                  <a:p>
                    <a:r>
                      <a:rPr sz="800">
                        <a:solidFill>
                          <a:srgbClr val="FFFFFF"/>
                        </a:solidFill>
                        <a:latin typeface="Nexa Book"/>
                      </a:rPr>
                      <a:t>89%</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266525225250049</c:v>
                </c:pt>
                <c:pt idx="1">
                  <c:v>0.8874220077025277</c:v>
                </c:pt>
                <c:pt idx="2">
                  <c:v>0.600574798670778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34747747499518</c:v>
                </c:pt>
                <c:pt idx="1">
                  <c:v>0.11257799229747228</c:v>
                </c:pt>
                <c:pt idx="2">
                  <c:v>0.399425201329221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96411092985318</c:v>
                </c:pt>
                <c:pt idx="1">
                  <c:v>0.9167862266857962</c:v>
                </c:pt>
                <c:pt idx="2">
                  <c:v>0.673157162726008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35889070146819</c:v>
                </c:pt>
                <c:pt idx="1">
                  <c:v>0.08321377331420374</c:v>
                </c:pt>
                <c:pt idx="2">
                  <c:v>0.3268428372739916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6%</a:t>
                    </a:r>
                  </a:p>
                </c:rich>
              </c:tx>
              <c:showLegendKey val="0"/>
              <c:showVal val="1"/>
              <c:showCatName val="0"/>
              <c:showSerName val="0"/>
              <c:showPercent val="0"/>
              <c:showBubbleSize val="0"/>
            </c:dLbl>
            <c:dLbl>
              <c:idx val="1"/>
              <c:tx>
                <c:rich>
                  <a:bodyPr/>
                  <a:lstStyle/>
                  <a:p>
                    <a:r>
                      <a:rPr sz="800">
                        <a:solidFill>
                          <a:srgbClr val="FFFFFF"/>
                        </a:solidFill>
                        <a:latin typeface="Nexa Book"/>
                      </a:rPr>
                      <a:t>89%</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562791079378757</c:v>
                </c:pt>
                <c:pt idx="1">
                  <c:v>0.8949315408386529</c:v>
                </c:pt>
                <c:pt idx="2">
                  <c:v>0.698560853372568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372089206212429</c:v>
                </c:pt>
                <c:pt idx="1">
                  <c:v>0.10506845916134708</c:v>
                </c:pt>
                <c:pt idx="2">
                  <c:v>0.3014391466274311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61038961038961</c:v>
                </c:pt>
                <c:pt idx="1">
                  <c:v>0.9222011385199241</c:v>
                </c:pt>
                <c:pt idx="2">
                  <c:v>0.763440860215053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96103896103896</c:v>
                </c:pt>
                <c:pt idx="1">
                  <c:v>0.07779886148007589</c:v>
                </c:pt>
                <c:pt idx="2">
                  <c:v>0.236559139784946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6%</a:t>
                    </a:r>
                  </a:p>
                </c:rich>
              </c:tx>
              <c:showLegendKey val="0"/>
              <c:showVal val="1"/>
              <c:showCatName val="0"/>
              <c:showSerName val="0"/>
              <c:showPercent val="0"/>
              <c:showBubbleSize val="0"/>
            </c:dLbl>
            <c:dLbl>
              <c:idx val="1"/>
              <c:tx>
                <c:rich>
                  <a:bodyPr/>
                  <a:lstStyle/>
                  <a:p>
                    <a:r>
                      <a:rPr sz="800">
                        <a:solidFill>
                          <a:srgbClr val="FFFFFF"/>
                        </a:solidFill>
                        <a:latin typeface="Nexa Book"/>
                      </a:rPr>
                      <a:t>88%</a:t>
                    </a:r>
                  </a:p>
                </c:rich>
              </c:tx>
              <c:showLegendKey val="0"/>
              <c:showVal val="1"/>
              <c:showCatName val="0"/>
              <c:showSerName val="0"/>
              <c:showPercent val="0"/>
              <c:showBubbleSize val="0"/>
            </c:dLbl>
            <c:dLbl>
              <c:idx val="2"/>
              <c:tx>
                <c:rich>
                  <a:bodyPr/>
                  <a:lstStyle/>
                  <a:p>
                    <a:r>
                      <a:rPr sz="800">
                        <a:solidFill>
                          <a:srgbClr val="FFFFFF"/>
                        </a:solidFill>
                        <a:latin typeface="Nexa Book"/>
                      </a:rPr>
                      <a:t>6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641168356341842</c:v>
                </c:pt>
                <c:pt idx="1">
                  <c:v>0.8844555468439613</c:v>
                </c:pt>
                <c:pt idx="2">
                  <c:v>0.659230678554280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588316436581585</c:v>
                </c:pt>
                <c:pt idx="1">
                  <c:v>0.11554445315603873</c:v>
                </c:pt>
                <c:pt idx="2">
                  <c:v>0.340769321445719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19505988953019</c:v>
                </c:pt>
                <c:pt idx="1">
                  <c:v>0.9151795714179048</c:v>
                </c:pt>
                <c:pt idx="2">
                  <c:v>0.7215390717969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04940110469807</c:v>
                </c:pt>
                <c:pt idx="1">
                  <c:v>0.08482042858209513</c:v>
                </c:pt>
                <c:pt idx="2">
                  <c:v>0.27846092820309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8%</a:t>
                    </a:r>
                  </a:p>
                </c:rich>
              </c:tx>
              <c:showLegendKey val="0"/>
              <c:showVal val="1"/>
              <c:showCatName val="0"/>
              <c:showSerName val="0"/>
              <c:showPercent val="0"/>
              <c:showBubbleSize val="0"/>
            </c:dLbl>
            <c:dLbl>
              <c:idx val="1"/>
              <c:tx>
                <c:rich>
                  <a:bodyPr/>
                  <a:lstStyle/>
                  <a:p>
                    <a:r>
                      <a:rPr sz="800">
                        <a:solidFill>
                          <a:srgbClr val="FFFFFF"/>
                        </a:solidFill>
                        <a:latin typeface="Nexa Book"/>
                      </a:rPr>
                      <a:t>89%</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787160805306896</c:v>
                </c:pt>
                <c:pt idx="1">
                  <c:v>0.8897400110357363</c:v>
                </c:pt>
                <c:pt idx="2">
                  <c:v>0.677037650430111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128391946931041</c:v>
                </c:pt>
                <c:pt idx="1">
                  <c:v>0.1102599889642637</c:v>
                </c:pt>
                <c:pt idx="2">
                  <c:v>0.322962349569888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2952670429874</c:v>
                </c:pt>
                <c:pt idx="1">
                  <c:v>0.9197530864197531</c:v>
                </c:pt>
                <c:pt idx="2">
                  <c:v>0.742306730047535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704732957012592</c:v>
                </c:pt>
                <c:pt idx="1">
                  <c:v>0.08024691358024691</c:v>
                </c:pt>
                <c:pt idx="2">
                  <c:v>0.2576932699524643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1%</a:t>
                    </a:r>
                  </a:p>
                </c:rich>
              </c:tx>
              <c:showLegendKey val="0"/>
              <c:showVal val="1"/>
              <c:showCatName val="0"/>
              <c:showSerName val="0"/>
              <c:showPercent val="0"/>
              <c:showBubbleSize val="0"/>
            </c:dLbl>
            <c:dLbl>
              <c:idx val="1"/>
              <c:tx>
                <c:rich>
                  <a:bodyPr/>
                  <a:lstStyle/>
                  <a:p>
                    <a:r>
                      <a:rPr sz="800">
                        <a:solidFill>
                          <a:srgbClr val="FFFFFF"/>
                        </a:solidFill>
                        <a:latin typeface="Nexa Book"/>
                      </a:rPr>
                      <a:t>50%</a:t>
                    </a:r>
                  </a:p>
                </c:rich>
              </c:tx>
              <c:showLegendKey val="0"/>
              <c:showVal val="1"/>
              <c:showCatName val="0"/>
              <c:showSerName val="0"/>
              <c:showPercent val="0"/>
              <c:showBubbleSize val="0"/>
            </c:dLbl>
            <c:dLbl>
              <c:idx val="2"/>
              <c:tx>
                <c:rich>
                  <a:bodyPr/>
                  <a:lstStyle/>
                  <a:p>
                    <a:r>
                      <a:rPr sz="800">
                        <a:solidFill>
                          <a:srgbClr val="FFFFFF"/>
                        </a:solidFill>
                        <a:latin typeface="Nexa Book"/>
                      </a:rPr>
                      <a:t>4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10802938940607</c:v>
                </c:pt>
                <c:pt idx="1">
                  <c:v>0.5038643705677182</c:v>
                </c:pt>
                <c:pt idx="2">
                  <c:v>0.47802800269905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50%</a:t>
                    </a:r>
                  </a:p>
                </c:rich>
              </c:tx>
              <c:showLegendKey val="0"/>
              <c:showVal val="1"/>
              <c:showCatName val="0"/>
              <c:showSerName val="0"/>
              <c:showPercent val="0"/>
              <c:showBubbleSize val="0"/>
            </c:dLbl>
            <c:dLbl>
              <c:idx val="2"/>
              <c:tx>
                <c:rich>
                  <a:bodyPr/>
                  <a:lstStyle/>
                  <a:p>
                    <a:r>
                      <a:rPr sz="800">
                        <a:solidFill>
                          <a:srgbClr val="FFFFFF"/>
                        </a:solidFill>
                        <a:latin typeface="Nexa Book"/>
                      </a:rPr>
                      <a:t>5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8919706105939303</c:v>
                </c:pt>
                <c:pt idx="1">
                  <c:v>0.49613562943228173</c:v>
                </c:pt>
                <c:pt idx="2">
                  <c:v>0.521971997300944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78480655182152</c:v>
                </c:pt>
                <c:pt idx="1">
                  <c:v>0.32364273204903676</c:v>
                </c:pt>
                <c:pt idx="2">
                  <c:v>0.283050847457627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821519344817849</c:v>
                </c:pt>
                <c:pt idx="1">
                  <c:v>0.6763572679509633</c:v>
                </c:pt>
                <c:pt idx="2">
                  <c:v>0.716949152542372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31740724328243</c:v>
                </c:pt>
                <c:pt idx="1">
                  <c:v>0.5885595340842332</c:v>
                </c:pt>
                <c:pt idx="2">
                  <c:v>0.628190648294556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535914273053218</c:v>
                </c:pt>
                <c:pt idx="1">
                  <c:v>0.2955054794421195</c:v>
                </c:pt>
                <c:pt idx="2">
                  <c:v>0.2227857978930940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146678483664345</c:v>
                </c:pt>
                <c:pt idx="1">
                  <c:v>0.11593498647364718</c:v>
                </c:pt>
                <c:pt idx="2">
                  <c:v>0.149023553812349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19078947368421</c:v>
                </c:pt>
                <c:pt idx="1">
                  <c:v>0.456198347107438</c:v>
                </c:pt>
                <c:pt idx="2">
                  <c:v>0.511415525114155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927631578947367</c:v>
                </c:pt>
                <c:pt idx="1">
                  <c:v>0.23305785123966943</c:v>
                </c:pt>
                <c:pt idx="2">
                  <c:v>0.15981735159817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388157894736843</c:v>
                </c:pt>
                <c:pt idx="1">
                  <c:v>0.3107438016528926</c:v>
                </c:pt>
                <c:pt idx="2">
                  <c:v>0.328767123287671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81589939447063</c:v>
                </c:pt>
                <c:pt idx="1">
                  <c:v>0.6524387430206267</c:v>
                </c:pt>
                <c:pt idx="2">
                  <c:v>0.546571966011545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9184100605529365</c:v>
                </c:pt>
                <c:pt idx="1">
                  <c:v>0.34756125697937335</c:v>
                </c:pt>
                <c:pt idx="2">
                  <c:v>0.4534280339884542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2610364683301344</c:v>
                </c:pt>
                <c:pt idx="1">
                  <c:v>0.4759036144578313</c:v>
                </c:pt>
                <c:pt idx="2">
                  <c:v>0.387878787878787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738963531669868</c:v>
                </c:pt>
                <c:pt idx="1">
                  <c:v>0.5240963855421686</c:v>
                </c:pt>
                <c:pt idx="2">
                  <c:v>0.612121212121212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7%</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44796853961402</c:v>
                </c:pt>
                <c:pt idx="1">
                  <c:v>0.5719218394412618</c:v>
                </c:pt>
                <c:pt idx="2">
                  <c:v>0.44635243960208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955203146038599</c:v>
                </c:pt>
                <c:pt idx="1">
                  <c:v>0.42807816055873815</c:v>
                </c:pt>
                <c:pt idx="2">
                  <c:v>0.55364756039791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27392739273927</c:v>
                </c:pt>
                <c:pt idx="1">
                  <c:v>0.40822784810126583</c:v>
                </c:pt>
                <c:pt idx="2">
                  <c:v>0.281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72607260726073</c:v>
                </c:pt>
                <c:pt idx="1">
                  <c:v>0.5917721518987341</c:v>
                </c:pt>
                <c:pt idx="2">
                  <c:v>0.718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5%</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88796211210858</c:v>
                </c:pt>
                <c:pt idx="1">
                  <c:v>0.5855979013873751</c:v>
                </c:pt>
                <c:pt idx="2">
                  <c:v>0.597567221510883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5%</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511203788789143</c:v>
                </c:pt>
                <c:pt idx="1">
                  <c:v>0.41440209861262495</c:v>
                </c:pt>
                <c:pt idx="2">
                  <c:v>0.40243277848911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220472440944884</c:v>
                </c:pt>
                <c:pt idx="1">
                  <c:v>0.43333333333333335</c:v>
                </c:pt>
                <c:pt idx="2">
                  <c:v>0.461538461538461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77952755905513</c:v>
                </c:pt>
                <c:pt idx="1">
                  <c:v>0.5666666666666667</c:v>
                </c:pt>
                <c:pt idx="2">
                  <c:v>0.538461538461538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5%</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75624741204741</c:v>
                </c:pt>
                <c:pt idx="1">
                  <c:v>0.5590587162334912</c:v>
                </c:pt>
                <c:pt idx="2">
                  <c:v>0.557112793041660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03440412627781</c:v>
                </c:pt>
                <c:pt idx="1">
                  <c:v>0.27705136668740005</c:v>
                </c:pt>
                <c:pt idx="2">
                  <c:v>0.266243280573391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209348461674786</c:v>
                </c:pt>
                <c:pt idx="1">
                  <c:v>0.16388991707910874</c:v>
                </c:pt>
                <c:pt idx="2">
                  <c:v>0.1766439263849484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170345906483573</c:v>
                </c:pt>
                <c:pt idx="1">
                  <c:v>0.4235269965099569</c:v>
                </c:pt>
                <c:pt idx="2">
                  <c:v>0.40587138863000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84025725708326</c:v>
                </c:pt>
                <c:pt idx="1">
                  <c:v>0.23650174502155616</c:v>
                </c:pt>
                <c:pt idx="2">
                  <c:v>0.232525629077353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989396836433164</c:v>
                </c:pt>
                <c:pt idx="1">
                  <c:v>0.33997125846848697</c:v>
                </c:pt>
                <c:pt idx="2">
                  <c:v>0.36160298229263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7%</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79540188715148</c:v>
                </c:pt>
                <c:pt idx="1">
                  <c:v>0.5722152429418199</c:v>
                </c:pt>
                <c:pt idx="2">
                  <c:v>0.4937780285705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5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120459811284852</c:v>
                </c:pt>
                <c:pt idx="1">
                  <c:v>0.42778475705818014</c:v>
                </c:pt>
                <c:pt idx="2">
                  <c:v>0.5062219714294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407288746495794</c:v>
                </c:pt>
                <c:pt idx="1">
                  <c:v>0.36863543788187375</c:v>
                </c:pt>
                <c:pt idx="2">
                  <c:v>0.31578947368421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59271125350422</c:v>
                </c:pt>
                <c:pt idx="1">
                  <c:v>0.6313645621181263</c:v>
                </c:pt>
                <c:pt idx="2">
                  <c:v>0.68421052631578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471892460066814</c:v>
                </c:pt>
                <c:pt idx="1">
                  <c:v>0.33069416518103634</c:v>
                </c:pt>
                <c:pt idx="2">
                  <c:v>0.295275338743263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218637586503522</c:v>
                </c:pt>
                <c:pt idx="1">
                  <c:v>0.15148264592383087</c:v>
                </c:pt>
                <c:pt idx="2">
                  <c:v>0.17285174877501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83815447584235</c:v>
                </c:pt>
                <c:pt idx="1">
                  <c:v>0.09730674231091588</c:v>
                </c:pt>
                <c:pt idx="2">
                  <c:v>0.1110116818951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362565450584543</c:v>
                </c:pt>
                <c:pt idx="1">
                  <c:v>0.420516446584217</c:v>
                </c:pt>
                <c:pt idx="2">
                  <c:v>0.42086123058653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615276425403008</c:v>
                </c:pt>
                <c:pt idx="1">
                  <c:v>0.18411558135432868</c:v>
                </c:pt>
                <c:pt idx="2">
                  <c:v>0.1566719125320964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29984853402575</c:v>
                </c:pt>
                <c:pt idx="1">
                  <c:v>0.1282651572246364</c:v>
                </c:pt>
                <c:pt idx="2">
                  <c:v>0.1404787542450095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17261711565509</c:v>
                </c:pt>
                <c:pt idx="1">
                  <c:v>0.19044946522777928</c:v>
                </c:pt>
                <c:pt idx="2">
                  <c:v>0.212001987906899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191225792491615</c:v>
                </c:pt>
                <c:pt idx="1">
                  <c:v>0.49716979619325563</c:v>
                </c:pt>
                <c:pt idx="2">
                  <c:v>0.490847345315994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6487982826692</c:v>
                </c:pt>
                <c:pt idx="1">
                  <c:v>0.28934548777269226</c:v>
                </c:pt>
                <c:pt idx="2">
                  <c:v>0.29290284305705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1%</a:t>
                    </a:r>
                  </a:p>
                </c:rich>
              </c:tx>
              <c:showLegendKey val="0"/>
              <c:showVal val="1"/>
              <c:showCatName val="0"/>
              <c:showSerName val="0"/>
              <c:showPercent val="0"/>
              <c:showBubbleSize val="0"/>
            </c:dLbl>
            <c:dLbl>
              <c:idx val="1"/>
              <c:tx>
                <c:rich>
                  <a:bodyPr/>
                  <a:lstStyle/>
                  <a:p>
                    <a:r>
                      <a:rPr sz="800">
                        <a:solidFill>
                          <a:srgbClr val="FFFFFF"/>
                        </a:solidFill>
                        <a:latin typeface="Nexa Book"/>
                      </a:rPr>
                      <a:t>71%</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135120171733079</c:v>
                </c:pt>
                <c:pt idx="1">
                  <c:v>0.7106545122273078</c:v>
                </c:pt>
                <c:pt idx="2">
                  <c:v>0.707097156942949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47100407249256</c:v>
                </c:pt>
                <c:pt idx="1">
                  <c:v>0.28977733347020734</c:v>
                </c:pt>
                <c:pt idx="2">
                  <c:v>0.296186602861020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152899592750743</c:v>
                </c:pt>
                <c:pt idx="1">
                  <c:v>0.7102226665297925</c:v>
                </c:pt>
                <c:pt idx="2">
                  <c:v>0.7038133971389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84609865228016</c:v>
                </c:pt>
                <c:pt idx="1">
                  <c:v>0.3173274905894935</c:v>
                </c:pt>
                <c:pt idx="2">
                  <c:v>0.2831521260196503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5835335846911</c:v>
                </c:pt>
                <c:pt idx="1">
                  <c:v>0.15231298711933045</c:v>
                </c:pt>
                <c:pt idx="2">
                  <c:v>0.1685183316751576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863493444165408</c:v>
                </c:pt>
                <c:pt idx="1">
                  <c:v>0.09910597086402965</c:v>
                </c:pt>
                <c:pt idx="2">
                  <c:v>0.1136286716671626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4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4332054545085325</c:v>
                </c:pt>
                <c:pt idx="1">
                  <c:v>0.43125355142714644</c:v>
                </c:pt>
                <c:pt idx="2">
                  <c:v>0.434700870638029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005249830152553</c:v>
                </c:pt>
                <c:pt idx="1">
                  <c:v>0.16655540720961282</c:v>
                </c:pt>
                <c:pt idx="2">
                  <c:v>0.14115898959881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17114446297326</c:v>
                </c:pt>
                <c:pt idx="1">
                  <c:v>0.1259086188992731</c:v>
                </c:pt>
                <c:pt idx="2">
                  <c:v>0.1359583952451708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393490210610834</c:v>
                </c:pt>
                <c:pt idx="1">
                  <c:v>0.1916258715324136</c:v>
                </c:pt>
                <c:pt idx="2">
                  <c:v>0.2150817236255572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368414551293929</c:v>
                </c:pt>
                <c:pt idx="1">
                  <c:v>0.5159101023587005</c:v>
                </c:pt>
                <c:pt idx="2">
                  <c:v>0.50780089153046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90487452371567</c:v>
                </c:pt>
                <c:pt idx="1">
                  <c:v>0.41256376399958206</c:v>
                </c:pt>
                <c:pt idx="2">
                  <c:v>0.397888634792320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376241154719672</c:v>
                </c:pt>
                <c:pt idx="1">
                  <c:v>0.16207692526906745</c:v>
                </c:pt>
                <c:pt idx="2">
                  <c:v>0.1682710205818220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34044709724647</c:v>
                </c:pt>
                <c:pt idx="1">
                  <c:v>0.08870439152283155</c:v>
                </c:pt>
                <c:pt idx="2">
                  <c:v>0.09195341168962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0084839611840006</c:v>
                </c:pt>
                <c:pt idx="1">
                  <c:v>0.33665491920851903</c:v>
                </c:pt>
                <c:pt idx="2">
                  <c:v>0.3418869329362335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758620689655173</c:v>
                </c:pt>
                <c:pt idx="1">
                  <c:v>0.23711340206185566</c:v>
                </c:pt>
                <c:pt idx="2">
                  <c:v>0.22312373225152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724137931034483</c:v>
                </c:pt>
                <c:pt idx="1">
                  <c:v>0.14591593973037273</c:v>
                </c:pt>
                <c:pt idx="2">
                  <c:v>0.158215010141987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448275862068966</c:v>
                </c:pt>
                <c:pt idx="1">
                  <c:v>0.19191118160190326</c:v>
                </c:pt>
                <c:pt idx="2">
                  <c:v>0.186612576064908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606896551724138</c:v>
                </c:pt>
                <c:pt idx="1">
                  <c:v>0.42505947660586835</c:v>
                </c:pt>
                <c:pt idx="2">
                  <c:v>0.4320486815415821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41590845136479</c:v>
                </c:pt>
                <c:pt idx="1">
                  <c:v>0.33215878549373934</c:v>
                </c:pt>
                <c:pt idx="2">
                  <c:v>0.297893691154836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93395648741765</c:v>
                </c:pt>
                <c:pt idx="1">
                  <c:v>0.15605660844695995</c:v>
                </c:pt>
                <c:pt idx="2">
                  <c:v>0.17862330332444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295721357589197</c:v>
                </c:pt>
                <c:pt idx="1">
                  <c:v>0.09065997547726262</c:v>
                </c:pt>
                <c:pt idx="2">
                  <c:v>0.1045019530719879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335441370362837</c:v>
                </c:pt>
                <c:pt idx="1">
                  <c:v>0.4211246305820381</c:v>
                </c:pt>
                <c:pt idx="2">
                  <c:v>0.41898105244872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391841200375118</c:v>
                </c:pt>
                <c:pt idx="1">
                  <c:v>0.18315892970011938</c:v>
                </c:pt>
                <c:pt idx="2">
                  <c:v>0.1579827089337175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35151609878087</c:v>
                </c:pt>
                <c:pt idx="1">
                  <c:v>0.1298780345061685</c:v>
                </c:pt>
                <c:pt idx="2">
                  <c:v>0.142997118155619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63277586745858</c:v>
                </c:pt>
                <c:pt idx="1">
                  <c:v>0.17964744715218767</c:v>
                </c:pt>
                <c:pt idx="2">
                  <c:v>0.201325648414985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262386683338544</c:v>
                </c:pt>
                <c:pt idx="1">
                  <c:v>0.5073155886415245</c:v>
                </c:pt>
                <c:pt idx="2">
                  <c:v>0.497694524495677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914465842344863</c:v>
                </c:pt>
                <c:pt idx="1">
                  <c:v>0.31512073244900307</c:v>
                </c:pt>
                <c:pt idx="2">
                  <c:v>0.2648105839222145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90899429868022</c:v>
                </c:pt>
                <c:pt idx="1">
                  <c:v>0.10893042063218107</c:v>
                </c:pt>
                <c:pt idx="2">
                  <c:v>0.1202380319855480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8%</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919463472778711</c:v>
                </c:pt>
                <c:pt idx="1">
                  <c:v>0.5759488469188159</c:v>
                </c:pt>
                <c:pt idx="2">
                  <c:v>0.61495138409223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090452261306533</c:v>
                </c:pt>
                <c:pt idx="1">
                  <c:v>0.18306636155606407</c:v>
                </c:pt>
                <c:pt idx="2">
                  <c:v>0.1533101045296167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381909547738693</c:v>
                </c:pt>
                <c:pt idx="1">
                  <c:v>0.18993135011441648</c:v>
                </c:pt>
                <c:pt idx="2">
                  <c:v>0.2125435540069686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552763819095477</c:v>
                </c:pt>
                <c:pt idx="1">
                  <c:v>0.6270022883295194</c:v>
                </c:pt>
                <c:pt idx="2">
                  <c:v>0.634146341463414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21521226985449</c:v>
                </c:pt>
                <c:pt idx="1">
                  <c:v>0.3124328646308665</c:v>
                </c:pt>
                <c:pt idx="2">
                  <c:v>0.271836978735796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11507869158369</c:v>
                </c:pt>
                <c:pt idx="1">
                  <c:v>0.17322742434399155</c:v>
                </c:pt>
                <c:pt idx="2">
                  <c:v>0.145151189491344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277260651745883</c:v>
                </c:pt>
                <c:pt idx="1">
                  <c:v>0.10027904084253374</c:v>
                </c:pt>
                <c:pt idx="2">
                  <c:v>0.120923244240676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3392448386815935</c:v>
                </c:pt>
                <c:pt idx="1">
                  <c:v>0.41406067018260817</c:v>
                </c:pt>
                <c:pt idx="2">
                  <c:v>0.462088587532182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395014521553944</c:v>
                </c:pt>
                <c:pt idx="1">
                  <c:v>0.3478970726272433</c:v>
                </c:pt>
                <c:pt idx="2">
                  <c:v>0.294123598537082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742535850638137</c:v>
                </c:pt>
                <c:pt idx="1">
                  <c:v>0.11359955965761784</c:v>
                </c:pt>
                <c:pt idx="2">
                  <c:v>0.1375869356676059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4%</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686244962780791</c:v>
                </c:pt>
                <c:pt idx="1">
                  <c:v>0.5385033677151388</c:v>
                </c:pt>
                <c:pt idx="2">
                  <c:v>0.568289465795311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912529744810043</c:v>
                </c:pt>
                <c:pt idx="1">
                  <c:v>0.19899459356919283</c:v>
                </c:pt>
                <c:pt idx="2">
                  <c:v>0.1611675126903553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87363584147042</c:v>
                </c:pt>
                <c:pt idx="1">
                  <c:v>0.2097126055202504</c:v>
                </c:pt>
                <c:pt idx="2">
                  <c:v>0.243401015228426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221383441371954</c:v>
                </c:pt>
                <c:pt idx="1">
                  <c:v>0.5912928009105567</c:v>
                </c:pt>
                <c:pt idx="2">
                  <c:v>0.595431472081218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79245067852663</c:v>
                </c:pt>
                <c:pt idx="1">
                  <c:v>0.32144163817842974</c:v>
                </c:pt>
                <c:pt idx="2">
                  <c:v>0.292519371760106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226071007716577</c:v>
                </c:pt>
                <c:pt idx="1">
                  <c:v>0.11857013822988006</c:v>
                </c:pt>
                <c:pt idx="2">
                  <c:v>0.1284291685014794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79814783137568</c:v>
                </c:pt>
                <c:pt idx="1">
                  <c:v>0.5599882235916903</c:v>
                </c:pt>
                <c:pt idx="2">
                  <c:v>0.57905145973841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924</c:v>
                </c:pt>
                <c:pt idx="1">
                  <c:v>0.005608</c:v>
                </c:pt>
                <c:pt idx="2">
                  <c:v>0.0018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889</c:v>
                </c:pt>
                <c:pt idx="1">
                  <c:v>0.001057</c:v>
                </c:pt>
                <c:pt idx="2">
                  <c:v>0.00037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585</c:v>
                </c:pt>
                <c:pt idx="1">
                  <c:v>0.003673</c:v>
                </c:pt>
                <c:pt idx="2">
                  <c:v>0.0016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975434678577125</c:v>
                </c:pt>
                <c:pt idx="1">
                  <c:v>0.18107242897158862</c:v>
                </c:pt>
                <c:pt idx="2">
                  <c:v>0.1613242249080399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236401339926623</c:v>
                </c:pt>
                <c:pt idx="1">
                  <c:v>0.2189875950380152</c:v>
                </c:pt>
                <c:pt idx="2">
                  <c:v>0.2335785601681555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178816398149626</c:v>
                </c:pt>
                <c:pt idx="1">
                  <c:v>0.5999399759903962</c:v>
                </c:pt>
                <c:pt idx="2">
                  <c:v>0.605097214923804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66688</c:v>
                </c:pt>
                <c:pt idx="1">
                  <c:v>0.72838</c:v>
                </c:pt>
                <c:pt idx="2">
                  <c:v>0.2384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0155</c:v>
                </c:pt>
                <c:pt idx="1">
                  <c:v>0.054486</c:v>
                </c:pt>
                <c:pt idx="2">
                  <c:v>0.02002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53565</c:v>
                </c:pt>
                <c:pt idx="1">
                  <c:v>0.307401</c:v>
                </c:pt>
                <c:pt idx="2">
                  <c:v>0.13185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054</c:v>
                </c:pt>
                <c:pt idx="1">
                  <c:v>0.006979</c:v>
                </c:pt>
                <c:pt idx="2">
                  <c:v>0.00249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684</c:v>
                </c:pt>
                <c:pt idx="1">
                  <c:v>0.000668</c:v>
                </c:pt>
                <c:pt idx="2">
                  <c:v>0.0003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854</c:v>
                </c:pt>
                <c:pt idx="1">
                  <c:v>0.002465</c:v>
                </c:pt>
                <c:pt idx="2">
                  <c:v>0.0010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14379</c:v>
                </c:pt>
                <c:pt idx="1">
                  <c:v>0.894749</c:v>
                </c:pt>
                <c:pt idx="2">
                  <c:v>0.3162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703</c:v>
                </c:pt>
                <c:pt idx="1">
                  <c:v>0.035066</c:v>
                </c:pt>
                <c:pt idx="2">
                  <c:v>0.0163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0336</c:v>
                </c:pt>
                <c:pt idx="1">
                  <c:v>0.220278</c:v>
                </c:pt>
                <c:pt idx="2">
                  <c:v>0.09152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154</c:v>
                </c:pt>
                <c:pt idx="1">
                  <c:v>0.003422</c:v>
                </c:pt>
                <c:pt idx="2">
                  <c:v>0.0013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697</c:v>
                </c:pt>
                <c:pt idx="1">
                  <c:v>0.000371</c:v>
                </c:pt>
                <c:pt idx="2">
                  <c:v>0.00013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539</c:v>
                </c:pt>
                <c:pt idx="1">
                  <c:v>0.000662</c:v>
                </c:pt>
                <c:pt idx="2">
                  <c:v>0.00018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559</c:v>
                </c:pt>
                <c:pt idx="1">
                  <c:v>0.001427</c:v>
                </c:pt>
                <c:pt idx="2">
                  <c:v>0.00051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8856</c:v>
                </c:pt>
                <c:pt idx="1">
                  <c:v>0.45486</c:v>
                </c:pt>
                <c:pt idx="2">
                  <c:v>0.1797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761</c:v>
                </c:pt>
                <c:pt idx="1">
                  <c:v>0.033122</c:v>
                </c:pt>
                <c:pt idx="2">
                  <c:v>0.01111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0095</c:v>
                </c:pt>
                <c:pt idx="1">
                  <c:v>0.034752</c:v>
                </c:pt>
                <c:pt idx="2">
                  <c:v>0.00980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0744</c:v>
                </c:pt>
                <c:pt idx="1">
                  <c:v>0.105704</c:v>
                </c:pt>
                <c:pt idx="2">
                  <c:v>0.0355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82496661339405</c:v>
                </c:pt>
                <c:pt idx="1">
                  <c:v>0.31565240391462696</c:v>
                </c:pt>
                <c:pt idx="2">
                  <c:v>0.29696205890156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517503338660594</c:v>
                </c:pt>
                <c:pt idx="1">
                  <c:v>0.684347596085373</c:v>
                </c:pt>
                <c:pt idx="2">
                  <c:v>0.70303794109843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554347826086956</c:v>
                </c:pt>
                <c:pt idx="1">
                  <c:v>0.2345475910693302</c:v>
                </c:pt>
                <c:pt idx="2">
                  <c:v>0.235668789808917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244565217391306</c:v>
                </c:pt>
                <c:pt idx="1">
                  <c:v>0.7654524089306698</c:v>
                </c:pt>
                <c:pt idx="2">
                  <c:v>0.764331210191082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7245</c:v>
                </c:pt>
                <c:pt idx="1">
                  <c:v>0.03204</c:v>
                </c:pt>
                <c:pt idx="2">
                  <c:v>0.01109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692</c:v>
                </c:pt>
                <c:pt idx="1">
                  <c:v>0.008526</c:v>
                </c:pt>
                <c:pt idx="2">
                  <c:v>0.00305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7764</c:v>
                </c:pt>
                <c:pt idx="1">
                  <c:v>0.022377</c:v>
                </c:pt>
                <c:pt idx="2">
                  <c:v>0.0095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5.8</a:t>
                    </a:r>
                  </a:p>
                </c:rich>
              </c:tx>
              <c:showLegendKey val="0"/>
              <c:showVal val="1"/>
              <c:showCatName val="0"/>
              <c:showSerName val="0"/>
              <c:showPercent val="0"/>
              <c:showBubbleSize val="0"/>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837489</c:v>
                </c:pt>
                <c:pt idx="1">
                  <c:v>4.151259</c:v>
                </c:pt>
                <c:pt idx="2">
                  <c:v>1.43344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28</c:v>
                </c:pt>
                <c:pt idx="1">
                  <c:v>0.437571</c:v>
                </c:pt>
                <c:pt idx="2">
                  <c:v>0.1601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985024</c:v>
                </c:pt>
                <c:pt idx="1">
                  <c:v>1.66062</c:v>
                </c:pt>
                <c:pt idx="2">
                  <c:v>0.6706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592</c:v>
                </c:pt>
                <c:pt idx="1">
                  <c:v>0.005763</c:v>
                </c:pt>
                <c:pt idx="2">
                  <c:v>0.0020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12</c:v>
                </c:pt>
                <c:pt idx="1">
                  <c:v>0.001307</c:v>
                </c:pt>
                <c:pt idx="2">
                  <c:v>0.00043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045</c:v>
                </c:pt>
                <c:pt idx="1">
                  <c:v>0.00252</c:v>
                </c:pt>
                <c:pt idx="2">
                  <c:v>0.0010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8067</c:v>
                </c:pt>
                <c:pt idx="1">
                  <c:v>0.75483</c:v>
                </c:pt>
                <c:pt idx="2">
                  <c:v>0.2629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238</c:v>
                </c:pt>
                <c:pt idx="1">
                  <c:v>0.067457</c:v>
                </c:pt>
                <c:pt idx="2">
                  <c:v>0.02353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9847</c:v>
                </c:pt>
                <c:pt idx="1">
                  <c:v>0.188883</c:v>
                </c:pt>
                <c:pt idx="2">
                  <c:v>0.07784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351990828271576</c:v>
                </c:pt>
                <c:pt idx="1">
                  <c:v>0.319009404122473</c:v>
                </c:pt>
                <c:pt idx="2">
                  <c:v>0.313889398088359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007328090119154</c:v>
                </c:pt>
                <c:pt idx="1">
                  <c:v>0.2724132379057889</c:v>
                </c:pt>
                <c:pt idx="2">
                  <c:v>0.27531333014534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598743996700916</c:v>
                </c:pt>
                <c:pt idx="1">
                  <c:v>0.15308179057660615</c:v>
                </c:pt>
                <c:pt idx="2">
                  <c:v>0.1615002717776530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604193708490835</c:v>
                </c:pt>
                <c:pt idx="1">
                  <c:v>0.25549556739513196</c:v>
                </c:pt>
                <c:pt idx="2">
                  <c:v>0.2492969999886402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671844903315435</c:v>
                </c:pt>
                <c:pt idx="1">
                  <c:v>0.33680632918051456</c:v>
                </c:pt>
                <c:pt idx="2">
                  <c:v>0.324687968536616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579680837823554</c:v>
                </c:pt>
                <c:pt idx="1">
                  <c:v>0.2317126664067287</c:v>
                </c:pt>
                <c:pt idx="2">
                  <c:v>0.2390330113052970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814874794796822</c:v>
                </c:pt>
                <c:pt idx="1">
                  <c:v>0.14463563295931145</c:v>
                </c:pt>
                <c:pt idx="2">
                  <c:v>0.152643179389485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8933599464064186</c:v>
                </c:pt>
                <c:pt idx="1">
                  <c:v>0.2868453714534453</c:v>
                </c:pt>
                <c:pt idx="2">
                  <c:v>0.283635840768600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0.9999999999999999</c:v>
                </c:pt>
                <c:pt idx="2">
                  <c:v>1.00000000000000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11</c:v>
                </c:pt>
                <c:pt idx="1">
                  <c:v>0.000646</c:v>
                </c:pt>
                <c:pt idx="2">
                  <c:v>0.00023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1</c:v>
                </c:pt>
                <c:pt idx="1">
                  <c:v>0.000265</c:v>
                </c:pt>
                <c:pt idx="2">
                  <c:v>7.5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67</c:v>
                </c:pt>
                <c:pt idx="1">
                  <c:v>0.000235</c:v>
                </c:pt>
                <c:pt idx="2">
                  <c:v>6.6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39</c:v>
                </c:pt>
                <c:pt idx="1">
                  <c:v>0.000415</c:v>
                </c:pt>
                <c:pt idx="2">
                  <c:v>0.0001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3199</c:v>
                </c:pt>
                <c:pt idx="1">
                  <c:v>0.084116</c:v>
                </c:pt>
                <c:pt idx="2">
                  <c:v>0.0301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43</c:v>
                </c:pt>
                <c:pt idx="1">
                  <c:v>0.012532</c:v>
                </c:pt>
                <c:pt idx="2">
                  <c:v>0.00360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9605</c:v>
                </c:pt>
                <c:pt idx="1">
                  <c:v>0.012677</c:v>
                </c:pt>
                <c:pt idx="2">
                  <c:v>0.0035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1582</c:v>
                </c:pt>
                <c:pt idx="1">
                  <c:v>0.031475</c:v>
                </c:pt>
                <c:pt idx="2">
                  <c:v>0.00968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076317900475866</c:v>
                </c:pt>
                <c:pt idx="1">
                  <c:v>0.11428266521116329</c:v>
                </c:pt>
                <c:pt idx="2">
                  <c:v>0.1176066999046792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77350153591894</c:v>
                </c:pt>
                <c:pt idx="1">
                  <c:v>0.07031830032406633</c:v>
                </c:pt>
                <c:pt idx="2">
                  <c:v>0.072333572337560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796828489642281</c:v>
                </c:pt>
                <c:pt idx="1">
                  <c:v>0.03596305374750625</c:v>
                </c:pt>
                <c:pt idx="2">
                  <c:v>0.0332035465588834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260779851037154</c:v>
                </c:pt>
                <c:pt idx="1">
                  <c:v>0.033519902338322534</c:v>
                </c:pt>
                <c:pt idx="2">
                  <c:v>0.03434971768941002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082309679877856</c:v>
                </c:pt>
                <c:pt idx="1">
                  <c:v>0.03286966694024452</c:v>
                </c:pt>
                <c:pt idx="2">
                  <c:v>0.0350748214576226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167585898073802</c:v>
                </c:pt>
                <c:pt idx="1">
                  <c:v>0.03133251553084891</c:v>
                </c:pt>
                <c:pt idx="2">
                  <c:v>0.03066386677178692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8322662712529357</c:v>
                </c:pt>
                <c:pt idx="1">
                  <c:v>0.028396190872514875</c:v>
                </c:pt>
                <c:pt idx="2">
                  <c:v>0.02825480347037486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413036035760422</c:v>
                </c:pt>
                <c:pt idx="1">
                  <c:v>0.02662691605581327</c:v>
                </c:pt>
                <c:pt idx="2">
                  <c:v>0.02304627543636469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5257516284950281</c:v>
                </c:pt>
                <c:pt idx="1">
                  <c:v>0.005173194907955903</c:v>
                </c:pt>
                <c:pt idx="2">
                  <c:v>0.00443044963143224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243950652397714</c:v>
                </c:pt>
                <c:pt idx="1">
                  <c:v>0.6215175940715643</c:v>
                </c:pt>
                <c:pt idx="2">
                  <c:v>0.62103624674188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217305469793548</c:v>
                </c:pt>
                <c:pt idx="1">
                  <c:v>0.17292864134912805</c:v>
                </c:pt>
                <c:pt idx="2">
                  <c:v>0.173571557662352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9878327744389877</c:v>
                </c:pt>
                <c:pt idx="1">
                  <c:v>0.020233737356441937</c:v>
                </c:pt>
                <c:pt idx="2">
                  <c:v>0.02079052138949214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0115655469328712</c:v>
                </c:pt>
                <c:pt idx="1">
                  <c:v>0.00923657166625324</c:v>
                </c:pt>
                <c:pt idx="2">
                  <c:v>0.00819598056557304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827138954830122</c:v>
                </c:pt>
                <c:pt idx="1">
                  <c:v>0.13740080237050054</c:v>
                </c:pt>
                <c:pt idx="2">
                  <c:v>0.1478855163993805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6990161581877916</c:v>
                </c:pt>
                <c:pt idx="1">
                  <c:v>0.007195538112468775</c:v>
                </c:pt>
                <c:pt idx="2">
                  <c:v>0.00742577551811223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3227516819574596</c:v>
                </c:pt>
                <c:pt idx="1">
                  <c:v>0.04132083999663097</c:v>
                </c:pt>
                <c:pt idx="2">
                  <c:v>0.0390335806135865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970843955218973</c:v>
                </c:pt>
                <c:pt idx="1">
                  <c:v>0.03773139457053181</c:v>
                </c:pt>
                <c:pt idx="2">
                  <c:v>0.03536701810274519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598804642712705</c:v>
                </c:pt>
                <c:pt idx="1">
                  <c:v>0.027106867509807186</c:v>
                </c:pt>
                <c:pt idx="2">
                  <c:v>0.02415504328197353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4895825618240315</c:v>
                </c:pt>
                <c:pt idx="1">
                  <c:v>0.0013839687186929493</c:v>
                </c:pt>
                <c:pt idx="2">
                  <c:v>0.001165616777222484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485470673818656</c:v>
                </c:pt>
                <c:pt idx="1">
                  <c:v>0.5454616383495445</c:v>
                </c:pt>
                <c:pt idx="2">
                  <c:v>0.542409389689561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9</c:v>
                </c:pt>
                <c:pt idx="1">
                  <c:v>0.000408</c:v>
                </c:pt>
                <c:pt idx="2">
                  <c:v>0.0001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27</c:v>
                </c:pt>
                <c:pt idx="1">
                  <c:v>0.0001</c:v>
                </c:pt>
                <c:pt idx="2">
                  <c:v>4.1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459</c:v>
                </c:pt>
                <c:pt idx="1">
                  <c:v>0.000395</c:v>
                </c:pt>
                <c:pt idx="2">
                  <c:v>0.0001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44765061176093</c:v>
                </c:pt>
                <c:pt idx="1">
                  <c:v>0.2973095441785637</c:v>
                </c:pt>
                <c:pt idx="2">
                  <c:v>0.2409067593566762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141727757981629</c:v>
                </c:pt>
                <c:pt idx="1">
                  <c:v>0.08191483574900728</c:v>
                </c:pt>
                <c:pt idx="2">
                  <c:v>0.0722227411726531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8387773960819116</c:v>
                </c:pt>
                <c:pt idx="1">
                  <c:v>0.0552260480695213</c:v>
                </c:pt>
                <c:pt idx="2">
                  <c:v>0.073593589705771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064725075196619</c:v>
                </c:pt>
                <c:pt idx="1">
                  <c:v>0.05942195255026267</c:v>
                </c:pt>
                <c:pt idx="2">
                  <c:v>0.0672920292491388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89383631824957</c:v>
                </c:pt>
                <c:pt idx="1">
                  <c:v>0.03573136980498234</c:v>
                </c:pt>
                <c:pt idx="2">
                  <c:v>0.0393379448907418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5089173294697955</c:v>
                </c:pt>
                <c:pt idx="1">
                  <c:v>0.0368832448987329</c:v>
                </c:pt>
                <c:pt idx="2">
                  <c:v>0.0425356355066977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567233772980316</c:v>
                </c:pt>
                <c:pt idx="1">
                  <c:v>0.033814490087577455</c:v>
                </c:pt>
                <c:pt idx="2">
                  <c:v>0.0389134980645880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19689981492087</c:v>
                </c:pt>
                <c:pt idx="1">
                  <c:v>0.028471161089435156</c:v>
                </c:pt>
                <c:pt idx="2">
                  <c:v>0.03243003182531800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15985124677734</c:v>
                </c:pt>
                <c:pt idx="1">
                  <c:v>0.028586876074525727</c:v>
                </c:pt>
                <c:pt idx="2">
                  <c:v>0.02804995362221938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4072553592116694</c:v>
                </c:pt>
                <c:pt idx="1">
                  <c:v>0.3426404774973915</c:v>
                </c:pt>
                <c:pt idx="2">
                  <c:v>0.364717816606195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514845230574859</c:v>
                </c:pt>
                <c:pt idx="1">
                  <c:v>0.1702840274755426</c:v>
                </c:pt>
                <c:pt idx="2">
                  <c:v>0.129019750946494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27816382396294</c:v>
                </c:pt>
                <c:pt idx="1">
                  <c:v>0.07068518553560278</c:v>
                </c:pt>
                <c:pt idx="2">
                  <c:v>0.0580896775076403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944198778690251</c:v>
                </c:pt>
                <c:pt idx="1">
                  <c:v>0.04713607205707041</c:v>
                </c:pt>
                <c:pt idx="2">
                  <c:v>0.0648633854855631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48157506843546</c:v>
                </c:pt>
                <c:pt idx="1">
                  <c:v>0.10736654871610499</c:v>
                </c:pt>
                <c:pt idx="2">
                  <c:v>0.1166126898690872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1596125500105284</c:v>
                </c:pt>
                <c:pt idx="1">
                  <c:v>0.017011372452551705</c:v>
                </c:pt>
                <c:pt idx="2">
                  <c:v>0.0187246271039547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781217098336495</c:v>
                </c:pt>
                <c:pt idx="1">
                  <c:v>0.05009745113251462</c:v>
                </c:pt>
                <c:pt idx="2">
                  <c:v>0.0559458103361766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177511054958939</c:v>
                </c:pt>
                <c:pt idx="1">
                  <c:v>0.045584422956837664</c:v>
                </c:pt>
                <c:pt idx="2">
                  <c:v>0.0501300004561419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53400715940197935</c:v>
                </c:pt>
                <c:pt idx="1">
                  <c:v>0.004323802675648571</c:v>
                </c:pt>
                <c:pt idx="2">
                  <c:v>0.00494914017242165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1554011370814908</c:v>
                </c:pt>
                <c:pt idx="1">
                  <c:v>0.017976422502696463</c:v>
                </c:pt>
                <c:pt idx="2">
                  <c:v>0.01840532773799206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767656348704991</c:v>
                </c:pt>
                <c:pt idx="1">
                  <c:v>0.4695346944954302</c:v>
                </c:pt>
                <c:pt idx="2">
                  <c:v>0.483259590384527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372632705277774</c:v>
                </c:pt>
                <c:pt idx="1">
                  <c:v>0.30368520152393036</c:v>
                </c:pt>
                <c:pt idx="2">
                  <c:v>0.313888850223002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8867043251697705</c:v>
                </c:pt>
                <c:pt idx="1">
                  <c:v>0.07389476052105644</c:v>
                </c:pt>
                <c:pt idx="2">
                  <c:v>0.0804600712853386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509867782493656</c:v>
                </c:pt>
                <c:pt idx="1">
                  <c:v>0.06868324116925209</c:v>
                </c:pt>
                <c:pt idx="2">
                  <c:v>0.0629580713492056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9663525278893025</c:v>
                </c:pt>
                <c:pt idx="1">
                  <c:v>0.03675174269960204</c:v>
                </c:pt>
                <c:pt idx="2">
                  <c:v>0.0454986493778294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5813152586989194</c:v>
                </c:pt>
                <c:pt idx="1">
                  <c:v>0.033281729229127</c:v>
                </c:pt>
                <c:pt idx="2">
                  <c:v>0.038004927580613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02173178959945</c:v>
                </c:pt>
                <c:pt idx="1">
                  <c:v>0.033281198686588895</c:v>
                </c:pt>
                <c:pt idx="2">
                  <c:v>0.02783370684579980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986023961108526</c:v>
                </c:pt>
                <c:pt idx="1">
                  <c:v>0.02181511335306598</c:v>
                </c:pt>
                <c:pt idx="2">
                  <c:v>0.02081161788896813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6891437002994213</c:v>
                </c:pt>
                <c:pt idx="1">
                  <c:v>0.0312049204637154</c:v>
                </c:pt>
                <c:pt idx="2">
                  <c:v>0.02481067134805930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702628391183067</c:v>
                </c:pt>
                <c:pt idx="1">
                  <c:v>0.02664172409347523</c:v>
                </c:pt>
                <c:pt idx="2">
                  <c:v>0.02925515582306890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7122945285982045</c:v>
                </c:pt>
                <c:pt idx="1">
                  <c:v>0.3707603682601866</c:v>
                </c:pt>
                <c:pt idx="2">
                  <c:v>0.356478278278114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159767504334872</c:v>
                </c:pt>
                <c:pt idx="1">
                  <c:v>0.15204867628972749</c:v>
                </c:pt>
                <c:pt idx="2">
                  <c:v>0.155825768301823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312037511905634</c:v>
                </c:pt>
                <c:pt idx="1">
                  <c:v>0.11203314130364425</c:v>
                </c:pt>
                <c:pt idx="2">
                  <c:v>0.1278004497376530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896573619556988</c:v>
                </c:pt>
                <c:pt idx="1">
                  <c:v>0.0504110298401191</c:v>
                </c:pt>
                <c:pt idx="2">
                  <c:v>0.04530690430582160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526143551420126</c:v>
                </c:pt>
                <c:pt idx="1">
                  <c:v>0.04215159557252897</c:v>
                </c:pt>
                <c:pt idx="2">
                  <c:v>0.0543432997418172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577722421667033</c:v>
                </c:pt>
                <c:pt idx="1">
                  <c:v>0.024519386368049713</c:v>
                </c:pt>
                <c:pt idx="2">
                  <c:v>0.029815940701257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842772364275771</c:v>
                </c:pt>
                <c:pt idx="1">
                  <c:v>0.03775001618227717</c:v>
                </c:pt>
                <c:pt idx="2">
                  <c:v>0.0327725493462147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53964881432095</c:v>
                </c:pt>
                <c:pt idx="1">
                  <c:v>0.0266036636675513</c:v>
                </c:pt>
                <c:pt idx="2">
                  <c:v>0.0275256100607978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1430141402300536</c:v>
                </c:pt>
                <c:pt idx="1">
                  <c:v>0.023069454333613827</c:v>
                </c:pt>
                <c:pt idx="2">
                  <c:v>0.02011326726076455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5043837155347156</c:v>
                </c:pt>
                <c:pt idx="1">
                  <c:v>0.014201566444430061</c:v>
                </c:pt>
                <c:pt idx="2">
                  <c:v>0.01503289747647205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175714948592083</c:v>
                </c:pt>
                <c:pt idx="1">
                  <c:v>0.5172114699980581</c:v>
                </c:pt>
                <c:pt idx="2">
                  <c:v>0.49146331306737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0662</c:v>
                </c:pt>
                <c:pt idx="1">
                  <c:v>0.053177</c:v>
                </c:pt>
                <c:pt idx="2">
                  <c:v>0.01476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855</c:v>
                </c:pt>
                <c:pt idx="1">
                  <c:v>0.004931</c:v>
                </c:pt>
                <c:pt idx="2">
                  <c:v>0.00193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7144</c:v>
                </c:pt>
                <c:pt idx="1">
                  <c:v>0.024037</c:v>
                </c:pt>
                <c:pt idx="2">
                  <c:v>0.008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988392746900828</c:v>
                </c:pt>
                <c:pt idx="1">
                  <c:v>0.19858348715425275</c:v>
                </c:pt>
                <c:pt idx="2">
                  <c:v>0.161598615664603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54516756580181</c:v>
                </c:pt>
                <c:pt idx="1">
                  <c:v>0.06625823957350696</c:v>
                </c:pt>
                <c:pt idx="2">
                  <c:v>0.056977865882563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937652941285129</c:v>
                </c:pt>
                <c:pt idx="1">
                  <c:v>0.04676777841392073</c:v>
                </c:pt>
                <c:pt idx="2">
                  <c:v>0.04240521645157975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370116694747424</c:v>
                </c:pt>
                <c:pt idx="1">
                  <c:v>0.07172932804259333</c:v>
                </c:pt>
                <c:pt idx="2">
                  <c:v>0.0694919131077600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8711768932150214</c:v>
                </c:pt>
                <c:pt idx="1">
                  <c:v>0.04987762345804974</c:v>
                </c:pt>
                <c:pt idx="2">
                  <c:v>0.0475069697441830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49179889576028</c:v>
                </c:pt>
                <c:pt idx="1">
                  <c:v>0.03977966392218275</c:v>
                </c:pt>
                <c:pt idx="2">
                  <c:v>0.0492274440514352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02997041555308</c:v>
                </c:pt>
                <c:pt idx="1">
                  <c:v>0.03655787844901871</c:v>
                </c:pt>
                <c:pt idx="2">
                  <c:v>0.0432737410536993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211774279322676</c:v>
                </c:pt>
                <c:pt idx="1">
                  <c:v>0.03210824639487686</c:v>
                </c:pt>
                <c:pt idx="2">
                  <c:v>0.0498208253635703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015952073779316</c:v>
                </c:pt>
                <c:pt idx="1">
                  <c:v>0.02904620924231488</c:v>
                </c:pt>
                <c:pt idx="2">
                  <c:v>0.04007810091460281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0303194400829884</c:v>
                </c:pt>
                <c:pt idx="1">
                  <c:v>0.42929154534928327</c:v>
                </c:pt>
                <c:pt idx="2">
                  <c:v>0.43961930776600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408281231567772</c:v>
                </c:pt>
                <c:pt idx="1">
                  <c:v>0.08465951147298298</c:v>
                </c:pt>
                <c:pt idx="2">
                  <c:v>0.06608320649416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663599543863788</c:v>
                </c:pt>
                <c:pt idx="1">
                  <c:v>0.03983160621761658</c:v>
                </c:pt>
                <c:pt idx="2">
                  <c:v>0.0324708269913749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858047265148834</c:v>
                </c:pt>
                <c:pt idx="1">
                  <c:v>0.046585862324204294</c:v>
                </c:pt>
                <c:pt idx="2">
                  <c:v>0.0413495687468290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633636113404899</c:v>
                </c:pt>
                <c:pt idx="1">
                  <c:v>0.08808290155440414</c:v>
                </c:pt>
                <c:pt idx="2">
                  <c:v>0.0840943683409436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25362746254571</c:v>
                </c:pt>
                <c:pt idx="1">
                  <c:v>0.047557364914877866</c:v>
                </c:pt>
                <c:pt idx="2">
                  <c:v>0.0442668696093353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283433604655735</c:v>
                </c:pt>
                <c:pt idx="1">
                  <c:v>0.027710954848260548</c:v>
                </c:pt>
                <c:pt idx="2">
                  <c:v>0.0336123795027904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3802052612952696</c:v>
                </c:pt>
                <c:pt idx="1">
                  <c:v>0.015590303478904515</c:v>
                </c:pt>
                <c:pt idx="2">
                  <c:v>0.01699644850329781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22106877433054</c:v>
                </c:pt>
                <c:pt idx="1">
                  <c:v>0.032244633604737234</c:v>
                </c:pt>
                <c:pt idx="2">
                  <c:v>0.0479452054794520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9346466910463607</c:v>
                </c:pt>
                <c:pt idx="1">
                  <c:v>0.018088452997779423</c:v>
                </c:pt>
                <c:pt idx="2">
                  <c:v>0.02562151192288178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604577090951988</c:v>
                </c:pt>
                <c:pt idx="1">
                  <c:v>0.5996484085862324</c:v>
                </c:pt>
                <c:pt idx="2">
                  <c:v>0.60755961440892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686664675914614</c:v>
                </c:pt>
                <c:pt idx="1">
                  <c:v>0.1899723612121852</c:v>
                </c:pt>
                <c:pt idx="2">
                  <c:v>0.1419145186164353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03204205916152</c:v>
                </c:pt>
                <c:pt idx="1">
                  <c:v>0.06215522214722839</c:v>
                </c:pt>
                <c:pt idx="2">
                  <c:v>0.0670026437541308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109075114694465</c:v>
                </c:pt>
                <c:pt idx="1">
                  <c:v>0.062049644240159574</c:v>
                </c:pt>
                <c:pt idx="2">
                  <c:v>0.065157523683630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265095782320312</c:v>
                </c:pt>
                <c:pt idx="1">
                  <c:v>0.049859166613249274</c:v>
                </c:pt>
                <c:pt idx="2">
                  <c:v>0.0580634500991407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66322809494078</c:v>
                </c:pt>
                <c:pt idx="1">
                  <c:v>0.04547391283035516</c:v>
                </c:pt>
                <c:pt idx="2">
                  <c:v>0.0507050011015642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6376469310747346</c:v>
                </c:pt>
                <c:pt idx="1">
                  <c:v>0.028852933746092674</c:v>
                </c:pt>
                <c:pt idx="2">
                  <c:v>0.05076007931262392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33343287093592</c:v>
                </c:pt>
                <c:pt idx="1">
                  <c:v>0.03533089247267229</c:v>
                </c:pt>
                <c:pt idx="2">
                  <c:v>0.03116325181758096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614961406556814</c:v>
                </c:pt>
                <c:pt idx="1">
                  <c:v>0.026618829819725725</c:v>
                </c:pt>
                <c:pt idx="2">
                  <c:v>0.01378607622824410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987358724470868</c:v>
                </c:pt>
                <c:pt idx="1">
                  <c:v>0.03311375642422711</c:v>
                </c:pt>
                <c:pt idx="2">
                  <c:v>0.0321656752588675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7%</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773841518038929</c:v>
                </c:pt>
                <c:pt idx="1">
                  <c:v>0.46657328049410457</c:v>
                </c:pt>
                <c:pt idx="2">
                  <c:v>0.4892817801277814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996963562753036</c:v>
                </c:pt>
                <c:pt idx="1">
                  <c:v>0.07833883907503539</c:v>
                </c:pt>
                <c:pt idx="2">
                  <c:v>0.0534710893601595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04073886639676</c:v>
                </c:pt>
                <c:pt idx="1">
                  <c:v>0.06627115216072271</c:v>
                </c:pt>
                <c:pt idx="2">
                  <c:v>0.066159144462570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321103238866397</c:v>
                </c:pt>
                <c:pt idx="1">
                  <c:v>0.034382795118991435</c:v>
                </c:pt>
                <c:pt idx="2">
                  <c:v>0.0309951060358890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763917004048583</c:v>
                </c:pt>
                <c:pt idx="1">
                  <c:v>0.04294478527607362</c:v>
                </c:pt>
                <c:pt idx="2">
                  <c:v>0.04440819285843755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3590587044534416</c:v>
                </c:pt>
                <c:pt idx="1">
                  <c:v>0.03148385356974314</c:v>
                </c:pt>
                <c:pt idx="2">
                  <c:v>0.0317201377560268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116396761133602</c:v>
                </c:pt>
                <c:pt idx="1">
                  <c:v>0.016921728578170297</c:v>
                </c:pt>
                <c:pt idx="2">
                  <c:v>0.02610114192495921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364372469635626</c:v>
                </c:pt>
                <c:pt idx="1">
                  <c:v>0.031214184588417716</c:v>
                </c:pt>
                <c:pt idx="2">
                  <c:v>0.02501359434475258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2085020242915</c:v>
                </c:pt>
                <c:pt idx="1">
                  <c:v>0.023596035865974516</c:v>
                </c:pt>
                <c:pt idx="2">
                  <c:v>0.01214428131230741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2456983805668015</c:v>
                </c:pt>
                <c:pt idx="1">
                  <c:v>0.026157891188566037</c:v>
                </c:pt>
                <c:pt idx="2">
                  <c:v>0.02428856262461482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54035931174089</c:v>
                </c:pt>
                <c:pt idx="1">
                  <c:v>0.648688734578305</c:v>
                </c:pt>
                <c:pt idx="2">
                  <c:v>0.685698749320282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814137744326308</c:v>
                </c:pt>
                <c:pt idx="1">
                  <c:v>0.22063652012419954</c:v>
                </c:pt>
                <c:pt idx="2">
                  <c:v>0.185883536964927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07228175898143</c:v>
                </c:pt>
                <c:pt idx="1">
                  <c:v>0.09290387863568982</c:v>
                </c:pt>
                <c:pt idx="2">
                  <c:v>0.105239518917518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27530349760314</c:v>
                </c:pt>
                <c:pt idx="1">
                  <c:v>0.07358996145142689</c:v>
                </c:pt>
                <c:pt idx="2">
                  <c:v>0.0677829676446132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489295964200234</c:v>
                </c:pt>
                <c:pt idx="1">
                  <c:v>0.052434524052933064</c:v>
                </c:pt>
                <c:pt idx="2">
                  <c:v>0.0604610903869833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239509453652596</c:v>
                </c:pt>
                <c:pt idx="1">
                  <c:v>0.0323499551441823</c:v>
                </c:pt>
                <c:pt idx="2">
                  <c:v>0.026060603306874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986694074107927</c:v>
                </c:pt>
                <c:pt idx="1">
                  <c:v>0.036477346676151094</c:v>
                </c:pt>
                <c:pt idx="2">
                  <c:v>0.0454563422646498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596650806961153</c:v>
                </c:pt>
                <c:pt idx="1">
                  <c:v>0.03403530878993964</c:v>
                </c:pt>
                <c:pt idx="2">
                  <c:v>0.03673047476679676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4602869271831</c:v>
                </c:pt>
                <c:pt idx="1">
                  <c:v>0.030600401556751824</c:v>
                </c:pt>
                <c:pt idx="2">
                  <c:v>0.0309295869360752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188483255465283</c:v>
                </c:pt>
                <c:pt idx="1">
                  <c:v>0.030282683365719387</c:v>
                </c:pt>
                <c:pt idx="2">
                  <c:v>0.02914551972629005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624581338032533</c:v>
                </c:pt>
                <c:pt idx="1">
                  <c:v>0.3966894202030064</c:v>
                </c:pt>
                <c:pt idx="2">
                  <c:v>0.41231035908527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245563846467486</c:v>
                </c:pt>
                <c:pt idx="1">
                  <c:v>0.10810759627912614</c:v>
                </c:pt>
                <c:pt idx="2">
                  <c:v>0.0858126529881191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709854177923486</c:v>
                </c:pt>
                <c:pt idx="1">
                  <c:v>0.12965866739387327</c:v>
                </c:pt>
                <c:pt idx="2">
                  <c:v>0.1445600907480745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78523481033848</c:v>
                </c:pt>
                <c:pt idx="1">
                  <c:v>0.05148016846953307</c:v>
                </c:pt>
                <c:pt idx="2">
                  <c:v>0.0438317180441401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72327948844594</c:v>
                </c:pt>
                <c:pt idx="1">
                  <c:v>0.055722207072084355</c:v>
                </c:pt>
                <c:pt idx="2">
                  <c:v>0.0627375669167545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970799120890776</c:v>
                </c:pt>
                <c:pt idx="1">
                  <c:v>0.036462594309608215</c:v>
                </c:pt>
                <c:pt idx="2">
                  <c:v>0.0298413898784055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7162220844700647</c:v>
                </c:pt>
                <c:pt idx="1">
                  <c:v>0.025418143805108626</c:v>
                </c:pt>
                <c:pt idx="2">
                  <c:v>0.0320603395092439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23946776102284</c:v>
                </c:pt>
                <c:pt idx="1">
                  <c:v>0.035909614277489926</c:v>
                </c:pt>
                <c:pt idx="2">
                  <c:v>0.03689625664192322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09141807742924</c:v>
                </c:pt>
                <c:pt idx="1">
                  <c:v>0.03355376783928734</c:v>
                </c:pt>
                <c:pt idx="2">
                  <c:v>0.0321100917431192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931275669690954</c:v>
                </c:pt>
                <c:pt idx="1">
                  <c:v>0.02623246371541981</c:v>
                </c:pt>
                <c:pt idx="2">
                  <c:v>0.02366216243109315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825421239835714</c:v>
                </c:pt>
                <c:pt idx="1">
                  <c:v>0.4974547768384692</c:v>
                </c:pt>
                <c:pt idx="2">
                  <c:v>0.508487731099126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632345751062822</c:v>
                </c:pt>
                <c:pt idx="1">
                  <c:v>0.14294849873347112</c:v>
                </c:pt>
                <c:pt idx="2">
                  <c:v>0.1503989918151164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526107813669519</c:v>
                </c:pt>
                <c:pt idx="1">
                  <c:v>0.07310848697117468</c:v>
                </c:pt>
                <c:pt idx="2">
                  <c:v>0.069038204056032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1097821587573244</c:v>
                </c:pt>
                <c:pt idx="1">
                  <c:v>0.06682001017264419</c:v>
                </c:pt>
                <c:pt idx="2">
                  <c:v>0.0729290371655316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830278637456591</c:v>
                </c:pt>
                <c:pt idx="1">
                  <c:v>0.054129261636575325</c:v>
                </c:pt>
                <c:pt idx="2">
                  <c:v>0.04791878070873125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788369670127731</c:v>
                </c:pt>
                <c:pt idx="1">
                  <c:v>0.04951662366131015</c:v>
                </c:pt>
                <c:pt idx="2">
                  <c:v>0.0507405373148099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607392837329316</c:v>
                </c:pt>
                <c:pt idx="1">
                  <c:v>0.045144738816502446</c:v>
                </c:pt>
                <c:pt idx="2">
                  <c:v>0.0367296069748762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98816558537929</c:v>
                </c:pt>
                <c:pt idx="1">
                  <c:v>0.04032575824451888</c:v>
                </c:pt>
                <c:pt idx="2">
                  <c:v>0.0427117164172673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774859687815714</c:v>
                </c:pt>
                <c:pt idx="1">
                  <c:v>0.03572111470529163</c:v>
                </c:pt>
                <c:pt idx="2">
                  <c:v>0.0341839953358364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042149638852584</c:v>
                </c:pt>
                <c:pt idx="1">
                  <c:v>0.010516472132288453</c:v>
                </c:pt>
                <c:pt idx="2">
                  <c:v>0.00921197635235627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48%</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8733924519020994</c:v>
                </c:pt>
                <c:pt idx="1">
                  <c:v>0.48176903492622314</c:v>
                </c:pt>
                <c:pt idx="2">
                  <c:v>0.486137153859441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836971456092414</c:v>
                </c:pt>
                <c:pt idx="1">
                  <c:v>0.13489591649205943</c:v>
                </c:pt>
                <c:pt idx="2">
                  <c:v>0.1428176714091286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532459983012691</c:v>
                </c:pt>
                <c:pt idx="1">
                  <c:v>0.06157912293781607</c:v>
                </c:pt>
                <c:pt idx="2">
                  <c:v>0.056301178665063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5140871935449994</c:v>
                </c:pt>
                <c:pt idx="1">
                  <c:v>0.04797179538489895</c:v>
                </c:pt>
                <c:pt idx="2">
                  <c:v>0.05101035938616313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9114234115603201</c:v>
                </c:pt>
                <c:pt idx="1">
                  <c:v>0.18071825642236547</c:v>
                </c:pt>
                <c:pt idx="2">
                  <c:v>0.1659297989545247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79888691919597</c:v>
                </c:pt>
                <c:pt idx="1">
                  <c:v>0.05037788930128662</c:v>
                </c:pt>
                <c:pt idx="2">
                  <c:v>0.04810279294481998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3973878356865527</c:v>
                </c:pt>
                <c:pt idx="1">
                  <c:v>0.0138236164779419</c:v>
                </c:pt>
                <c:pt idx="2">
                  <c:v>0.0111488872832837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1253742281164334</c:v>
                </c:pt>
                <c:pt idx="1">
                  <c:v>0.021851633501401832</c:v>
                </c:pt>
                <c:pt idx="2">
                  <c:v>0.02245799833836027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653798285229946</c:v>
                </c:pt>
                <c:pt idx="1">
                  <c:v>0.0279072419040436</c:v>
                </c:pt>
                <c:pt idx="2">
                  <c:v>0.0257020751099947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61938502750801</c:v>
                </c:pt>
                <c:pt idx="1">
                  <c:v>0.009226754574087045</c:v>
                </c:pt>
                <c:pt idx="2">
                  <c:v>0.00800704661319678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437227816475031</c:v>
                </c:pt>
                <c:pt idx="1">
                  <c:v>0.4516477730040991</c:v>
                </c:pt>
                <c:pt idx="2">
                  <c:v>0.468522191295464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436923161457883</c:v>
                </c:pt>
                <c:pt idx="1">
                  <c:v>0.2417793549705818</c:v>
                </c:pt>
                <c:pt idx="2">
                  <c:v>0.206142258818722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109031426829212</c:v>
                </c:pt>
                <c:pt idx="1">
                  <c:v>0.10553436523916129</c:v>
                </c:pt>
                <c:pt idx="2">
                  <c:v>0.12061158597543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071103294752252</c:v>
                </c:pt>
                <c:pt idx="1">
                  <c:v>0.09100020365580826</c:v>
                </c:pt>
                <c:pt idx="2">
                  <c:v>0.0787024974662637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026066224730783</c:v>
                </c:pt>
                <c:pt idx="1">
                  <c:v>0.044029192157834</c:v>
                </c:pt>
                <c:pt idx="2">
                  <c:v>0.045957327634196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60545679850171</c:v>
                </c:pt>
                <c:pt idx="1">
                  <c:v>0.03992399833792989</c:v>
                </c:pt>
                <c:pt idx="2">
                  <c:v>0.0523470489863333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94643712832304</c:v>
                </c:pt>
                <c:pt idx="1">
                  <c:v>0.0354853461067052</c:v>
                </c:pt>
                <c:pt idx="2">
                  <c:v>0.0326120267250353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705130359667875</c:v>
                </c:pt>
                <c:pt idx="1">
                  <c:v>0.04017688961631395</c:v>
                </c:pt>
                <c:pt idx="2">
                  <c:v>0.03951825150962475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32715814817947</c:v>
                </c:pt>
                <c:pt idx="1">
                  <c:v>0.033694219382811</c:v>
                </c:pt>
                <c:pt idx="2">
                  <c:v>0.0330619586039715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338103429266886</c:v>
                </c:pt>
                <c:pt idx="1">
                  <c:v>0.03069122870099672</c:v>
                </c:pt>
                <c:pt idx="2">
                  <c:v>0.0375038881230609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06464730583598</c:v>
                </c:pt>
                <c:pt idx="1">
                  <c:v>0.3376852018318579</c:v>
                </c:pt>
                <c:pt idx="2">
                  <c:v>0.353543156157352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678640089041789</c:v>
                </c:pt>
                <c:pt idx="1">
                  <c:v>0.14956355582576975</c:v>
                </c:pt>
                <c:pt idx="2">
                  <c:v>0.123258096172718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899726803602144</c:v>
                </c:pt>
                <c:pt idx="1">
                  <c:v>0.19661701480870283</c:v>
                </c:pt>
                <c:pt idx="2">
                  <c:v>0.2208701341184167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979358494384296</c:v>
                </c:pt>
                <c:pt idx="1">
                  <c:v>0.08101359273895861</c:v>
                </c:pt>
                <c:pt idx="2">
                  <c:v>0.066470395812888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22159263381564</c:v>
                </c:pt>
                <c:pt idx="1">
                  <c:v>0.060971902549181396</c:v>
                </c:pt>
                <c:pt idx="2">
                  <c:v>0.0618253189401373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6749974704037236</c:v>
                </c:pt>
                <c:pt idx="1">
                  <c:v>0.03326529725973857</c:v>
                </c:pt>
                <c:pt idx="2">
                  <c:v>0.0452077199869152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829606394819387</c:v>
                </c:pt>
                <c:pt idx="1">
                  <c:v>0.05232987362661224</c:v>
                </c:pt>
                <c:pt idx="2">
                  <c:v>0.0490022898266274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069918041080644</c:v>
                </c:pt>
                <c:pt idx="1">
                  <c:v>0.020736526686064186</c:v>
                </c:pt>
                <c:pt idx="2">
                  <c:v>0.02178606476938174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6055853485783666</c:v>
                </c:pt>
                <c:pt idx="1">
                  <c:v>0.048312850132453206</c:v>
                </c:pt>
                <c:pt idx="2">
                  <c:v>0.0463199214916584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88323383587979</c:v>
                </c:pt>
                <c:pt idx="1">
                  <c:v>0.034242411082642116</c:v>
                </c:pt>
                <c:pt idx="2">
                  <c:v>0.03964671246319921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21461094809268</c:v>
                </c:pt>
                <c:pt idx="1">
                  <c:v>0.3229469752898771</c:v>
                </c:pt>
                <c:pt idx="2">
                  <c:v>0.325613346418056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13676584424971</c:v>
                </c:pt>
                <c:pt idx="1">
                  <c:v>0.28967855402612797</c:v>
                </c:pt>
                <c:pt idx="2">
                  <c:v>0.273817872917978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75134040135772</c:v>
                </c:pt>
                <c:pt idx="1">
                  <c:v>0.10724246778775874</c:v>
                </c:pt>
                <c:pt idx="2">
                  <c:v>0.1186708993090693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680105606947705</c:v>
                </c:pt>
                <c:pt idx="1">
                  <c:v>0.08958179810186274</c:v>
                </c:pt>
                <c:pt idx="2">
                  <c:v>0.0702531819490625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708511708999257</c:v>
                </c:pt>
                <c:pt idx="1">
                  <c:v>0.043473878807777845</c:v>
                </c:pt>
                <c:pt idx="2">
                  <c:v>0.0495802204813216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334016186032455</c:v>
                </c:pt>
                <c:pt idx="1">
                  <c:v>0.03933810574693752</c:v>
                </c:pt>
                <c:pt idx="2">
                  <c:v>0.0464236601046372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2915139514362</c:v>
                </c:pt>
                <c:pt idx="1">
                  <c:v>0.033761072564229694</c:v>
                </c:pt>
                <c:pt idx="2">
                  <c:v>0.03056080918819527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47470665132743</c:v>
                </c:pt>
                <c:pt idx="1">
                  <c:v>0.029070581043359137</c:v>
                </c:pt>
                <c:pt idx="2">
                  <c:v>0.03471977462015539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32929751706776</c:v>
                </c:pt>
                <c:pt idx="1">
                  <c:v>0.025517824449245198</c:v>
                </c:pt>
                <c:pt idx="2">
                  <c:v>0.0396792303823117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15809536843396</c:v>
                </c:pt>
                <c:pt idx="1">
                  <c:v>0.03140497277382876</c:v>
                </c:pt>
                <c:pt idx="2">
                  <c:v>0.02944131748760733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74071983223778</c:v>
                </c:pt>
                <c:pt idx="1">
                  <c:v>0.3109307446988724</c:v>
                </c:pt>
                <c:pt idx="2">
                  <c:v>0.30685303355966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347672604876447</c:v>
                </c:pt>
                <c:pt idx="1">
                  <c:v>0.17850031677074849</c:v>
                </c:pt>
                <c:pt idx="2">
                  <c:v>0.1629686304514154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793038338395862</c:v>
                </c:pt>
                <c:pt idx="1">
                  <c:v>0.19664675536247625</c:v>
                </c:pt>
                <c:pt idx="2">
                  <c:v>0.21562217430618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979640423610541</c:v>
                </c:pt>
                <c:pt idx="1">
                  <c:v>0.08249615349805413</c:v>
                </c:pt>
                <c:pt idx="2">
                  <c:v>0.05863532030326215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850833264920778</c:v>
                </c:pt>
                <c:pt idx="1">
                  <c:v>0.060933116119105804</c:v>
                </c:pt>
                <c:pt idx="2">
                  <c:v>0.0692077623982750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601921024546425</c:v>
                </c:pt>
                <c:pt idx="1">
                  <c:v>0.03466377047696624</c:v>
                </c:pt>
                <c:pt idx="2">
                  <c:v>0.0433331014815330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511698546917331</c:v>
                </c:pt>
                <c:pt idx="1">
                  <c:v>0.04991401936826862</c:v>
                </c:pt>
                <c:pt idx="2">
                  <c:v>0.04590665646518745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982595845989656</c:v>
                </c:pt>
                <c:pt idx="1">
                  <c:v>0.017445017648655987</c:v>
                </c:pt>
                <c:pt idx="2">
                  <c:v>0.0203102177088405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esserat De Bellef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70921927592152</c:v>
                </c:pt>
                <c:pt idx="1">
                  <c:v>0.025341659878722056</c:v>
                </c:pt>
                <c:pt idx="2">
                  <c:v>0.0391597690756068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780724078482884</c:v>
                </c:pt>
                <c:pt idx="1">
                  <c:v>0.04389537514707213</c:v>
                </c:pt>
                <c:pt idx="2">
                  <c:v>0.0398553244765945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683605615302525</c:v>
                </c:pt>
                <c:pt idx="1">
                  <c:v>0.3101638157299303</c:v>
                </c:pt>
                <c:pt idx="2">
                  <c:v>0.305001043333101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809124736106237</c:v>
                </c:pt>
                <c:pt idx="1">
                  <c:v>0.2556101283463645</c:v>
                </c:pt>
                <c:pt idx="2">
                  <c:v>0.2156543000198965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5994997855428</c:v>
                </c:pt>
                <c:pt idx="1">
                  <c:v>0.10088357141144326</c:v>
                </c:pt>
                <c:pt idx="2">
                  <c:v>0.1110782920120364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463191345955672</c:v>
                </c:pt>
                <c:pt idx="1">
                  <c:v>0.08699101899876012</c:v>
                </c:pt>
                <c:pt idx="2">
                  <c:v>0.0792724826212614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1324203583941894</c:v>
                </c:pt>
                <c:pt idx="1">
                  <c:v>0.04903158372840617</c:v>
                </c:pt>
                <c:pt idx="2">
                  <c:v>0.0606948213512853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750973412877456</c:v>
                </c:pt>
                <c:pt idx="1">
                  <c:v>0.051775817733774744</c:v>
                </c:pt>
                <c:pt idx="2">
                  <c:v>0.0630680524531250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516295962077283</c:v>
                </c:pt>
                <c:pt idx="1">
                  <c:v>0.037680145456392</c:v>
                </c:pt>
                <c:pt idx="2">
                  <c:v>0.03575025486081625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27205427716783</c:v>
                </c:pt>
                <c:pt idx="1">
                  <c:v>0.03605518653879519</c:v>
                </c:pt>
                <c:pt idx="2">
                  <c:v>0.0402874953078944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15293305036124</c:v>
                </c:pt>
                <c:pt idx="1">
                  <c:v>0.03753556360825513</c:v>
                </c:pt>
                <c:pt idx="2">
                  <c:v>0.03698302226980991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1954122870050075</c:v>
                </c:pt>
                <c:pt idx="1">
                  <c:v>0.030282491772940203</c:v>
                </c:pt>
                <c:pt idx="2">
                  <c:v>0.0317668367106237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190600925786668</c:v>
                </c:pt>
                <c:pt idx="1">
                  <c:v>0.3141544924048687</c:v>
                </c:pt>
                <c:pt idx="2">
                  <c:v>0.3254444423932507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724219525227082</c:v>
                </c:pt>
                <c:pt idx="1">
                  <c:v>0.15841820496499046</c:v>
                </c:pt>
                <c:pt idx="2">
                  <c:v>0.1273579512975877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24692771544157</c:v>
                </c:pt>
                <c:pt idx="1">
                  <c:v>0.17930458306810948</c:v>
                </c:pt>
                <c:pt idx="2">
                  <c:v>0.1944666742883274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24639340508358</c:v>
                </c:pt>
                <c:pt idx="1">
                  <c:v>0.0756683640992998</c:v>
                </c:pt>
                <c:pt idx="2">
                  <c:v>0.063221676003201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34585146172048</c:v>
                </c:pt>
                <c:pt idx="1">
                  <c:v>0.064966581795035</c:v>
                </c:pt>
                <c:pt idx="2">
                  <c:v>0.0810563621813193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8088695519426</c:v>
                </c:pt>
                <c:pt idx="1">
                  <c:v>0.043523233609166136</c:v>
                </c:pt>
                <c:pt idx="2">
                  <c:v>0.05590488167371670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587054423326463</c:v>
                </c:pt>
                <c:pt idx="1">
                  <c:v>0.05327021005728835</c:v>
                </c:pt>
                <c:pt idx="2">
                  <c:v>0.05247513433177089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178917639874819</c:v>
                </c:pt>
                <c:pt idx="1">
                  <c:v>0.048177912157861234</c:v>
                </c:pt>
                <c:pt idx="2">
                  <c:v>0.05156053504058534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938477978780246</c:v>
                </c:pt>
                <c:pt idx="1">
                  <c:v>0.05231540420114577</c:v>
                </c:pt>
                <c:pt idx="2">
                  <c:v>0.05064593574939979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018929852683001</c:v>
                </c:pt>
                <c:pt idx="1">
                  <c:v>0.018141311266709103</c:v>
                </c:pt>
                <c:pt idx="2">
                  <c:v>0.0187492854693037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33737882604382</c:v>
                </c:pt>
                <c:pt idx="1">
                  <c:v>0.30621419478039463</c:v>
                </c:pt>
                <c:pt idx="2">
                  <c:v>0.304561563964787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118538965630776</c:v>
                </c:pt>
                <c:pt idx="1">
                  <c:v>0.1906737626523323</c:v>
                </c:pt>
                <c:pt idx="2">
                  <c:v>0.1463874712046025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4962583088909</c:v>
                </c:pt>
                <c:pt idx="1">
                  <c:v>0.09250827667224377</c:v>
                </c:pt>
                <c:pt idx="2">
                  <c:v>0.1117656858142387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9190104293315934</c:v>
                </c:pt>
                <c:pt idx="1">
                  <c:v>0.06254316329073369</c:v>
                </c:pt>
                <c:pt idx="2">
                  <c:v>0.0604009227988873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507190743793522</c:v>
                </c:pt>
                <c:pt idx="1">
                  <c:v>0.044153524853749126</c:v>
                </c:pt>
                <c:pt idx="2">
                  <c:v>0.05038710773895762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482201602439939</c:v>
                </c:pt>
                <c:pt idx="1">
                  <c:v>0.03902673454131216</c:v>
                </c:pt>
                <c:pt idx="2">
                  <c:v>0.04313462195366149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963887803490084</c:v>
                </c:pt>
                <c:pt idx="1">
                  <c:v>0.030221423231640027</c:v>
                </c:pt>
                <c:pt idx="2">
                  <c:v>0.03121261225787887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76326306098115</c:v>
                </c:pt>
                <c:pt idx="1">
                  <c:v>0.028523963784367473</c:v>
                </c:pt>
                <c:pt idx="2">
                  <c:v>0.0332907607369602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865330424278202</c:v>
                </c:pt>
                <c:pt idx="1">
                  <c:v>0.033802048105561686</c:v>
                </c:pt>
                <c:pt idx="2">
                  <c:v>0.02818541459482835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311974361855377</c:v>
                </c:pt>
                <c:pt idx="1">
                  <c:v>0.030830752435536887</c:v>
                </c:pt>
                <c:pt idx="2">
                  <c:v>0.02624861386655089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7%</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4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673298686285459</c:v>
                </c:pt>
                <c:pt idx="1">
                  <c:v>0.4477163504325229</c:v>
                </c:pt>
                <c:pt idx="2">
                  <c:v>0.468986789033433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14506473207703</c:v>
                </c:pt>
                <c:pt idx="1">
                  <c:v>0.11147864253681498</c:v>
                </c:pt>
                <c:pt idx="2">
                  <c:v>0.08082058537448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60629921259844</c:v>
                </c:pt>
                <c:pt idx="1">
                  <c:v>0.15737412932158645</c:v>
                </c:pt>
                <c:pt idx="2">
                  <c:v>0.191528870810858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6683771270164265</c:v>
                </c:pt>
                <c:pt idx="1">
                  <c:v>0.04987118730320282</c:v>
                </c:pt>
                <c:pt idx="2">
                  <c:v>0.0442125740560615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128844849449996</c:v>
                </c:pt>
                <c:pt idx="1">
                  <c:v>0.055596196049743966</c:v>
                </c:pt>
                <c:pt idx="2">
                  <c:v>0.06207445397471040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6128756377362942</c:v>
                </c:pt>
                <c:pt idx="1">
                  <c:v>0.03183740975159823</c:v>
                </c:pt>
                <c:pt idx="2">
                  <c:v>0.03537005924484923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378070718688253</c:v>
                </c:pt>
                <c:pt idx="1">
                  <c:v>0.01911516809261792</c:v>
                </c:pt>
                <c:pt idx="2">
                  <c:v>0.0185692811035458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03763012769471</c:v>
                </c:pt>
                <c:pt idx="1">
                  <c:v>0.02884768296173786</c:v>
                </c:pt>
                <c:pt idx="2">
                  <c:v>0.0315677778760279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273555693178805</c:v>
                </c:pt>
                <c:pt idx="1">
                  <c:v>0.03988422760090328</c:v>
                </c:pt>
                <c:pt idx="2">
                  <c:v>0.03227517906092492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9252115957415436</c:v>
                </c:pt>
                <c:pt idx="1">
                  <c:v>0.038993670684774655</c:v>
                </c:pt>
                <c:pt idx="2">
                  <c:v>0.03165620302414006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950603084726769</c:v>
                </c:pt>
                <c:pt idx="1">
                  <c:v>0.46700168569701983</c:v>
                </c:pt>
                <c:pt idx="2">
                  <c:v>0.471925015474400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67363640785739</c:v>
                </c:pt>
                <c:pt idx="1">
                  <c:v>0.2612549381562814</c:v>
                </c:pt>
                <c:pt idx="2">
                  <c:v>0.2204214010141337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83622627813787</c:v>
                </c:pt>
                <c:pt idx="1">
                  <c:v>0.07909245564784033</c:v>
                </c:pt>
                <c:pt idx="2">
                  <c:v>0.0716714591855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43670952874135</c:v>
                </c:pt>
                <c:pt idx="1">
                  <c:v>0.07773915647073233</c:v>
                </c:pt>
                <c:pt idx="2">
                  <c:v>0.0881460026422892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3507302555648464</c:v>
                </c:pt>
                <c:pt idx="1">
                  <c:v>0.05239898199436559</c:v>
                </c:pt>
                <c:pt idx="2">
                  <c:v>0.0641219846593797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4335530886591694</c:v>
                </c:pt>
                <c:pt idx="1">
                  <c:v>0.04284145811861968</c:v>
                </c:pt>
                <c:pt idx="2">
                  <c:v>0.0518285400768439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138416240331945</c:v>
                </c:pt>
                <c:pt idx="1">
                  <c:v>0.04075318559796696</c:v>
                </c:pt>
                <c:pt idx="2">
                  <c:v>0.0448034463756232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442897373210375</c:v>
                </c:pt>
                <c:pt idx="1">
                  <c:v>0.03339503889281371</c:v>
                </c:pt>
                <c:pt idx="2">
                  <c:v>0.0386602780720434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25123360235673</c:v>
                </c:pt>
                <c:pt idx="1">
                  <c:v>0.026232525453233974</c:v>
                </c:pt>
                <c:pt idx="2">
                  <c:v>0.02582837082656231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00148942184493</c:v>
                </c:pt>
                <c:pt idx="1">
                  <c:v>0.029597932315245216</c:v>
                </c:pt>
                <c:pt idx="2">
                  <c:v>0.03173979231032401</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6478779353132185</c:v>
                </c:pt>
                <c:pt idx="1">
                  <c:v>0.3566943273529008</c:v>
                </c:pt>
                <c:pt idx="2">
                  <c:v>0.362778724837264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708420686794398</c:v>
                </c:pt>
                <c:pt idx="1">
                  <c:v>0.16658540647759792</c:v>
                </c:pt>
                <c:pt idx="2">
                  <c:v>0.132575819106252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282475868022467</c:v>
                </c:pt>
                <c:pt idx="1">
                  <c:v>0.07326438835304272</c:v>
                </c:pt>
                <c:pt idx="2">
                  <c:v>0.06214973765858254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726885433366594</c:v>
                </c:pt>
                <c:pt idx="1">
                  <c:v>0.1492694153808882</c:v>
                </c:pt>
                <c:pt idx="2">
                  <c:v>0.1671106707168499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7078377075462176</c:v>
                </c:pt>
                <c:pt idx="1">
                  <c:v>0.047463016519540296</c:v>
                </c:pt>
                <c:pt idx="2">
                  <c:v>0.0611832166469030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642319808962185</c:v>
                </c:pt>
                <c:pt idx="1">
                  <c:v>0.06227155035355753</c:v>
                </c:pt>
                <c:pt idx="2">
                  <c:v>0.0747063887851074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5740776035068445</c:v>
                </c:pt>
                <c:pt idx="1">
                  <c:v>0.021174083551625457</c:v>
                </c:pt>
                <c:pt idx="2">
                  <c:v>0.02309091795130033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5691334910366944</c:v>
                </c:pt>
                <c:pt idx="1">
                  <c:v>0.04782338779280166</c:v>
                </c:pt>
                <c:pt idx="2">
                  <c:v>0.05410893260343399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519838111147236</c:v>
                </c:pt>
                <c:pt idx="1">
                  <c:v>0.040270732704450134</c:v>
                </c:pt>
                <c:pt idx="2">
                  <c:v>0.04080505514855184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4627397782436629</c:v>
                </c:pt>
                <c:pt idx="1">
                  <c:v>0.004545523371136987</c:v>
                </c:pt>
                <c:pt idx="2">
                  <c:v>0.00515748607072659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806271511373703</c:v>
                </c:pt>
                <c:pt idx="1">
                  <c:v>0.38733249549535914</c:v>
                </c:pt>
                <c:pt idx="2">
                  <c:v>0.379111775312291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59965946508192</c:v>
                </c:pt>
                <c:pt idx="1">
                  <c:v>0.24012850761234694</c:v>
                </c:pt>
                <c:pt idx="2">
                  <c:v>0.2023536117847635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632042461808129</c:v>
                </c:pt>
                <c:pt idx="1">
                  <c:v>0.09413580824546497</c:v>
                </c:pt>
                <c:pt idx="2">
                  <c:v>0.1039513679460051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068264095334633</c:v>
                </c:pt>
                <c:pt idx="1">
                  <c:v>0.08235566651652831</c:v>
                </c:pt>
                <c:pt idx="2">
                  <c:v>0.0846103803304526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308672472228611</c:v>
                </c:pt>
                <c:pt idx="1">
                  <c:v>0.05111378947941919</c:v>
                </c:pt>
                <c:pt idx="2">
                  <c:v>0.060434552578649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70648218343645</c:v>
                </c:pt>
                <c:pt idx="1">
                  <c:v>0.05026557019924315</c:v>
                </c:pt>
                <c:pt idx="2">
                  <c:v>0.0601647300459457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43388861914889</c:v>
                </c:pt>
                <c:pt idx="1">
                  <c:v>0.030467063347985338</c:v>
                </c:pt>
                <c:pt idx="2">
                  <c:v>0.0317479429082638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95289866388787</c:v>
                </c:pt>
                <c:pt idx="1">
                  <c:v>0.03709103416208869</c:v>
                </c:pt>
                <c:pt idx="2">
                  <c:v>0.04196242063624424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46545861005345</c:v>
                </c:pt>
                <c:pt idx="1">
                  <c:v>0.029806620976365064</c:v>
                </c:pt>
                <c:pt idx="2">
                  <c:v>0.0352667541488265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951456264735138</c:v>
                </c:pt>
                <c:pt idx="1">
                  <c:v>0.028526909907425776</c:v>
                </c:pt>
                <c:pt idx="2">
                  <c:v>0.03001457041676598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349843314186524</c:v>
                </c:pt>
                <c:pt idx="1">
                  <c:v>0.3561090295531325</c:v>
                </c:pt>
                <c:pt idx="2">
                  <c:v>0.34949366920408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565107945939955</c:v>
                </c:pt>
                <c:pt idx="1">
                  <c:v>0.1488786925209055</c:v>
                </c:pt>
                <c:pt idx="2">
                  <c:v>0.1192521322123410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805787021156454</c:v>
                </c:pt>
                <c:pt idx="1">
                  <c:v>0.1672790347438309</c:v>
                </c:pt>
                <c:pt idx="2">
                  <c:v>0.1832943818860594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145910403022802</c:v>
                </c:pt>
                <c:pt idx="1">
                  <c:v>0.07202503384139373</c:v>
                </c:pt>
                <c:pt idx="2">
                  <c:v>0.070749992412055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499902371063839</c:v>
                </c:pt>
                <c:pt idx="1">
                  <c:v>0.04489331903497823</c:v>
                </c:pt>
                <c:pt idx="2">
                  <c:v>0.0545876711081433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073084493886318</c:v>
                </c:pt>
                <c:pt idx="1">
                  <c:v>0.06745424819366067</c:v>
                </c:pt>
                <c:pt idx="2">
                  <c:v>0.0795823595471514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8176555334497844</c:v>
                </c:pt>
                <c:pt idx="1">
                  <c:v>0.04292436521749322</c:v>
                </c:pt>
                <c:pt idx="2">
                  <c:v>0.0463926912920751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7859657084958285</c:v>
                </c:pt>
                <c:pt idx="1">
                  <c:v>0.04937620495871643</c:v>
                </c:pt>
                <c:pt idx="2">
                  <c:v>0.0545117916654020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0327927680705883</c:v>
                </c:pt>
                <c:pt idx="1">
                  <c:v>0.018019443418947664</c:v>
                </c:pt>
                <c:pt idx="2">
                  <c:v>0.0205633289829119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72951507443547</c:v>
                </c:pt>
                <c:pt idx="1">
                  <c:v>0.03145638122696295</c:v>
                </c:pt>
                <c:pt idx="2">
                  <c:v>0.03136856162928339</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441942446422825</c:v>
                </c:pt>
                <c:pt idx="1">
                  <c:v>0.35769327684311075</c:v>
                </c:pt>
                <c:pt idx="2">
                  <c:v>0.339697089264576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001</c:v>
                </c:pt>
                <c:pt idx="1">
                  <c:v>0.008765</c:v>
                </c:pt>
                <c:pt idx="2">
                  <c:v>0.0024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734</c:v>
                </c:pt>
                <c:pt idx="1">
                  <c:v>0.002123</c:v>
                </c:pt>
                <c:pt idx="2">
                  <c:v>0.0006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586</c:v>
                </c:pt>
                <c:pt idx="1">
                  <c:v>0.005982</c:v>
                </c:pt>
                <c:pt idx="2">
                  <c:v>0.0024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22212</c:v>
                </c:pt>
                <c:pt idx="1">
                  <c:v>1.130517</c:v>
                </c:pt>
                <c:pt idx="2">
                  <c:v>0.3128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7339</c:v>
                </c:pt>
                <c:pt idx="1">
                  <c:v>0.108956</c:v>
                </c:pt>
                <c:pt idx="2">
                  <c:v>0.03629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41727</c:v>
                </c:pt>
                <c:pt idx="1">
                  <c:v>0.411964</c:v>
                </c:pt>
                <c:pt idx="2">
                  <c:v>0.1584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717</c:v>
                </c:pt>
                <c:pt idx="1">
                  <c:v>0.006624</c:v>
                </c:pt>
                <c:pt idx="2">
                  <c:v>0.00228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285</c:v>
                </c:pt>
                <c:pt idx="1">
                  <c:v>0.002495</c:v>
                </c:pt>
                <c:pt idx="2">
                  <c:v>0.00079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352</c:v>
                </c:pt>
                <c:pt idx="1">
                  <c:v>0.005981</c:v>
                </c:pt>
                <c:pt idx="2">
                  <c:v>0.00243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930166520746056</c:v>
                </c:pt>
                <c:pt idx="1">
                  <c:v>0.23127428871198585</c:v>
                </c:pt>
                <c:pt idx="2">
                  <c:v>0.233555880719977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80812787464151</c:v>
                </c:pt>
                <c:pt idx="1">
                  <c:v>0.06910032883286822</c:v>
                </c:pt>
                <c:pt idx="2">
                  <c:v>0.0694382031149734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87412581267225</c:v>
                </c:pt>
                <c:pt idx="1">
                  <c:v>0.062361677053306246</c:v>
                </c:pt>
                <c:pt idx="2">
                  <c:v>0.05945473454482834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76574582470504</c:v>
                </c:pt>
                <c:pt idx="1">
                  <c:v>0.058537942834288835</c:v>
                </c:pt>
                <c:pt idx="2">
                  <c:v>0.0571172898738092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3109515133446775</c:v>
                </c:pt>
                <c:pt idx="1">
                  <c:v>0.04450901647569582</c:v>
                </c:pt>
                <c:pt idx="2">
                  <c:v>0.04612804496437354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582301665065586</c:v>
                </c:pt>
                <c:pt idx="1">
                  <c:v>0.03645821832019018</c:v>
                </c:pt>
                <c:pt idx="2">
                  <c:v>0.0371930288973128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5873966254037194</c:v>
                </c:pt>
                <c:pt idx="1">
                  <c:v>0.03503864699318068</c:v>
                </c:pt>
                <c:pt idx="2">
                  <c:v>0.0340721614251574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7710796598175515</c:v>
                </c:pt>
                <c:pt idx="1">
                  <c:v>0.028795042794083753</c:v>
                </c:pt>
                <c:pt idx="2">
                  <c:v>0.03004947019349582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733191239716013</c:v>
                </c:pt>
                <c:pt idx="1">
                  <c:v>0.02869366131550287</c:v>
                </c:pt>
                <c:pt idx="2">
                  <c:v>0.02749092851896180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0499984940448924</c:v>
                </c:pt>
                <c:pt idx="1">
                  <c:v>0.4052311766688975</c:v>
                </c:pt>
                <c:pt idx="2">
                  <c:v>0.405500257747110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22212</c:v>
                </c:pt>
                <c:pt idx="1">
                  <c:v>0.855701</c:v>
                </c:pt>
                <c:pt idx="2">
                  <c:v>0.29431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8455</c:v>
                </c:pt>
                <c:pt idx="1">
                  <c:v>0.130361</c:v>
                </c:pt>
                <c:pt idx="2">
                  <c:v>0.04204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0302</c:v>
                </c:pt>
                <c:pt idx="1">
                  <c:v>0.398065</c:v>
                </c:pt>
                <c:pt idx="2">
                  <c:v>0.1610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3205008210873</c:v>
                </c:pt>
                <c:pt idx="1">
                  <c:v>0.20649940227917882</c:v>
                </c:pt>
                <c:pt idx="2">
                  <c:v>0.20670401893005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80371614934057</c:v>
                </c:pt>
                <c:pt idx="1">
                  <c:v>0.16852833116966812</c:v>
                </c:pt>
                <c:pt idx="2">
                  <c:v>0.18069276459116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84987616012511</c:v>
                </c:pt>
                <c:pt idx="1">
                  <c:v>0.04910687354583759</c:v>
                </c:pt>
                <c:pt idx="2">
                  <c:v>0.0459250203448766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92290553847559</c:v>
                </c:pt>
                <c:pt idx="1">
                  <c:v>0.04627927093562022</c:v>
                </c:pt>
                <c:pt idx="2">
                  <c:v>0.04321291517874157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2489805645541223</c:v>
                </c:pt>
                <c:pt idx="1">
                  <c:v>0.023555701423944177</c:v>
                </c:pt>
                <c:pt idx="2">
                  <c:v>0.02479155901403235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340456453400372</c:v>
                </c:pt>
                <c:pt idx="1">
                  <c:v>0.023493125656906033</c:v>
                </c:pt>
                <c:pt idx="2">
                  <c:v>0.02359561862036570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974482356381364</c:v>
                </c:pt>
                <c:pt idx="1">
                  <c:v>0.07824471607264423</c:v>
                </c:pt>
                <c:pt idx="2">
                  <c:v>0.0765040496677157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85153162730357</c:v>
                </c:pt>
                <c:pt idx="1">
                  <c:v>0.020222159918112912</c:v>
                </c:pt>
                <c:pt idx="2">
                  <c:v>0.02065209154891728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725924280846744</c:v>
                </c:pt>
                <c:pt idx="1">
                  <c:v>0.01675144602375027</c:v>
                </c:pt>
                <c:pt idx="2">
                  <c:v>0.01616251736719964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721195878077767</c:v>
                </c:pt>
                <c:pt idx="1">
                  <c:v>0.3673189729743377</c:v>
                </c:pt>
                <c:pt idx="2">
                  <c:v>0.36175944473692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724565422449805</c:v>
                </c:pt>
                <c:pt idx="1">
                  <c:v>0.13440143894477383</c:v>
                </c:pt>
                <c:pt idx="2">
                  <c:v>0.142604248623131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26195930467592</c:v>
                </c:pt>
                <c:pt idx="1">
                  <c:v>0.07621077876224103</c:v>
                </c:pt>
                <c:pt idx="2">
                  <c:v>0.075098347757671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5%</a:t>
                    </a:r>
                  </a:p>
                </c:rich>
              </c:tx>
              <c:showLegendKey val="0"/>
              <c:showVal val="1"/>
              <c:showCatName val="0"/>
              <c:showSerName val="0"/>
              <c:showPercent val="0"/>
              <c:showBubbleSize val="0"/>
            </c:dLbl>
            <c:dLbl>
              <c:idx val="1"/>
              <c:tx>
                <c:rich>
                  <a:bodyPr/>
                  <a:lstStyle/>
                  <a:p>
                    <a:r>
                      <a:rPr sz="800">
                        <a:solidFill>
                          <a:srgbClr val="FFFFFF"/>
                        </a:solidFill>
                        <a:latin typeface="Nexa Book"/>
                      </a:rPr>
                      <a:t>79%</a:t>
                    </a:r>
                  </a:p>
                </c:rich>
              </c:tx>
              <c:showLegendKey val="0"/>
              <c:showVal val="1"/>
              <c:showCatName val="0"/>
              <c:showSerName val="0"/>
              <c:showPercent val="0"/>
              <c:showBubbleSize val="0"/>
            </c:dLbl>
            <c:dLbl>
              <c:idx val="2"/>
              <c:tx>
                <c:rich>
                  <a:bodyPr/>
                  <a:lstStyle/>
                  <a:p>
                    <a:r>
                      <a:rPr sz="800">
                        <a:solidFill>
                          <a:srgbClr val="FFFFFF"/>
                        </a:solidFill>
                        <a:latin typeface="Nexa Book"/>
                      </a:rPr>
                      <a:t>7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501347527287427</c:v>
                </c:pt>
                <c:pt idx="1">
                  <c:v>0.7893877822929851</c:v>
                </c:pt>
                <c:pt idx="2">
                  <c:v>0.78229740361919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187248707639288</c:v>
                </c:pt>
                <c:pt idx="1">
                  <c:v>0.1409282700421941</c:v>
                </c:pt>
                <c:pt idx="2">
                  <c:v>0.140399174122505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13670304422746</c:v>
                </c:pt>
                <c:pt idx="1">
                  <c:v>0.05485232067510549</c:v>
                </c:pt>
                <c:pt idx="2">
                  <c:v>0.0543702684101858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759908098793796</c:v>
                </c:pt>
                <c:pt idx="1">
                  <c:v>0.8042194092827004</c:v>
                </c:pt>
                <c:pt idx="2">
                  <c:v>0.805230557467309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000000000000002</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0.9999999999999999</c:v>
                </c:pt>
                <c:pt idx="2">
                  <c:v>1.000000000000000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1%</a:t>
                    </a:r>
                  </a:p>
                </c:rich>
              </c:tx>
              <c:showLegendKey val="0"/>
              <c:showVal val="1"/>
              <c:showCatName val="0"/>
              <c:showSerName val="0"/>
              <c:showPercent val="0"/>
              <c:showBubbleSize val="0"/>
            </c:dLbl>
            <c:dLbl>
              <c:idx val="1"/>
              <c:tx>
                <c:rich>
                  <a:bodyPr/>
                  <a:lstStyle/>
                  <a:p>
                    <a:r>
                      <a:rPr sz="800">
                        <a:solidFill>
                          <a:srgbClr val="FFFFFF"/>
                        </a:solidFill>
                        <a:latin typeface="Nexa Book"/>
                      </a:rPr>
                      <a:t>66%</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074454700775435</c:v>
                </c:pt>
                <c:pt idx="1">
                  <c:v>0.6611859904880464</c:v>
                </c:pt>
                <c:pt idx="2">
                  <c:v>0.628009659337954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086362413571952</c:v>
                </c:pt>
                <c:pt idx="1">
                  <c:v>0.07267227031037128</c:v>
                </c:pt>
                <c:pt idx="2">
                  <c:v>0.0734871904528846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16909057867369</c:v>
                </c:pt>
                <c:pt idx="1">
                  <c:v>0.26614173920158235</c:v>
                </c:pt>
                <c:pt idx="2">
                  <c:v>0.29850315020916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61877127628122</c:v>
                </c:pt>
                <c:pt idx="1">
                  <c:v>0.4978904316004736</c:v>
                </c:pt>
                <c:pt idx="2">
                  <c:v>0.457845467617454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662561347490771</c:v>
                </c:pt>
                <c:pt idx="1">
                  <c:v>0.13478635238402756</c:v>
                </c:pt>
                <c:pt idx="2">
                  <c:v>0.127945535111658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4718667376228</c:v>
                </c:pt>
                <c:pt idx="1">
                  <c:v>0.36732321601549883</c:v>
                </c:pt>
                <c:pt idx="2">
                  <c:v>0.41420899727088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00000000000002</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3%</a:t>
                    </a:r>
                  </a:p>
                </c:rich>
              </c:tx>
              <c:showLegendKey val="0"/>
              <c:showVal val="1"/>
              <c:showCatName val="0"/>
              <c:showSerName val="0"/>
              <c:showPercent val="0"/>
              <c:showBubbleSize val="0"/>
            </c:dLbl>
            <c:dLbl>
              <c:idx val="1"/>
              <c:tx>
                <c:rich>
                  <a:bodyPr/>
                  <a:lstStyle/>
                  <a:p>
                    <a:r>
                      <a:rPr sz="800">
                        <a:solidFill>
                          <a:srgbClr val="FFFFFF"/>
                        </a:solidFill>
                        <a:latin typeface="Nexa Book"/>
                      </a:rPr>
                      <a:t>71%</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291430790972124</c:v>
                </c:pt>
                <c:pt idx="1">
                  <c:v>0.7062566438111167</c:v>
                </c:pt>
                <c:pt idx="2">
                  <c:v>0.688119979466973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26732395064585</c:v>
                </c:pt>
                <c:pt idx="1">
                  <c:v>0.08449164454162111</c:v>
                </c:pt>
                <c:pt idx="2">
                  <c:v>0.071615865924887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958959695214172</c:v>
                </c:pt>
                <c:pt idx="1">
                  <c:v>0.20925171164726208</c:v>
                </c:pt>
                <c:pt idx="2">
                  <c:v>0.24026415460813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54985275557425</c:v>
                </c:pt>
                <c:pt idx="1">
                  <c:v>0.5449026056159879</c:v>
                </c:pt>
                <c:pt idx="2">
                  <c:v>0.536534446764091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50525872949096</c:v>
                </c:pt>
                <c:pt idx="1">
                  <c:v>0.1555780419934227</c:v>
                </c:pt>
                <c:pt idx="2">
                  <c:v>0.1294363256784968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1699621371476655</c:v>
                </c:pt>
                <c:pt idx="1">
                  <c:v>0.2995193523905894</c:v>
                </c:pt>
                <c:pt idx="2">
                  <c:v>0.334029227557411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6%</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5731793045271346</c:v>
                </c:pt>
                <c:pt idx="1">
                  <c:v>0.3520212905523174</c:v>
                </c:pt>
                <c:pt idx="2">
                  <c:v>0.275139838408949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718987252788453</c:v>
                </c:pt>
                <c:pt idx="1">
                  <c:v>0.06251475907566018</c:v>
                </c:pt>
                <c:pt idx="2">
                  <c:v>0.043525999585663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0%</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549219701940195</c:v>
                </c:pt>
                <c:pt idx="1">
                  <c:v>0.5854639503720225</c:v>
                </c:pt>
                <c:pt idx="2">
                  <c:v>0.681334162005386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691619202603744</c:v>
                </c:pt>
                <c:pt idx="1">
                  <c:v>0.17331701346389228</c:v>
                </c:pt>
                <c:pt idx="2">
                  <c:v>0.130295250320924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593978844589097</c:v>
                </c:pt>
                <c:pt idx="1">
                  <c:v>0.07392900856793146</c:v>
                </c:pt>
                <c:pt idx="2">
                  <c:v>0.0481386392811296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871440195280717</c:v>
                </c:pt>
                <c:pt idx="1">
                  <c:v>0.7527539779681762</c:v>
                </c:pt>
                <c:pt idx="2">
                  <c:v>0.821566110397946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29292603479059</c:v>
                </c:pt>
                <c:pt idx="1">
                  <c:v>0.6147645311837081</c:v>
                </c:pt>
                <c:pt idx="2">
                  <c:v>0.62496213268706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210410826969294</c:v>
                </c:pt>
                <c:pt idx="1">
                  <c:v>0.09402312261349173</c:v>
                </c:pt>
                <c:pt idx="2">
                  <c:v>0.0727355346864586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849666313824012</c:v>
                </c:pt>
                <c:pt idx="1">
                  <c:v>0.2912123462028001</c:v>
                </c:pt>
                <c:pt idx="2">
                  <c:v>0.302302332626476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135015493581231</c:v>
                </c:pt>
                <c:pt idx="1">
                  <c:v>0.43446244477172313</c:v>
                </c:pt>
                <c:pt idx="2">
                  <c:v>0.450502152080344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322266489597167</c:v>
                </c:pt>
                <c:pt idx="1">
                  <c:v>0.16003927344133528</c:v>
                </c:pt>
                <c:pt idx="2">
                  <c:v>0.121951219512195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032757857459053</c:v>
                </c:pt>
                <c:pt idx="1">
                  <c:v>0.40549828178694153</c:v>
                </c:pt>
                <c:pt idx="2">
                  <c:v>0.4275466284074605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94878120165573</c:v>
                </c:pt>
                <c:pt idx="1">
                  <c:v>0.5944184333443082</c:v>
                </c:pt>
                <c:pt idx="2">
                  <c:v>0.555988557083223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322239411297403</c:v>
                </c:pt>
                <c:pt idx="1">
                  <c:v>0.12729565785141492</c:v>
                </c:pt>
                <c:pt idx="2">
                  <c:v>0.1414309484193011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728979387046874</c:v>
                </c:pt>
                <c:pt idx="1">
                  <c:v>0.2782859088042769</c:v>
                </c:pt>
                <c:pt idx="2">
                  <c:v>0.3025804944974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9233791748526523</c:v>
                </c:pt>
                <c:pt idx="1">
                  <c:v>0.4133817427385892</c:v>
                </c:pt>
                <c:pt idx="2">
                  <c:v>0.3604505632040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24557956777996</c:v>
                </c:pt>
                <c:pt idx="1">
                  <c:v>0.21991701244813278</c:v>
                </c:pt>
                <c:pt idx="2">
                  <c:v>0.222778473091364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5520628683693517</c:v>
                </c:pt>
                <c:pt idx="1">
                  <c:v>0.366701244813278</c:v>
                </c:pt>
                <c:pt idx="2">
                  <c:v>0.416770963704630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754</c:v>
                </c:pt>
                <c:pt idx="1">
                  <c:v>0.219352</c:v>
                </c:pt>
                <c:pt idx="2">
                  <c:v>0.071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474</c:v>
                </c:pt>
                <c:pt idx="1">
                  <c:v>0.105868</c:v>
                </c:pt>
                <c:pt idx="2">
                  <c:v>0.0358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146</c:v>
                </c:pt>
                <c:pt idx="1">
                  <c:v>0.191707</c:v>
                </c:pt>
                <c:pt idx="2">
                  <c:v>0.0791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0803</c:v>
                </c:pt>
                <c:pt idx="1">
                  <c:v>0.110259</c:v>
                </c:pt>
                <c:pt idx="2">
                  <c:v>0.03367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2229</c:v>
                </c:pt>
                <c:pt idx="1">
                  <c:v>0.056505</c:v>
                </c:pt>
                <c:pt idx="2">
                  <c:v>0.02191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5237</c:v>
                </c:pt>
                <c:pt idx="1">
                  <c:v>0.081244</c:v>
                </c:pt>
                <c:pt idx="2">
                  <c:v>0.03566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827</c:v>
                </c:pt>
                <c:pt idx="1">
                  <c:v>0.04761</c:v>
                </c:pt>
                <c:pt idx="2">
                  <c:v>0.02278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104</c:v>
                </c:pt>
                <c:pt idx="1">
                  <c:v>0.045228</c:v>
                </c:pt>
                <c:pt idx="2">
                  <c:v>0.0190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73836</c:v>
                </c:pt>
                <c:pt idx="1">
                  <c:v>0.05822</c:v>
                </c:pt>
                <c:pt idx="2">
                  <c:v>0.0240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52181</c:v>
                </c:pt>
                <c:pt idx="1">
                  <c:v>0.61805</c:v>
                </c:pt>
                <c:pt idx="2">
                  <c:v>0.24735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0%</a:t>
                    </a:r>
                  </a:p>
                </c:rich>
              </c:tx>
              <c:showLegendKey val="0"/>
              <c:showVal val="1"/>
              <c:showCatName val="0"/>
              <c:showSerName val="0"/>
              <c:showPercent val="0"/>
              <c:showBubbleSize val="0"/>
            </c:dLbl>
            <c:dLbl>
              <c:idx val="1"/>
              <c:tx>
                <c:rich>
                  <a:bodyPr/>
                  <a:lstStyle/>
                  <a:p>
                    <a:r>
                      <a:rPr sz="800">
                        <a:solidFill>
                          <a:srgbClr val="FFFFFF"/>
                        </a:solidFill>
                        <a:latin typeface="Nexa Book"/>
                      </a:rPr>
                      <a:t>66%</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68051687768684</c:v>
                </c:pt>
                <c:pt idx="1">
                  <c:v>0.6568093734939385</c:v>
                </c:pt>
                <c:pt idx="2">
                  <c:v>0.609333660078448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75216635331703</c:v>
                </c:pt>
                <c:pt idx="1">
                  <c:v>0.07424401849863141</c:v>
                </c:pt>
                <c:pt idx="2">
                  <c:v>0.080552453596568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14426648698146</c:v>
                </c:pt>
                <c:pt idx="1">
                  <c:v>0.26894660800743003</c:v>
                </c:pt>
                <c:pt idx="2">
                  <c:v>0.31011388632498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1376532131811</c:v>
                </c:pt>
                <c:pt idx="1">
                  <c:v>0.4880934625901069</c:v>
                </c:pt>
                <c:pt idx="2">
                  <c:v>0.4296217083277636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37935774561839</c:v>
                </c:pt>
                <c:pt idx="1">
                  <c:v>0.13392990305741984</c:v>
                </c:pt>
                <c:pt idx="2">
                  <c:v>0.135008688677984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324411012257063</c:v>
                </c:pt>
                <c:pt idx="1">
                  <c:v>0.37797663435247325</c:v>
                </c:pt>
                <c:pt idx="2">
                  <c:v>0.435369602994252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6%</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616100276038594</c:v>
                </c:pt>
                <c:pt idx="1">
                  <c:v>0.6845656237567646</c:v>
                </c:pt>
                <c:pt idx="2">
                  <c:v>0.616380083187036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71467904432803</c:v>
                </c:pt>
                <c:pt idx="1">
                  <c:v>0.06898234688940602</c:v>
                </c:pt>
                <c:pt idx="2">
                  <c:v>0.0742654143293710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12431819528603</c:v>
                </c:pt>
                <c:pt idx="1">
                  <c:v>0.2464520293538294</c:v>
                </c:pt>
                <c:pt idx="2">
                  <c:v>0.309354502483592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7256843331392</c:v>
                </c:pt>
                <c:pt idx="1">
                  <c:v>0.519561351511559</c:v>
                </c:pt>
                <c:pt idx="2">
                  <c:v>0.439113049800072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059674745755119</c:v>
                </c:pt>
                <c:pt idx="1">
                  <c:v>0.12815649081209246</c:v>
                </c:pt>
                <c:pt idx="2">
                  <c:v>0.1259541984732824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214640921105683</c:v>
                </c:pt>
                <c:pt idx="1">
                  <c:v>0.3522821576763485</c:v>
                </c:pt>
                <c:pt idx="2">
                  <c:v>0.4349327517266448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064</c:v>
                </c:pt>
                <c:pt idx="1">
                  <c:v>0.018205</c:v>
                </c:pt>
                <c:pt idx="2">
                  <c:v>0.0054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076</c:v>
                </c:pt>
                <c:pt idx="1">
                  <c:v>0.011156</c:v>
                </c:pt>
                <c:pt idx="2">
                  <c:v>0.00379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8022</c:v>
                </c:pt>
                <c:pt idx="1">
                  <c:v>0.017878</c:v>
                </c:pt>
                <c:pt idx="2">
                  <c:v>0.00768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3814</c:v>
                </c:pt>
                <c:pt idx="1">
                  <c:v>0.009439</c:v>
                </c:pt>
                <c:pt idx="2">
                  <c:v>0.00290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8331</c:v>
                </c:pt>
                <c:pt idx="1">
                  <c:v>0.006546</c:v>
                </c:pt>
                <c:pt idx="2">
                  <c:v>0.00282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6849</c:v>
                </c:pt>
                <c:pt idx="1">
                  <c:v>0.006014</c:v>
                </c:pt>
                <c:pt idx="2">
                  <c:v>0.00293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417</c:v>
                </c:pt>
                <c:pt idx="1">
                  <c:v>0.003874</c:v>
                </c:pt>
                <c:pt idx="2">
                  <c:v>0.0015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337</c:v>
                </c:pt>
                <c:pt idx="1">
                  <c:v>0.004021</c:v>
                </c:pt>
                <c:pt idx="2">
                  <c:v>0.00165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5014</c:v>
                </c:pt>
                <c:pt idx="1">
                  <c:v>0.00475</c:v>
                </c:pt>
                <c:pt idx="2">
                  <c:v>0.00136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0196</c:v>
                </c:pt>
                <c:pt idx="1">
                  <c:v>0.017063</c:v>
                </c:pt>
                <c:pt idx="2">
                  <c:v>0.0065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809138406229978</c:v>
                </c:pt>
                <c:pt idx="1">
                  <c:v>0.21412680428086242</c:v>
                </c:pt>
                <c:pt idx="2">
                  <c:v>0.175340549828178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146981169577785</c:v>
                </c:pt>
                <c:pt idx="1">
                  <c:v>0.11829619240847529</c:v>
                </c:pt>
                <c:pt idx="2">
                  <c:v>0.1503226804123711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266513108831273</c:v>
                </c:pt>
                <c:pt idx="1">
                  <c:v>0.09025655057530614</c:v>
                </c:pt>
                <c:pt idx="2">
                  <c:v>0.086168041237113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2982923234983</c:v>
                </c:pt>
                <c:pt idx="1">
                  <c:v>0.04161031318242695</c:v>
                </c:pt>
                <c:pt idx="2">
                  <c:v>0.0451721649484536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9715250047795</c:v>
                </c:pt>
                <c:pt idx="1">
                  <c:v>0.053022682255704244</c:v>
                </c:pt>
                <c:pt idx="2">
                  <c:v>0.05190412371134020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49029179057715</c:v>
                </c:pt>
                <c:pt idx="1">
                  <c:v>0.04839414416838809</c:v>
                </c:pt>
                <c:pt idx="2">
                  <c:v>0.0452556701030927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793084156589998</c:v>
                </c:pt>
                <c:pt idx="1">
                  <c:v>0.04389061098577826</c:v>
                </c:pt>
                <c:pt idx="2">
                  <c:v>0.0549061855670103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69372902367654</c:v>
                </c:pt>
                <c:pt idx="1">
                  <c:v>0.03749950374210284</c:v>
                </c:pt>
                <c:pt idx="2">
                  <c:v>0.042368041237113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88948764289084</c:v>
                </c:pt>
                <c:pt idx="1">
                  <c:v>0.03766282033519602</c:v>
                </c:pt>
                <c:pt idx="2">
                  <c:v>0.0384436426116838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74995058022873</c:v>
                </c:pt>
                <c:pt idx="1">
                  <c:v>0.3152403780657598</c:v>
                </c:pt>
                <c:pt idx="2">
                  <c:v>0.310118900343642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91244</c:v>
                </c:pt>
                <c:pt idx="1">
                  <c:v>1.365057</c:v>
                </c:pt>
                <c:pt idx="2">
                  <c:v>0.41063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55227</c:v>
                </c:pt>
                <c:pt idx="1">
                  <c:v>0.741854</c:v>
                </c:pt>
                <c:pt idx="2">
                  <c:v>0.26323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04848</c:v>
                </c:pt>
                <c:pt idx="1">
                  <c:v>0.531312</c:v>
                </c:pt>
                <c:pt idx="2">
                  <c:v>0.23195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76671</c:v>
                </c:pt>
                <c:pt idx="1">
                  <c:v>0.435197</c:v>
                </c:pt>
                <c:pt idx="2">
                  <c:v>0.12857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83811</c:v>
                </c:pt>
                <c:pt idx="1">
                  <c:v>0.404958</c:v>
                </c:pt>
                <c:pt idx="2">
                  <c:v>0.17910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25594</c:v>
                </c:pt>
                <c:pt idx="1">
                  <c:v>0.367537</c:v>
                </c:pt>
                <c:pt idx="2">
                  <c:v>0.16946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62087</c:v>
                </c:pt>
                <c:pt idx="1">
                  <c:v>0.239198</c:v>
                </c:pt>
                <c:pt idx="2">
                  <c:v>0.0961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25182</c:v>
                </c:pt>
                <c:pt idx="1">
                  <c:v>0.208247</c:v>
                </c:pt>
                <c:pt idx="2">
                  <c:v>0.0848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09667</c:v>
                </c:pt>
                <c:pt idx="1">
                  <c:v>0.200683</c:v>
                </c:pt>
                <c:pt idx="2">
                  <c:v>0.06014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98627</c:v>
                </c:pt>
                <c:pt idx="1">
                  <c:v>0.871153</c:v>
                </c:pt>
                <c:pt idx="2">
                  <c:v>0.358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417556591812158</c:v>
                </c:pt>
                <c:pt idx="1">
                  <c:v>0.14342150969390458</c:v>
                </c:pt>
                <c:pt idx="2">
                  <c:v>0.1126886605744574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116806985713452</c:v>
                </c:pt>
                <c:pt idx="1">
                  <c:v>0.20514692462128126</c:v>
                </c:pt>
                <c:pt idx="2">
                  <c:v>0.252929939594196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459986525127454</c:v>
                </c:pt>
                <c:pt idx="1">
                  <c:v>0.07429540356434244</c:v>
                </c:pt>
                <c:pt idx="2">
                  <c:v>0.0664291737656392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931564623685</c:v>
                </c:pt>
                <c:pt idx="1">
                  <c:v>0.05312365689524225</c:v>
                </c:pt>
                <c:pt idx="2">
                  <c:v>0.05947648303990913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19419731669664</c:v>
                </c:pt>
                <c:pt idx="1">
                  <c:v>0.06604101289969326</c:v>
                </c:pt>
                <c:pt idx="2">
                  <c:v>0.0620579276162940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740624618698243</c:v>
                </c:pt>
                <c:pt idx="1">
                  <c:v>0.06200801888736466</c:v>
                </c:pt>
                <c:pt idx="2">
                  <c:v>0.0557592028499148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13282829086626</c:v>
                </c:pt>
                <c:pt idx="1">
                  <c:v>0.03789836855088932</c:v>
                </c:pt>
                <c:pt idx="2">
                  <c:v>0.0480320787512692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79328272298527</c:v>
                </c:pt>
                <c:pt idx="1">
                  <c:v>0.03129250098617007</c:v>
                </c:pt>
                <c:pt idx="2">
                  <c:v>0.0351420654998537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435227773091637</c:v>
                </c:pt>
                <c:pt idx="1">
                  <c:v>0.039134760875836776</c:v>
                </c:pt>
                <c:pt idx="2">
                  <c:v>0.0375514137711463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841537620889236</c:v>
                </c:pt>
                <c:pt idx="1">
                  <c:v>0.2876378430252754</c:v>
                </c:pt>
                <c:pt idx="2">
                  <c:v>0.269933054537319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746073008762542</c:v>
                </c:pt>
                <c:pt idx="1">
                  <c:v>0.19786900609036465</c:v>
                </c:pt>
                <c:pt idx="2">
                  <c:v>0.157700024512251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251143192821872</c:v>
                </c:pt>
                <c:pt idx="1">
                  <c:v>0.10293472969114269</c:v>
                </c:pt>
                <c:pt idx="2">
                  <c:v>0.096598950310740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25086734767904</c:v>
                </c:pt>
                <c:pt idx="1">
                  <c:v>0.09902937376379167</c:v>
                </c:pt>
                <c:pt idx="2">
                  <c:v>0.1169905209206519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43967285954745</c:v>
                </c:pt>
                <c:pt idx="1">
                  <c:v>0.0685039279086915</c:v>
                </c:pt>
                <c:pt idx="2">
                  <c:v>0.0854710942047186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567412409989786</c:v>
                </c:pt>
                <c:pt idx="1">
                  <c:v>0.0368167351202081</c:v>
                </c:pt>
                <c:pt idx="2">
                  <c:v>0.0354645878663345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814591858442846</c:v>
                </c:pt>
                <c:pt idx="1">
                  <c:v>0.044583273379015416</c:v>
                </c:pt>
                <c:pt idx="2">
                  <c:v>0.04851004851004851</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23765964450239</c:v>
                </c:pt>
                <c:pt idx="1">
                  <c:v>0.03853708233585502</c:v>
                </c:pt>
                <c:pt idx="2">
                  <c:v>0.0428293594232458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9880699597822</c:v>
                </c:pt>
                <c:pt idx="1">
                  <c:v>0.03533682646449449</c:v>
                </c:pt>
                <c:pt idx="2">
                  <c:v>0.0361681802729837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33579688567687</c:v>
                </c:pt>
                <c:pt idx="1">
                  <c:v>0.03694161406218897</c:v>
                </c:pt>
                <c:pt idx="2">
                  <c:v>0.04750484444807588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494367112826083</c:v>
                </c:pt>
                <c:pt idx="1">
                  <c:v>0.3394474311842476</c:v>
                </c:pt>
                <c:pt idx="2">
                  <c:v>0.332762389530948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279692082111438</c:v>
                </c:pt>
                <c:pt idx="1">
                  <c:v>0.13926788349200575</c:v>
                </c:pt>
                <c:pt idx="2">
                  <c:v>0.1082861498257839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08651026392962</c:v>
                </c:pt>
                <c:pt idx="1">
                  <c:v>0.08909910456208436</c:v>
                </c:pt>
                <c:pt idx="2">
                  <c:v>0.079050522648083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51576246334311</c:v>
                </c:pt>
                <c:pt idx="1">
                  <c:v>0.18068441372061528</c:v>
                </c:pt>
                <c:pt idx="2">
                  <c:v>0.2091136759581881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27657624633431</c:v>
                </c:pt>
                <c:pt idx="1">
                  <c:v>0.06078062781719322</c:v>
                </c:pt>
                <c:pt idx="2">
                  <c:v>0.0799488240418118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500733137829912</c:v>
                </c:pt>
                <c:pt idx="1">
                  <c:v>0.04975441149718028</c:v>
                </c:pt>
                <c:pt idx="2">
                  <c:v>0.05025043554006968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4783724340176</c:v>
                </c:pt>
                <c:pt idx="1">
                  <c:v>0.03915266913265822</c:v>
                </c:pt>
                <c:pt idx="2">
                  <c:v>0.0426284843205574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05608504398827</c:v>
                </c:pt>
                <c:pt idx="1">
                  <c:v>0.04150748893335759</c:v>
                </c:pt>
                <c:pt idx="2">
                  <c:v>0.04488784843205574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74486803519062</c:v>
                </c:pt>
                <c:pt idx="1">
                  <c:v>0.02364926323449154</c:v>
                </c:pt>
                <c:pt idx="2">
                  <c:v>0.02433580139372822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291055718475073</c:v>
                </c:pt>
                <c:pt idx="1">
                  <c:v>0.02464980898672003</c:v>
                </c:pt>
                <c:pt idx="2">
                  <c:v>0.0319849738675958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761546920821113</c:v>
                </c:pt>
                <c:pt idx="1">
                  <c:v>0.35145432862369375</c:v>
                </c:pt>
                <c:pt idx="2">
                  <c:v>0.329513283972125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987</c:v>
                </c:pt>
                <c:pt idx="1">
                  <c:v>0.013885</c:v>
                </c:pt>
                <c:pt idx="2">
                  <c:v>0.00402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868</c:v>
                </c:pt>
                <c:pt idx="1">
                  <c:v>0.008192</c:v>
                </c:pt>
                <c:pt idx="2">
                  <c:v>0.00291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38</c:v>
                </c:pt>
                <c:pt idx="1">
                  <c:v>0.004385</c:v>
                </c:pt>
                <c:pt idx="2">
                  <c:v>0.00187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059</c:v>
                </c:pt>
                <c:pt idx="1">
                  <c:v>0.004311</c:v>
                </c:pt>
                <c:pt idx="2">
                  <c:v>0.00237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8505</c:v>
                </c:pt>
                <c:pt idx="1">
                  <c:v>0.005838</c:v>
                </c:pt>
                <c:pt idx="2">
                  <c:v>0.00176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 Nicola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9467</c:v>
                </c:pt>
                <c:pt idx="1">
                  <c:v>0.009647</c:v>
                </c:pt>
                <c:pt idx="2">
                  <c:v>0.00438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172</c:v>
                </c:pt>
                <c:pt idx="1">
                  <c:v>0.002593</c:v>
                </c:pt>
                <c:pt idx="2">
                  <c:v>0.00100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418</c:v>
                </c:pt>
                <c:pt idx="1">
                  <c:v>0.002416</c:v>
                </c:pt>
                <c:pt idx="2">
                  <c:v>0.00112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596</c:v>
                </c:pt>
                <c:pt idx="1">
                  <c:v>0.002315</c:v>
                </c:pt>
                <c:pt idx="2">
                  <c:v>0.0007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1201</c:v>
                </c:pt>
                <c:pt idx="1">
                  <c:v>0.008858</c:v>
                </c:pt>
                <c:pt idx="2">
                  <c:v>0.0035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82418382771754</c:v>
                </c:pt>
                <c:pt idx="1">
                  <c:v>0.22327650911431415</c:v>
                </c:pt>
                <c:pt idx="2">
                  <c:v>0.18249370045430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823843528980898</c:v>
                </c:pt>
                <c:pt idx="1">
                  <c:v>0.12039001259780613</c:v>
                </c:pt>
                <c:pt idx="2">
                  <c:v>0.1392828020869735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836439769717354</c:v>
                </c:pt>
                <c:pt idx="1">
                  <c:v>0.11185364954471712</c:v>
                </c:pt>
                <c:pt idx="2">
                  <c:v>0.0968444027540203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70951145343873</c:v>
                </c:pt>
                <c:pt idx="1">
                  <c:v>0.05440989411528673</c:v>
                </c:pt>
                <c:pt idx="2">
                  <c:v>0.0534281177386623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44424651323482</c:v>
                </c:pt>
                <c:pt idx="1">
                  <c:v>0.052275294144006064</c:v>
                </c:pt>
                <c:pt idx="2">
                  <c:v>0.0671583684329918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504115228472214</c:v>
                </c:pt>
                <c:pt idx="1">
                  <c:v>0.05147074549070848</c:v>
                </c:pt>
                <c:pt idx="2">
                  <c:v>0.05067225808824881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80117216314834</c:v>
                </c:pt>
                <c:pt idx="1">
                  <c:v>0.04982396679149052</c:v>
                </c:pt>
                <c:pt idx="2">
                  <c:v>0.043097475890059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7765897294106295</c:v>
                </c:pt>
                <c:pt idx="1">
                  <c:v>0.03339080594388324</c:v>
                </c:pt>
                <c:pt idx="2">
                  <c:v>0.0449061045816549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590999305915074</c:v>
                </c:pt>
                <c:pt idx="1">
                  <c:v>0.030886520958492418</c:v>
                </c:pt>
                <c:pt idx="2">
                  <c:v>0.0395170041751733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395378369657804</c:v>
                </c:pt>
                <c:pt idx="1">
                  <c:v>0.27222260129929515</c:v>
                </c:pt>
                <c:pt idx="2">
                  <c:v>0.282599765797911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884246898068164</c:v>
                </c:pt>
                <c:pt idx="1">
                  <c:v>0.15203562340966922</c:v>
                </c:pt>
                <c:pt idx="2">
                  <c:v>0.1200696974497069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585466729490604</c:v>
                </c:pt>
                <c:pt idx="1">
                  <c:v>0.2102947413061917</c:v>
                </c:pt>
                <c:pt idx="2">
                  <c:v>0.240139394899413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68645620648134</c:v>
                </c:pt>
                <c:pt idx="1">
                  <c:v>0.09276929601357083</c:v>
                </c:pt>
                <c:pt idx="2">
                  <c:v>0.0760335814984951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151143919166536</c:v>
                </c:pt>
                <c:pt idx="1">
                  <c:v>0.07098176420695505</c:v>
                </c:pt>
                <c:pt idx="2">
                  <c:v>0.07270711230793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510863305586094</c:v>
                </c:pt>
                <c:pt idx="1">
                  <c:v>0.04564249363867685</c:v>
                </c:pt>
                <c:pt idx="2">
                  <c:v>0.0606684619040076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805874038008481</c:v>
                </c:pt>
                <c:pt idx="1">
                  <c:v>0.06689991518235792</c:v>
                </c:pt>
                <c:pt idx="2">
                  <c:v>0.0651037541580864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50028794303963</c:v>
                </c:pt>
                <c:pt idx="1">
                  <c:v>0.06170483460559797</c:v>
                </c:pt>
                <c:pt idx="2">
                  <c:v>0.0536987169333122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14491387885451</c:v>
                </c:pt>
                <c:pt idx="1">
                  <c:v>0.027989821882951654</c:v>
                </c:pt>
                <c:pt idx="2">
                  <c:v>0.0376999841596705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575781372703</c:v>
                </c:pt>
                <c:pt idx="1">
                  <c:v>0.020038167938931296</c:v>
                </c:pt>
                <c:pt idx="2">
                  <c:v>0.0256613337557421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721323490916706</c:v>
                </c:pt>
                <c:pt idx="1">
                  <c:v>0.2516433418150975</c:v>
                </c:pt>
                <c:pt idx="2">
                  <c:v>0.2482179629336290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06714837265216</c:v>
                </c:pt>
                <c:pt idx="1">
                  <c:v>0.24542237654730034</c:v>
                </c:pt>
                <c:pt idx="2">
                  <c:v>0.1954041701091977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593516050858994</c:v>
                </c:pt>
                <c:pt idx="1">
                  <c:v>0.1100789885228086</c:v>
                </c:pt>
                <c:pt idx="2">
                  <c:v>0.09371960228082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61535819462025</c:v>
                </c:pt>
                <c:pt idx="1">
                  <c:v>0.08567471572083654</c:v>
                </c:pt>
                <c:pt idx="2">
                  <c:v>0.106470873134419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323796742124043</c:v>
                </c:pt>
                <c:pt idx="1">
                  <c:v>0.04265512762742863</c:v>
                </c:pt>
                <c:pt idx="2">
                  <c:v>0.0453518707697567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63764557718851</c:v>
                </c:pt>
                <c:pt idx="1">
                  <c:v>0.04944867071328227</c:v>
                </c:pt>
                <c:pt idx="2">
                  <c:v>0.0605776940264793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54411362494355</c:v>
                </c:pt>
                <c:pt idx="1">
                  <c:v>0.05273279083945185</c:v>
                </c:pt>
                <c:pt idx="2">
                  <c:v>0.0402643863883337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99874061023159</c:v>
                </c:pt>
                <c:pt idx="1">
                  <c:v>0.04523683303734726</c:v>
                </c:pt>
                <c:pt idx="2">
                  <c:v>0.0538662846305061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669690050184775</c:v>
                </c:pt>
                <c:pt idx="1">
                  <c:v>0.03503989185463991</c:v>
                </c:pt>
                <c:pt idx="2">
                  <c:v>0.03965795825006817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9258677386321</c:v>
                </c:pt>
                <c:pt idx="1">
                  <c:v>0.03468603387494367</c:v>
                </c:pt>
                <c:pt idx="2">
                  <c:v>0.0331948180919084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17639725478473</c:v>
                </c:pt>
                <c:pt idx="1">
                  <c:v>0.29902457126196097</c:v>
                </c:pt>
                <c:pt idx="2">
                  <c:v>0.331492342318509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896708286038592</c:v>
                </c:pt>
                <c:pt idx="1">
                  <c:v>0.17585585585585586</c:v>
                </c:pt>
                <c:pt idx="2">
                  <c:v>0.1333781663304191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03231621820124</c:v>
                </c:pt>
                <c:pt idx="1">
                  <c:v>0.09614414414414414</c:v>
                </c:pt>
                <c:pt idx="2">
                  <c:v>0.077336919973100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452427054817386</c:v>
                </c:pt>
                <c:pt idx="1">
                  <c:v>0.15841441441441442</c:v>
                </c:pt>
                <c:pt idx="2">
                  <c:v>0.1959201972651871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275756159444481</c:v>
                </c:pt>
                <c:pt idx="1">
                  <c:v>0.057873873873873875</c:v>
                </c:pt>
                <c:pt idx="2">
                  <c:v>0.0645595158036314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93249649462509</c:v>
                </c:pt>
                <c:pt idx="1">
                  <c:v>0.04511711711711712</c:v>
                </c:pt>
                <c:pt idx="2">
                  <c:v>0.0585070611970410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0158910329171394</c:v>
                </c:pt>
                <c:pt idx="1">
                  <c:v>0.07156756756756756</c:v>
                </c:pt>
                <c:pt idx="2">
                  <c:v>0.0542479264738847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056820458035655</c:v>
                </c:pt>
                <c:pt idx="1">
                  <c:v>0.04</c:v>
                </c:pt>
                <c:pt idx="2">
                  <c:v>0.0477471418964357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7164318621886893</c:v>
                </c:pt>
                <c:pt idx="1">
                  <c:v>0.04836036036036036</c:v>
                </c:pt>
                <c:pt idx="2">
                  <c:v>0.054023761488455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987647726513988</c:v>
                </c:pt>
                <c:pt idx="1">
                  <c:v>0.03790990990990991</c:v>
                </c:pt>
                <c:pt idx="2">
                  <c:v>0.0347455727415377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405087801295315</c:v>
                </c:pt>
                <c:pt idx="1">
                  <c:v>0.26875675675675675</c:v>
                </c:pt>
                <c:pt idx="2">
                  <c:v>0.279533736830307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54331318112668</c:v>
                </c:pt>
                <c:pt idx="1">
                  <c:v>0.20615424813731711</c:v>
                </c:pt>
                <c:pt idx="2">
                  <c:v>0.16387477456756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714435109756036</c:v>
                </c:pt>
                <c:pt idx="1">
                  <c:v>0.10533558610920993</c:v>
                </c:pt>
                <c:pt idx="2">
                  <c:v>0.099297706970744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321463103246468</c:v>
                </c:pt>
                <c:pt idx="1">
                  <c:v>0.10142900157564765</c:v>
                </c:pt>
                <c:pt idx="2">
                  <c:v>0.124226778307173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318694979244752</c:v>
                </c:pt>
                <c:pt idx="1">
                  <c:v>0.057712549283692086</c:v>
                </c:pt>
                <c:pt idx="2">
                  <c:v>0.0752001698187777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35755028710264</c:v>
                </c:pt>
                <c:pt idx="1">
                  <c:v>0.04484668023708202</c:v>
                </c:pt>
                <c:pt idx="2">
                  <c:v>0.0440371438785961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98428381436831</c:v>
                </c:pt>
                <c:pt idx="1">
                  <c:v>0.04022772168871094</c:v>
                </c:pt>
                <c:pt idx="2">
                  <c:v>0.04260866624183138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611084976455335</c:v>
                </c:pt>
                <c:pt idx="1">
                  <c:v>0.04085151180963508</c:v>
                </c:pt>
                <c:pt idx="2">
                  <c:v>0.04428211473164922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9972978064939</c:v>
                </c:pt>
                <c:pt idx="1">
                  <c:v>0.04229202074641757</c:v>
                </c:pt>
                <c:pt idx="2">
                  <c:v>0.0388721687247130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290323098598144</c:v>
                </c:pt>
                <c:pt idx="1">
                  <c:v>0.03754067690754291</c:v>
                </c:pt>
                <c:pt idx="2">
                  <c:v>0.0343160741621577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994953581193527</c:v>
                </c:pt>
                <c:pt idx="1">
                  <c:v>0.32361000350474467</c:v>
                </c:pt>
                <c:pt idx="2">
                  <c:v>0.333284402596794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673631084155593</c:v>
                </c:pt>
                <c:pt idx="1">
                  <c:v>0.14307601216301655</c:v>
                </c:pt>
                <c:pt idx="2">
                  <c:v>0.1096278628982891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0320236467219</c:v>
                </c:pt>
                <c:pt idx="1">
                  <c:v>0.08966210497793864</c:v>
                </c:pt>
                <c:pt idx="2">
                  <c:v>0.079619292907766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32146295694408</c:v>
                </c:pt>
                <c:pt idx="1">
                  <c:v>0.18129283900728912</c:v>
                </c:pt>
                <c:pt idx="2">
                  <c:v>0.2180813196878528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2821846234983164</c:v>
                </c:pt>
                <c:pt idx="1">
                  <c:v>0.05075450175453855</c:v>
                </c:pt>
                <c:pt idx="2">
                  <c:v>0.0687276964863038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128965394592407</c:v>
                </c:pt>
                <c:pt idx="1">
                  <c:v>0.05918264261270694</c:v>
                </c:pt>
                <c:pt idx="2">
                  <c:v>0.06028466878573663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116761821827838</c:v>
                </c:pt>
                <c:pt idx="1">
                  <c:v>0.042871622638732315</c:v>
                </c:pt>
                <c:pt idx="2">
                  <c:v>0.0435301105936872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82146602316839</c:v>
                </c:pt>
                <c:pt idx="1">
                  <c:v>0.03529649861677466</c:v>
                </c:pt>
                <c:pt idx="2">
                  <c:v>0.0382656878437631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436415706427419</c:v>
                </c:pt>
                <c:pt idx="1">
                  <c:v>0.05461147591983649</c:v>
                </c:pt>
                <c:pt idx="2">
                  <c:v>0.04791939674521735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100099958912594</c:v>
                </c:pt>
                <c:pt idx="1">
                  <c:v>0.04989479459020068</c:v>
                </c:pt>
                <c:pt idx="2">
                  <c:v>0.0439563429265837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02630820460302</c:v>
                </c:pt>
                <c:pt idx="1">
                  <c:v>0.29335750771896607</c:v>
                </c:pt>
                <c:pt idx="2">
                  <c:v>0.28998762112479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8134</c:v>
                </c:pt>
                <c:pt idx="1">
                  <c:v>1.034553</c:v>
                </c:pt>
                <c:pt idx="2">
                  <c:v>0.3075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5923</c:v>
                </c:pt>
                <c:pt idx="1">
                  <c:v>0.536705</c:v>
                </c:pt>
                <c:pt idx="2">
                  <c:v>0.20152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70508</c:v>
                </c:pt>
                <c:pt idx="1">
                  <c:v>0.268635</c:v>
                </c:pt>
                <c:pt idx="2">
                  <c:v>0.115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15029</c:v>
                </c:pt>
                <c:pt idx="1">
                  <c:v>0.263832</c:v>
                </c:pt>
                <c:pt idx="2">
                  <c:v>0.13705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50936</c:v>
                </c:pt>
                <c:pt idx="1">
                  <c:v>0.266508</c:v>
                </c:pt>
                <c:pt idx="2">
                  <c:v>0.07882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 Nicolas</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62622</c:v>
                </c:pt>
                <c:pt idx="1">
                  <c:v>0.28417</c:v>
                </c:pt>
                <c:pt idx="2">
                  <c:v>0.13061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86668</c:v>
                </c:pt>
                <c:pt idx="1">
                  <c:v>0.158099</c:v>
                </c:pt>
                <c:pt idx="2">
                  <c:v>0.06104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24136</c:v>
                </c:pt>
                <c:pt idx="1">
                  <c:v>0.12445</c:v>
                </c:pt>
                <c:pt idx="2">
                  <c:v>0.05748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6468</c:v>
                </c:pt>
                <c:pt idx="1">
                  <c:v>0.096679</c:v>
                </c:pt>
                <c:pt idx="2">
                  <c:v>0.03253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45746</c:v>
                </c:pt>
                <c:pt idx="1">
                  <c:v>0.466819</c:v>
                </c:pt>
                <c:pt idx="2">
                  <c:v>0.20250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415016962720378</c:v>
                </c:pt>
                <c:pt idx="1">
                  <c:v>0.21803277839495144</c:v>
                </c:pt>
                <c:pt idx="2">
                  <c:v>0.1653074807348424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85600165726993</c:v>
                </c:pt>
                <c:pt idx="1">
                  <c:v>0.13377692150327966</c:v>
                </c:pt>
                <c:pt idx="2">
                  <c:v>0.153239192667612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489032734917373</c:v>
                </c:pt>
                <c:pt idx="1">
                  <c:v>0.08763002726785422</c:v>
                </c:pt>
                <c:pt idx="2">
                  <c:v>0.0905562638825406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445531956793336</c:v>
                </c:pt>
                <c:pt idx="1">
                  <c:v>0.055632378570004325</c:v>
                </c:pt>
                <c:pt idx="2">
                  <c:v>0.0573223636203260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897874576891058</c:v>
                </c:pt>
                <c:pt idx="1">
                  <c:v>0.06495601666627823</c:v>
                </c:pt>
                <c:pt idx="2">
                  <c:v>0.0646274868291274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03264924060976</c:v>
                </c:pt>
                <c:pt idx="1">
                  <c:v>0.05145286131201624</c:v>
                </c:pt>
                <c:pt idx="2">
                  <c:v>0.0455387428131540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824303812360216</c:v>
                </c:pt>
                <c:pt idx="1">
                  <c:v>0.05394011430228734</c:v>
                </c:pt>
                <c:pt idx="2">
                  <c:v>0.0550570537339523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27838937915037</c:v>
                </c:pt>
                <c:pt idx="1">
                  <c:v>0.036341601733955856</c:v>
                </c:pt>
                <c:pt idx="2">
                  <c:v>0.0442637542399384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5367099355634</c:v>
                </c:pt>
                <c:pt idx="1">
                  <c:v>0.026854822629470518</c:v>
                </c:pt>
                <c:pt idx="2">
                  <c:v>0.04193429398510107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872933687463955</c:v>
                </c:pt>
                <c:pt idx="1">
                  <c:v>0.27138247761990214</c:v>
                </c:pt>
                <c:pt idx="2">
                  <c:v>0.282153367493404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048974025168929</c:v>
                </c:pt>
                <c:pt idx="1">
                  <c:v>0.14394038436396914</c:v>
                </c:pt>
                <c:pt idx="2">
                  <c:v>0.104883907125700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395511747566797</c:v>
                </c:pt>
                <c:pt idx="1">
                  <c:v>0.22636946006013858</c:v>
                </c:pt>
                <c:pt idx="2">
                  <c:v>0.254003202562049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70386212882029</c:v>
                </c:pt>
                <c:pt idx="1">
                  <c:v>0.07085893580860243</c:v>
                </c:pt>
                <c:pt idx="2">
                  <c:v>0.0684547638110488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731324778377038</c:v>
                </c:pt>
                <c:pt idx="1">
                  <c:v>0.06994378350111126</c:v>
                </c:pt>
                <c:pt idx="2">
                  <c:v>0.0748598879103282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336061000557933</c:v>
                </c:pt>
                <c:pt idx="1">
                  <c:v>0.08301738789384233</c:v>
                </c:pt>
                <c:pt idx="2">
                  <c:v>0.0814651721377101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184489492281942</c:v>
                </c:pt>
                <c:pt idx="1">
                  <c:v>0.04399267878154007</c:v>
                </c:pt>
                <c:pt idx="2">
                  <c:v>0.0388310648518815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933420122745025</c:v>
                </c:pt>
                <c:pt idx="1">
                  <c:v>0.06700222251274676</c:v>
                </c:pt>
                <c:pt idx="2">
                  <c:v>0.064451561248999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47591593825553</c:v>
                </c:pt>
                <c:pt idx="1">
                  <c:v>0.03745587658517453</c:v>
                </c:pt>
                <c:pt idx="2">
                  <c:v>0.0428342674139311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59475543983634</c:v>
                </c:pt>
                <c:pt idx="1">
                  <c:v>0.021963655379788206</c:v>
                </c:pt>
                <c:pt idx="2">
                  <c:v>0.0352281825460368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232843593081646</c:v>
                </c:pt>
                <c:pt idx="1">
                  <c:v>0.23545561511308669</c:v>
                </c:pt>
                <c:pt idx="2">
                  <c:v>0.234987990392313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371835468500783</c:v>
                </c:pt>
                <c:pt idx="1">
                  <c:v>0.20702539026432487</c:v>
                </c:pt>
                <c:pt idx="2">
                  <c:v>0.1680000757755994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087836051508855</c:v>
                </c:pt>
                <c:pt idx="1">
                  <c:v>0.11112095951424174</c:v>
                </c:pt>
                <c:pt idx="2">
                  <c:v>0.1314536712999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384845100548203</c:v>
                </c:pt>
                <c:pt idx="1">
                  <c:v>0.10436791705495428</c:v>
                </c:pt>
                <c:pt idx="2">
                  <c:v>0.0945654408663379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888338321240207</c:v>
                </c:pt>
                <c:pt idx="1">
                  <c:v>0.04812262734293348</c:v>
                </c:pt>
                <c:pt idx="2">
                  <c:v>0.04304388354404707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06680132252715</c:v>
                </c:pt>
                <c:pt idx="1">
                  <c:v>0.0496799290603631</c:v>
                </c:pt>
                <c:pt idx="2">
                  <c:v>0.0685629881884784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9154109540228245</c:v>
                </c:pt>
                <c:pt idx="1">
                  <c:v>0.04285498569084321</c:v>
                </c:pt>
                <c:pt idx="2">
                  <c:v>0.04609162272889106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430900439417044</c:v>
                </c:pt>
                <c:pt idx="1">
                  <c:v>0.04437891526725831</c:v>
                </c:pt>
                <c:pt idx="2">
                  <c:v>0.0400635623557965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347544998062005</c:v>
                </c:pt>
                <c:pt idx="1">
                  <c:v>0.04662749704856006</c:v>
                </c:pt>
                <c:pt idx="2">
                  <c:v>0.0428087563162583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53740286455592</c:v>
                </c:pt>
                <c:pt idx="1">
                  <c:v>0.03932940871765943</c:v>
                </c:pt>
                <c:pt idx="2">
                  <c:v>0.04129547302082213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81346914172291</c:v>
                </c:pt>
                <c:pt idx="1">
                  <c:v>0.30649237003886154</c:v>
                </c:pt>
                <c:pt idx="2">
                  <c:v>0.324114525903832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345751259945725</c:v>
                </c:pt>
                <c:pt idx="1">
                  <c:v>0.14091924914365853</c:v>
                </c:pt>
                <c:pt idx="2">
                  <c:v>0.110735686954010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379294430393768</c:v>
                </c:pt>
                <c:pt idx="1">
                  <c:v>0.19554853778748607</c:v>
                </c:pt>
                <c:pt idx="2">
                  <c:v>0.227507039202945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575938267274641</c:v>
                </c:pt>
                <c:pt idx="1">
                  <c:v>0.08705675816109813</c:v>
                </c:pt>
                <c:pt idx="2">
                  <c:v>0.0745938921377517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672155660986911</c:v>
                </c:pt>
                <c:pt idx="1">
                  <c:v>0.0624385174572586</c:v>
                </c:pt>
                <c:pt idx="2">
                  <c:v>0.0584362139917695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06416954346582</c:v>
                </c:pt>
                <c:pt idx="1">
                  <c:v>0.04310714483899771</c:v>
                </c:pt>
                <c:pt idx="2">
                  <c:v>0.0619161071402786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23928815374107</c:v>
                </c:pt>
                <c:pt idx="1">
                  <c:v>0.04478703708374742</c:v>
                </c:pt>
                <c:pt idx="2">
                  <c:v>0.04642264096455129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88401115028891</c:v>
                </c:pt>
                <c:pt idx="1">
                  <c:v>0.057726747617630296</c:v>
                </c:pt>
                <c:pt idx="2">
                  <c:v>0.05076889755252328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5945282357067694</c:v>
                </c:pt>
                <c:pt idx="1">
                  <c:v>0.05926538766162026</c:v>
                </c:pt>
                <c:pt idx="2">
                  <c:v>0.0519818063677712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82606287729144</c:v>
                </c:pt>
                <c:pt idx="1">
                  <c:v>0.03332542993638606</c:v>
                </c:pt>
                <c:pt idx="2">
                  <c:v>0.03526099198613818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8935368937953443</c:v>
                </c:pt>
                <c:pt idx="1">
                  <c:v>0.27582519031211694</c:v>
                </c:pt>
                <c:pt idx="2">
                  <c:v>0.282376723702259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958979419227517</c:v>
                </c:pt>
                <c:pt idx="1">
                  <c:v>0.20052667475176747</c:v>
                </c:pt>
                <c:pt idx="2">
                  <c:v>0.165813185299259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009703035429</c:v>
                </c:pt>
                <c:pt idx="1">
                  <c:v>0.10861204310302472</c:v>
                </c:pt>
                <c:pt idx="2">
                  <c:v>0.095521563442589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98541020580772</c:v>
                </c:pt>
                <c:pt idx="1">
                  <c:v>0.1081367637121996</c:v>
                </c:pt>
                <c:pt idx="2">
                  <c:v>0.1293009142129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013567803777841</c:v>
                </c:pt>
                <c:pt idx="1">
                  <c:v>0.04907065123005906</c:v>
                </c:pt>
                <c:pt idx="2">
                  <c:v>0.04886434469896403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5487618644864206</c:v>
                </c:pt>
                <c:pt idx="1">
                  <c:v>0.049813244873963394</c:v>
                </c:pt>
                <c:pt idx="2">
                  <c:v>0.0629568439238000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2638849732168</c:v>
                </c:pt>
                <c:pt idx="1">
                  <c:v>0.04431299264022323</c:v>
                </c:pt>
                <c:pt idx="2">
                  <c:v>0.04507485182887084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654355793628418</c:v>
                </c:pt>
                <c:pt idx="1">
                  <c:v>0.045019952491519646</c:v>
                </c:pt>
                <c:pt idx="2">
                  <c:v>0.0415284988019221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18501550606146</c:v>
                </c:pt>
                <c:pt idx="1">
                  <c:v>0.038391458981248114</c:v>
                </c:pt>
                <c:pt idx="2">
                  <c:v>0.0431001860749575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319154684710084</c:v>
                </c:pt>
                <c:pt idx="1">
                  <c:v>0.038697812304044545</c:v>
                </c:pt>
                <c:pt idx="2">
                  <c:v>0.0452076353742484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06077906211823</c:v>
                </c:pt>
                <c:pt idx="1">
                  <c:v>0.31741840591195025</c:v>
                </c:pt>
                <c:pt idx="2">
                  <c:v>0.3226319763424576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139281608854864</c:v>
                </c:pt>
                <c:pt idx="1">
                  <c:v>0.13772193285936965</c:v>
                </c:pt>
                <c:pt idx="2">
                  <c:v>0.1102640592199756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960335612623396</c:v>
                </c:pt>
                <c:pt idx="1">
                  <c:v>0.09137107300814863</c:v>
                </c:pt>
                <c:pt idx="2">
                  <c:v>0.075277133281773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03403529146866</c:v>
                </c:pt>
                <c:pt idx="1">
                  <c:v>0.1894967620930439</c:v>
                </c:pt>
                <c:pt idx="2">
                  <c:v>0.2223142930799543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887264022374175</c:v>
                </c:pt>
                <c:pt idx="1">
                  <c:v>0.06394074186721413</c:v>
                </c:pt>
                <c:pt idx="2">
                  <c:v>0.0657938349353662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62530367491082</c:v>
                </c:pt>
                <c:pt idx="1">
                  <c:v>0.04359452027018464</c:v>
                </c:pt>
                <c:pt idx="2">
                  <c:v>0.0566788200198873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256200893544908</c:v>
                </c:pt>
                <c:pt idx="1">
                  <c:v>0.05778174859648456</c:v>
                </c:pt>
                <c:pt idx="2">
                  <c:v>0.05693661842153721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6948674496047784</c:v>
                </c:pt>
                <c:pt idx="1">
                  <c:v>0.05586181550900404</c:v>
                </c:pt>
                <c:pt idx="2">
                  <c:v>0.049681434832246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26801606958748</c:v>
                </c:pt>
                <c:pt idx="1">
                  <c:v>0.04007147473672205</c:v>
                </c:pt>
                <c:pt idx="2">
                  <c:v>0.0433653739918241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808361873837146</c:v>
                </c:pt>
                <c:pt idx="1">
                  <c:v>0.032822618459237854</c:v>
                </c:pt>
                <c:pt idx="2">
                  <c:v>0.0384303760173829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895784695969567</c:v>
                </c:pt>
                <c:pt idx="1">
                  <c:v>0.28733731260059053</c:v>
                </c:pt>
                <c:pt idx="2">
                  <c:v>0.281258056200051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57137703530522</c:v>
                </c:pt>
                <c:pt idx="1">
                  <c:v>0.6264300882606676</c:v>
                </c:pt>
                <c:pt idx="2">
                  <c:v>0.70459500803593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042235835246942</c:v>
                </c:pt>
                <c:pt idx="1">
                  <c:v>0.23188167761629835</c:v>
                </c:pt>
                <c:pt idx="2">
                  <c:v>0.215506457796797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920904934682919</c:v>
                </c:pt>
                <c:pt idx="1">
                  <c:v>0.060425376600968875</c:v>
                </c:pt>
                <c:pt idx="2">
                  <c:v>0.0119474081676122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46548219476492</c:v>
                </c:pt>
                <c:pt idx="1">
                  <c:v>0.08126285752206516</c:v>
                </c:pt>
                <c:pt idx="2">
                  <c:v>0.067951125999651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78245934195695</c:v>
                </c:pt>
                <c:pt idx="1">
                  <c:v>0.6363696676175944</c:v>
                </c:pt>
                <c:pt idx="2">
                  <c:v>0.71274298056155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69169663464119</c:v>
                </c:pt>
                <c:pt idx="1">
                  <c:v>0.23114177668679095</c:v>
                </c:pt>
                <c:pt idx="2">
                  <c:v>0.211663066954643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571359562020289</c:v>
                </c:pt>
                <c:pt idx="1">
                  <c:v>0.056126849333244876</c:v>
                </c:pt>
                <c:pt idx="2">
                  <c:v>0.01018204257945078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954484461381568</c:v>
                </c:pt>
                <c:pt idx="1">
                  <c:v>0.0763617063623698</c:v>
                </c:pt>
                <c:pt idx="2">
                  <c:v>0.0654119099043505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23119077386865</c:v>
                </c:pt>
                <c:pt idx="1">
                  <c:v>0.5971523831055604</c:v>
                </c:pt>
                <c:pt idx="2">
                  <c:v>0.625025524252680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77875278968954</c:v>
                </c:pt>
                <c:pt idx="1">
                  <c:v>0.2607994012676287</c:v>
                </c:pt>
                <c:pt idx="2">
                  <c:v>0.2467530056741187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105418132105675</c:v>
                </c:pt>
                <c:pt idx="1">
                  <c:v>0.03933079183915304</c:v>
                </c:pt>
                <c:pt idx="2">
                  <c:v>0.01249914919157730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884638304336142</c:v>
                </c:pt>
                <c:pt idx="1">
                  <c:v>0.1027174237876579</c:v>
                </c:pt>
                <c:pt idx="2">
                  <c:v>0.1157223208816231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50978607191625</c:v>
                </c:pt>
                <c:pt idx="1">
                  <c:v>0.6084821894912775</c:v>
                </c:pt>
                <c:pt idx="2">
                  <c:v>0.63245942571785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533454710969504</c:v>
                </c:pt>
                <c:pt idx="1">
                  <c:v>0.2589574845920819</c:v>
                </c:pt>
                <c:pt idx="2">
                  <c:v>0.2444444444444444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88848429676832</c:v>
                </c:pt>
                <c:pt idx="1">
                  <c:v>0.036979003447195236</c:v>
                </c:pt>
                <c:pt idx="2">
                  <c:v>0.01148564294631710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068274920345927</c:v>
                </c:pt>
                <c:pt idx="1">
                  <c:v>0.09558132246944533</c:v>
                </c:pt>
                <c:pt idx="2">
                  <c:v>0.111610486891385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9%</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17552414552482</c:v>
                </c:pt>
                <c:pt idx="1">
                  <c:v>0.6829592197082361</c:v>
                </c:pt>
                <c:pt idx="2">
                  <c:v>0.78091872791519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590885598076448</c:v>
                </c:pt>
                <c:pt idx="1">
                  <c:v>0.05315513819739074</c:v>
                </c:pt>
                <c:pt idx="2">
                  <c:v>0.01484331411567788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23359025639873</c:v>
                </c:pt>
                <c:pt idx="1">
                  <c:v>0.26388564209437315</c:v>
                </c:pt>
                <c:pt idx="2">
                  <c:v>0.204237957969127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108454608454609</c:v>
                </c:pt>
                <c:pt idx="1">
                  <c:v>0.6919222289035879</c:v>
                </c:pt>
                <c:pt idx="2">
                  <c:v>0.785447761194029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591129591129591</c:v>
                </c:pt>
                <c:pt idx="1">
                  <c:v>0.04990980156343957</c:v>
                </c:pt>
                <c:pt idx="2">
                  <c:v>0.01259328358208955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324324324324326</c:v>
                </c:pt>
                <c:pt idx="1">
                  <c:v>0.25816796953297255</c:v>
                </c:pt>
                <c:pt idx="2">
                  <c:v>0.201958955223880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57256848653835</c:v>
                </c:pt>
                <c:pt idx="1">
                  <c:v>0.6405605203581456</c:v>
                </c:pt>
                <c:pt idx="2">
                  <c:v>0.710858992947427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152392981439273</c:v>
                </c:pt>
                <c:pt idx="1">
                  <c:v>0.2234450102317613</c:v>
                </c:pt>
                <c:pt idx="2">
                  <c:v>0.192560529917929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215989211407197</c:v>
                </c:pt>
                <c:pt idx="1">
                  <c:v>0.04355721968033394</c:v>
                </c:pt>
                <c:pt idx="2">
                  <c:v>0.00912895995304720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059049320615183</c:v>
                </c:pt>
                <c:pt idx="1">
                  <c:v>0.09243724972975913</c:v>
                </c:pt>
                <c:pt idx="2">
                  <c:v>0.0874515171815965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61209943874533</c:v>
                </c:pt>
                <c:pt idx="1">
                  <c:v>0.6500927391222965</c:v>
                </c:pt>
                <c:pt idx="2">
                  <c:v>0.717530328281849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824005540406008</c:v>
                </c:pt>
                <c:pt idx="1">
                  <c:v>0.22271002433338438</c:v>
                </c:pt>
                <c:pt idx="2">
                  <c:v>0.19030270144568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019550130574673</c:v>
                </c:pt>
                <c:pt idx="1">
                  <c:v>0.03992036346929399</c:v>
                </c:pt>
                <c:pt idx="2">
                  <c:v>0.00775163753342893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54434489027399</c:v>
                </c:pt>
                <c:pt idx="1">
                  <c:v>0.0872768730750251</c:v>
                </c:pt>
                <c:pt idx="2">
                  <c:v>0.0844153327390411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245</c:v>
                </c:pt>
                <c:pt idx="1">
                  <c:v>0.005129</c:v>
                </c:pt>
                <c:pt idx="2">
                  <c:v>0.00145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878</c:v>
                </c:pt>
                <c:pt idx="1">
                  <c:v>0.003458</c:v>
                </c:pt>
                <c:pt idx="2">
                  <c:v>0.00104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309</c:v>
                </c:pt>
                <c:pt idx="1">
                  <c:v>0.007483</c:v>
                </c:pt>
                <c:pt idx="2">
                  <c:v>0.00263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301</c:v>
                </c:pt>
                <c:pt idx="1">
                  <c:v>0.00352</c:v>
                </c:pt>
                <c:pt idx="2">
                  <c:v>0.00112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381</c:v>
                </c:pt>
                <c:pt idx="1">
                  <c:v>0.001865</c:v>
                </c:pt>
                <c:pt idx="2">
                  <c:v>0.00066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821</c:v>
                </c:pt>
                <c:pt idx="1">
                  <c:v>0.002431</c:v>
                </c:pt>
                <c:pt idx="2">
                  <c:v>0.00084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c:v>
                </c:pt>
                <c:pt idx="1">
                  <c:v>0.001383</c:v>
                </c:pt>
                <c:pt idx="2">
                  <c:v>0.00051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62</c:v>
                </c:pt>
                <c:pt idx="1">
                  <c:v>0.001942</c:v>
                </c:pt>
                <c:pt idx="2">
                  <c:v>0.000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08</c:v>
                </c:pt>
                <c:pt idx="1">
                  <c:v>0.001002</c:v>
                </c:pt>
                <c:pt idx="2">
                  <c:v>0.00044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8691</c:v>
                </c:pt>
                <c:pt idx="1">
                  <c:v>0.018744</c:v>
                </c:pt>
                <c:pt idx="2">
                  <c:v>0.0068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6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12690916121192</c:v>
                </c:pt>
                <c:pt idx="1">
                  <c:v>0.6362448795277876</c:v>
                </c:pt>
                <c:pt idx="2">
                  <c:v>0.66560437058957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94542491783357</c:v>
                </c:pt>
                <c:pt idx="1">
                  <c:v>0.19833564493758668</c:v>
                </c:pt>
                <c:pt idx="2">
                  <c:v>0.214432050990211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272654459082498</c:v>
                </c:pt>
                <c:pt idx="1">
                  <c:v>0.06541302454601168</c:v>
                </c:pt>
                <c:pt idx="2">
                  <c:v>0.0230366492146596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655011461872015</c:v>
                </c:pt>
                <c:pt idx="1">
                  <c:v>0.100006450988614</c:v>
                </c:pt>
                <c:pt idx="2">
                  <c:v>0.0969269292055542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17921527041357</c:v>
                </c:pt>
                <c:pt idx="1">
                  <c:v>0.6455534229046705</c:v>
                </c:pt>
                <c:pt idx="2">
                  <c:v>0.679487179487179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762460233297986</c:v>
                </c:pt>
                <c:pt idx="1">
                  <c:v>0.19641714651311581</c:v>
                </c:pt>
                <c:pt idx="2">
                  <c:v>0.205128205128205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552492046659597</c:v>
                </c:pt>
                <c:pt idx="1">
                  <c:v>0.06269993602047345</c:v>
                </c:pt>
                <c:pt idx="2">
                  <c:v>0.01831501831501831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505832449628844</c:v>
                </c:pt>
                <c:pt idx="1">
                  <c:v>0.09532949456174024</c:v>
                </c:pt>
                <c:pt idx="2">
                  <c:v>0.097069597069597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7072768810157</c:v>
                </c:pt>
                <c:pt idx="1">
                  <c:v>0.6122157530484456</c:v>
                </c:pt>
                <c:pt idx="2">
                  <c:v>0.58899022801302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358675705029774</c:v>
                </c:pt>
                <c:pt idx="1">
                  <c:v>0.30998571899373834</c:v>
                </c:pt>
                <c:pt idx="2">
                  <c:v>0.3493159609120521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1215684805812516</c:v>
                </c:pt>
                <c:pt idx="1">
                  <c:v>0.039195869493573544</c:v>
                </c:pt>
                <c:pt idx="2">
                  <c:v>0.01452768729641693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812478933373282</c:v>
                </c:pt>
                <c:pt idx="1">
                  <c:v>0.03860265846424256</c:v>
                </c:pt>
                <c:pt idx="2">
                  <c:v>0.0471661237785016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801736613603473</c:v>
                </c:pt>
                <c:pt idx="1">
                  <c:v>0.6166666666666667</c:v>
                </c:pt>
                <c:pt idx="2">
                  <c:v>0.590673575129533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214182344428365</c:v>
                </c:pt>
                <c:pt idx="1">
                  <c:v>0.3078947368421053</c:v>
                </c:pt>
                <c:pt idx="2">
                  <c:v>0.347150259067357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328509406657019</c:v>
                </c:pt>
                <c:pt idx="1">
                  <c:v>0.035964912280701755</c:v>
                </c:pt>
                <c:pt idx="2">
                  <c:v>0.01295336787564766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439942112879884</c:v>
                </c:pt>
                <c:pt idx="1">
                  <c:v>0.039473684210526314</c:v>
                </c:pt>
                <c:pt idx="2">
                  <c:v>0.0492227979274611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00292676742743</c:v>
                </c:pt>
                <c:pt idx="1">
                  <c:v>0.6497595266574344</c:v>
                </c:pt>
                <c:pt idx="2">
                  <c:v>0.721558436319137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34228063567291</c:v>
                </c:pt>
                <c:pt idx="1">
                  <c:v>0.04306040834677005</c:v>
                </c:pt>
                <c:pt idx="2">
                  <c:v>0.01338367198741309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1662845169005277</c:v>
                </c:pt>
                <c:pt idx="1">
                  <c:v>0.30718006499579553</c:v>
                </c:pt>
                <c:pt idx="2">
                  <c:v>0.265057891693449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34262364778686</c:v>
                </c:pt>
                <c:pt idx="1">
                  <c:v>0.659546135493536</c:v>
                </c:pt>
                <c:pt idx="2">
                  <c:v>0.727799487939630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942651991119089</c:v>
                </c:pt>
                <c:pt idx="1">
                  <c:v>0.039616046163235864</c:v>
                </c:pt>
                <c:pt idx="2">
                  <c:v>0.011858240129362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71472436109405</c:v>
                </c:pt>
                <c:pt idx="1">
                  <c:v>0.30083781834322815</c:v>
                </c:pt>
                <c:pt idx="2">
                  <c:v>0.260342271931006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97723858303799</c:v>
                </c:pt>
                <c:pt idx="1">
                  <c:v>0.6764487260990758</c:v>
                </c:pt>
                <c:pt idx="2">
                  <c:v>0.700285201539939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12072715882527</c:v>
                </c:pt>
                <c:pt idx="1">
                  <c:v>0.21214566319461425</c:v>
                </c:pt>
                <c:pt idx="2">
                  <c:v>0.21204324936146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88196430332315</c:v>
                </c:pt>
                <c:pt idx="1">
                  <c:v>0.04983617780820578</c:v>
                </c:pt>
                <c:pt idx="2">
                  <c:v>0.01205963169534816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213837827804429</c:v>
                </c:pt>
                <c:pt idx="1">
                  <c:v>0.06156943289810422</c:v>
                </c:pt>
                <c:pt idx="2">
                  <c:v>0.0756119174032511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0376099994395</c:v>
                </c:pt>
                <c:pt idx="1">
                  <c:v>0.6862476339664513</c:v>
                </c:pt>
                <c:pt idx="2">
                  <c:v>0.707733812949640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716327560114342</c:v>
                </c:pt>
                <c:pt idx="1">
                  <c:v>0.21016904901768815</c:v>
                </c:pt>
                <c:pt idx="2">
                  <c:v>0.209232613908872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408889636231153</c:v>
                </c:pt>
                <c:pt idx="1">
                  <c:v>0.04634162260949024</c:v>
                </c:pt>
                <c:pt idx="2">
                  <c:v>0.01034172661870503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371728042150106</c:v>
                </c:pt>
                <c:pt idx="1">
                  <c:v>0.05724169440637034</c:v>
                </c:pt>
                <c:pt idx="2">
                  <c:v>0.072691846522781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03345529067142</c:v>
                </c:pt>
                <c:pt idx="1">
                  <c:v>0.6545249591104721</c:v>
                </c:pt>
                <c:pt idx="2">
                  <c:v>0.709320840350884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823987773390916</c:v>
                </c:pt>
                <c:pt idx="1">
                  <c:v>0.0631437759628436</c:v>
                </c:pt>
                <c:pt idx="2">
                  <c:v>0.0193287390139626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14255693593766</c:v>
                </c:pt>
                <c:pt idx="1">
                  <c:v>0.2823312649266842</c:v>
                </c:pt>
                <c:pt idx="2">
                  <c:v>0.271350420635152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41559535170942</c:v>
                </c:pt>
                <c:pt idx="1">
                  <c:v>0.6660692522761489</c:v>
                </c:pt>
                <c:pt idx="2">
                  <c:v>0.718319327731092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270701173300398</c:v>
                </c:pt>
                <c:pt idx="1">
                  <c:v>0.058355437665782495</c:v>
                </c:pt>
                <c:pt idx="2">
                  <c:v>0.016806722689075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313703474990173</c:v>
                </c:pt>
                <c:pt idx="1">
                  <c:v>0.2755753100580687</c:v>
                </c:pt>
                <c:pt idx="2">
                  <c:v>0.264873949579831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0%</a:t>
                    </a:r>
                  </a:p>
                </c:rich>
              </c:tx>
              <c:showLegendKey val="0"/>
              <c:showVal val="1"/>
              <c:showCatName val="0"/>
              <c:showSerName val="0"/>
              <c:showPercent val="0"/>
              <c:showBubbleSize val="0"/>
            </c:dLbl>
            <c:dLbl>
              <c:idx val="2"/>
              <c:tx>
                <c:rich>
                  <a:bodyPr/>
                  <a:lstStyle/>
                  <a:p>
                    <a:r>
                      <a:rPr sz="800">
                        <a:solidFill>
                          <a:srgbClr val="FFFFFF"/>
                        </a:solidFill>
                        <a:latin typeface="Nexa Book"/>
                      </a:rPr>
                      <a:t>7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3625848568038</c:v>
                </c:pt>
                <c:pt idx="1">
                  <c:v>0.895782681295929</c:v>
                </c:pt>
                <c:pt idx="2">
                  <c:v>0.732207484765973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637415143196205</c:v>
                </c:pt>
                <c:pt idx="1">
                  <c:v>0.10421731870407099</c:v>
                </c:pt>
                <c:pt idx="2">
                  <c:v>0.267792515234026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16546762589928</c:v>
                </c:pt>
                <c:pt idx="1">
                  <c:v>0.9228062913907285</c:v>
                </c:pt>
                <c:pt idx="2">
                  <c:v>0.786795349857424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34532374100719</c:v>
                </c:pt>
                <c:pt idx="1">
                  <c:v>0.07719370860927152</c:v>
                </c:pt>
                <c:pt idx="2">
                  <c:v>0.2132046501425751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4%</a:t>
                    </a:r>
                  </a:p>
                </c:rich>
              </c:tx>
              <c:showLegendKey val="0"/>
              <c:showVal val="1"/>
              <c:showCatName val="0"/>
              <c:showSerName val="0"/>
              <c:showPercent val="0"/>
              <c:showBubbleSize val="0"/>
            </c:dLbl>
            <c:dLbl>
              <c:idx val="1"/>
              <c:tx>
                <c:rich>
                  <a:bodyPr/>
                  <a:lstStyle/>
                  <a:p>
                    <a:r>
                      <a:rPr sz="800">
                        <a:solidFill>
                          <a:srgbClr val="FFFFFF"/>
                        </a:solidFill>
                        <a:latin typeface="Nexa Book"/>
                      </a:rPr>
                      <a:t>88%</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406575546027274</c:v>
                </c:pt>
                <c:pt idx="1">
                  <c:v>0.8791138378733391</c:v>
                </c:pt>
                <c:pt idx="2">
                  <c:v>0.68630756523269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934244539727258</c:v>
                </c:pt>
                <c:pt idx="1">
                  <c:v>0.12088616212666095</c:v>
                </c:pt>
                <c:pt idx="2">
                  <c:v>0.313692434767301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720040155602962</c:v>
                </c:pt>
                <c:pt idx="1">
                  <c:v>0.9092166695486772</c:v>
                </c:pt>
                <c:pt idx="2">
                  <c:v>0.74484052532833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799598443970386</c:v>
                </c:pt>
                <c:pt idx="1">
                  <c:v>0.09078333045132285</c:v>
                </c:pt>
                <c:pt idx="2">
                  <c:v>0.255159474671669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7184</c:v>
                </c:pt>
                <c:pt idx="1">
                  <c:v>0.108442</c:v>
                </c:pt>
                <c:pt idx="2">
                  <c:v>0.03133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5511</c:v>
                </c:pt>
                <c:pt idx="1">
                  <c:v>0.065726</c:v>
                </c:pt>
                <c:pt idx="2">
                  <c:v>0.02266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973</c:v>
                </c:pt>
                <c:pt idx="1">
                  <c:v>0.064341</c:v>
                </c:pt>
                <c:pt idx="2">
                  <c:v>0.02036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937</c:v>
                </c:pt>
                <c:pt idx="1">
                  <c:v>0.108391</c:v>
                </c:pt>
                <c:pt idx="2">
                  <c:v>0.04809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9244</c:v>
                </c:pt>
                <c:pt idx="1">
                  <c:v>0.037086</c:v>
                </c:pt>
                <c:pt idx="2">
                  <c:v>0.01496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4454</c:v>
                </c:pt>
                <c:pt idx="1">
                  <c:v>0.030345</c:v>
                </c:pt>
                <c:pt idx="2">
                  <c:v>0.01515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5322</c:v>
                </c:pt>
                <c:pt idx="1">
                  <c:v>0.021103</c:v>
                </c:pt>
                <c:pt idx="2">
                  <c:v>0.00843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46</c:v>
                </c:pt>
                <c:pt idx="1">
                  <c:v>0.032651</c:v>
                </c:pt>
                <c:pt idx="2">
                  <c:v>0.01056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5005</c:v>
                </c:pt>
                <c:pt idx="1">
                  <c:v>0.02579</c:v>
                </c:pt>
                <c:pt idx="2">
                  <c:v>0.01145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23178</c:v>
                </c:pt>
                <c:pt idx="1">
                  <c:v>0.104003</c:v>
                </c:pt>
                <c:pt idx="2">
                  <c:v>0.0374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6.9</a:t>
                    </a:r>
                  </a:p>
                </c:rich>
              </c:tx>
              <c:showLegendKey val="0"/>
              <c:showVal val="1"/>
              <c:showCatName val="0"/>
              <c:showSerName val="0"/>
              <c:showPercent val="0"/>
              <c:showBubbleSize val="0"/>
            </c:dLbl>
            <c:dLbl>
              <c:idx val="1"/>
              <c:tx>
                <c:rich>
                  <a:bodyPr/>
                  <a:lstStyle/>
                  <a:p>
                    <a:r>
                      <a:rPr>
                        <a:solidFill>
                          <a:srgbClr val="FFFFFF"/>
                        </a:solidFill>
                      </a:rPr>
                      <a:t>8.1</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882238</c:v>
                </c:pt>
                <c:pt idx="1">
                  <c:v>8.073996</c:v>
                </c:pt>
                <c:pt idx="2">
                  <c:v>2.3806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4.9</a:t>
                    </a:r>
                  </a:p>
                </c:rich>
              </c:tx>
              <c:showLegendKey val="0"/>
              <c:showVal val="1"/>
              <c:showCatName val="0"/>
              <c:showSerName val="0"/>
              <c:showPercent val="0"/>
              <c:showBubbleSize val="0"/>
            </c:dLbl>
            <c:dLbl>
              <c:idx val="1"/>
              <c:tx>
                <c:rich>
                  <a:bodyPr/>
                  <a:lstStyle/>
                  <a:p>
                    <a:r>
                      <a:rPr>
                        <a:solidFill>
                          <a:srgbClr val="FFFFFF"/>
                        </a:solidFill>
                      </a:rPr>
                      <a:t>4.3</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856095</c:v>
                </c:pt>
                <c:pt idx="1">
                  <c:v>4.301798</c:v>
                </c:pt>
                <c:pt idx="2">
                  <c:v>1.55200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4.0</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01121</c:v>
                </c:pt>
                <c:pt idx="1">
                  <c:v>2.909339</c:v>
                </c:pt>
                <c:pt idx="2">
                  <c:v>0.88779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83056</c:v>
                </c:pt>
                <c:pt idx="1">
                  <c:v>3.204869</c:v>
                </c:pt>
                <c:pt idx="2">
                  <c:v>1.43613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799374</c:v>
                </c:pt>
                <c:pt idx="1">
                  <c:v>2.186178</c:v>
                </c:pt>
                <c:pt idx="2">
                  <c:v>0.91314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113244</c:v>
                </c:pt>
                <c:pt idx="1">
                  <c:v>1.823553</c:v>
                </c:pt>
                <c:pt idx="2">
                  <c:v>0.86935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491987</c:v>
                </c:pt>
                <c:pt idx="1">
                  <c:v>1.290792</c:v>
                </c:pt>
                <c:pt idx="2">
                  <c:v>0.51192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38015</c:v>
                </c:pt>
                <c:pt idx="1">
                  <c:v>1.336308</c:v>
                </c:pt>
                <c:pt idx="2">
                  <c:v>0.44938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286178</c:v>
                </c:pt>
                <c:pt idx="1">
                  <c:v>1.322349</c:v>
                </c:pt>
                <c:pt idx="2">
                  <c:v>0.58101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8</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782914</c:v>
                </c:pt>
                <c:pt idx="1">
                  <c:v>5.147984</c:v>
                </c:pt>
                <c:pt idx="2">
                  <c:v>1.9791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0%</a:t>
                    </a:r>
                  </a:p>
                </c:rich>
              </c:tx>
              <c:showLegendKey val="0"/>
              <c:showVal val="1"/>
              <c:showCatName val="0"/>
              <c:showSerName val="0"/>
              <c:showPercent val="0"/>
              <c:showBubbleSize val="0"/>
            </c:dLbl>
            <c:dLbl>
              <c:idx val="1"/>
              <c:tx>
                <c:rich>
                  <a:bodyPr/>
                  <a:lstStyle/>
                  <a:p>
                    <a:r>
                      <a:rPr sz="800">
                        <a:solidFill>
                          <a:srgbClr val="FFFFFF"/>
                        </a:solidFill>
                        <a:latin typeface="Nexa Book"/>
                      </a:rPr>
                      <a:t>95%</a:t>
                    </a:r>
                  </a:p>
                </c:rich>
              </c:tx>
              <c:showLegendKey val="0"/>
              <c:showVal val="1"/>
              <c:showCatName val="0"/>
              <c:showSerName val="0"/>
              <c:showPercent val="0"/>
              <c:showBubbleSize val="0"/>
            </c:dLbl>
            <c:dLbl>
              <c:idx val="2"/>
              <c:tx>
                <c:rich>
                  <a:bodyPr/>
                  <a:lstStyle/>
                  <a:p>
                    <a:r>
                      <a:rPr sz="800">
                        <a:solidFill>
                          <a:srgbClr val="FFFFFF"/>
                        </a:solidFill>
                        <a:latin typeface="Nexa Book"/>
                      </a:rPr>
                      <a:t>8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30082760432632</c:v>
                </c:pt>
                <c:pt idx="1">
                  <c:v>0.9461091234347049</c:v>
                </c:pt>
                <c:pt idx="2">
                  <c:v>0.845580678314491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699172395673687</c:v>
                </c:pt>
                <c:pt idx="1">
                  <c:v>0.05389087656529517</c:v>
                </c:pt>
                <c:pt idx="2">
                  <c:v>0.154419321685508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209138840070299</c:v>
                </c:pt>
                <c:pt idx="1">
                  <c:v>0.9566003616636528</c:v>
                </c:pt>
                <c:pt idx="2">
                  <c:v>0.873626373626373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908611599297014</c:v>
                </c:pt>
                <c:pt idx="1">
                  <c:v>0.0433996383363472</c:v>
                </c:pt>
                <c:pt idx="2">
                  <c:v>0.1263736263736263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7%</a:t>
                    </a:r>
                  </a:p>
                </c:rich>
              </c:tx>
              <c:showLegendKey val="0"/>
              <c:showVal val="1"/>
              <c:showCatName val="0"/>
              <c:showSerName val="0"/>
              <c:showPercent val="0"/>
              <c:showBubbleSize val="0"/>
            </c:dLbl>
            <c:dLbl>
              <c:idx val="2"/>
              <c:tx>
                <c:rich>
                  <a:bodyPr/>
                  <a:lstStyle/>
                  <a:p>
                    <a:r>
                      <a:rPr sz="800">
                        <a:solidFill>
                          <a:srgbClr val="FFFFFF"/>
                        </a:solidFill>
                        <a:latin typeface="Nexa Book"/>
                      </a:rPr>
                      <a:t>8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40271493212669</c:v>
                </c:pt>
                <c:pt idx="1">
                  <c:v>0.967567214826416</c:v>
                </c:pt>
                <c:pt idx="2">
                  <c:v>0.810340447154471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97285067873303</c:v>
                </c:pt>
                <c:pt idx="1">
                  <c:v>0.03243278517358392</c:v>
                </c:pt>
                <c:pt idx="2">
                  <c:v>0.189659552845528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281663516068053</c:v>
                </c:pt>
                <c:pt idx="1">
                  <c:v>0.9752747252747253</c:v>
                </c:pt>
                <c:pt idx="2">
                  <c:v>0.82584269662921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83364839319471</c:v>
                </c:pt>
                <c:pt idx="1">
                  <c:v>0.024725274725274728</c:v>
                </c:pt>
                <c:pt idx="2">
                  <c:v>0.1741573033707865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257</c:v>
                </c:pt>
                <c:pt idx="1">
                  <c:v>0.016321</c:v>
                </c:pt>
                <c:pt idx="2">
                  <c:v>0.0045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736</c:v>
                </c:pt>
                <c:pt idx="1">
                  <c:v>0.009472</c:v>
                </c:pt>
                <c:pt idx="2">
                  <c:v>0.00252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762</c:v>
                </c:pt>
                <c:pt idx="1">
                  <c:v>0.018822</c:v>
                </c:pt>
                <c:pt idx="2">
                  <c:v>0.00680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392</c:v>
                </c:pt>
                <c:pt idx="1">
                  <c:v>0.009447</c:v>
                </c:pt>
                <c:pt idx="2">
                  <c:v>0.002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4845</c:v>
                </c:pt>
                <c:pt idx="1">
                  <c:v>0.004258</c:v>
                </c:pt>
                <c:pt idx="2">
                  <c:v>0.0015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4521</c:v>
                </c:pt>
                <c:pt idx="1">
                  <c:v>0.004266</c:v>
                </c:pt>
                <c:pt idx="2">
                  <c:v>0.00141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171</c:v>
                </c:pt>
                <c:pt idx="1">
                  <c:v>0.002826</c:v>
                </c:pt>
                <c:pt idx="2">
                  <c:v>0.00089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27</c:v>
                </c:pt>
                <c:pt idx="1">
                  <c:v>0.003931</c:v>
                </c:pt>
                <c:pt idx="2">
                  <c:v>0.00107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4911</c:v>
                </c:pt>
                <c:pt idx="1">
                  <c:v>0.00381</c:v>
                </c:pt>
                <c:pt idx="2">
                  <c:v>0.00124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1192</c:v>
                </c:pt>
                <c:pt idx="1">
                  <c:v>0.009432</c:v>
                </c:pt>
                <c:pt idx="2">
                  <c:v>0.0031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9%</a:t>
                    </a:r>
                  </a:p>
                </c:rich>
              </c:tx>
              <c:showLegendKey val="0"/>
              <c:showVal val="1"/>
              <c:showCatName val="0"/>
              <c:showSerName val="0"/>
              <c:showPercent val="0"/>
              <c:showBubbleSize val="0"/>
            </c:dLbl>
            <c:dLbl>
              <c:idx val="1"/>
              <c:tx>
                <c:rich>
                  <a:bodyPr/>
                  <a:lstStyle/>
                  <a:p>
                    <a:r>
                      <a:rPr sz="800">
                        <a:solidFill>
                          <a:srgbClr val="FFFFFF"/>
                        </a:solidFill>
                        <a:latin typeface="Nexa Book"/>
                      </a:rPr>
                      <a:t>91%</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15452987791819</c:v>
                </c:pt>
                <c:pt idx="1">
                  <c:v>0.9051027838692938</c:v>
                </c:pt>
                <c:pt idx="2">
                  <c:v>0.720460214651819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45470122081816</c:v>
                </c:pt>
                <c:pt idx="1">
                  <c:v>0.09489721613070626</c:v>
                </c:pt>
                <c:pt idx="2">
                  <c:v>0.27953978534818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4113475177305</c:v>
                </c:pt>
                <c:pt idx="1">
                  <c:v>0.9309196107653196</c:v>
                </c:pt>
                <c:pt idx="2">
                  <c:v>0.779349593495934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88652482269503</c:v>
                </c:pt>
                <c:pt idx="1">
                  <c:v>0.06908038923468046</c:v>
                </c:pt>
                <c:pt idx="2">
                  <c:v>0.220650406504065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0%</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19302558794035</c:v>
                </c:pt>
                <c:pt idx="1">
                  <c:v>0.9002946189491046</c:v>
                </c:pt>
                <c:pt idx="2">
                  <c:v>0.694565196936336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06974412059651</c:v>
                </c:pt>
                <c:pt idx="1">
                  <c:v>0.09970538105089548</c:v>
                </c:pt>
                <c:pt idx="2">
                  <c:v>0.30543480306366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2821</c:v>
                </c:pt>
                <c:pt idx="1">
                  <c:v>1.233754</c:v>
                </c:pt>
                <c:pt idx="2">
                  <c:v>0.3490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04</c:v>
                </c:pt>
                <c:pt idx="1">
                  <c:v>0.622014</c:v>
                </c:pt>
                <c:pt idx="2">
                  <c:v>0.17443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2467</c:v>
                </c:pt>
                <c:pt idx="1">
                  <c:v>0.552972</c:v>
                </c:pt>
                <c:pt idx="2">
                  <c:v>0.20237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72628</c:v>
                </c:pt>
                <c:pt idx="1">
                  <c:v>0.421545</c:v>
                </c:pt>
                <c:pt idx="2">
                  <c:v>0.10237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295262</c:v>
                </c:pt>
                <c:pt idx="1">
                  <c:v>0.256422</c:v>
                </c:pt>
                <c:pt idx="2">
                  <c:v>0.09131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68685</c:v>
                </c:pt>
                <c:pt idx="1">
                  <c:v>0.264009</c:v>
                </c:pt>
                <c:pt idx="2">
                  <c:v>0.0911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89503</c:v>
                </c:pt>
                <c:pt idx="1">
                  <c:v>0.173396</c:v>
                </c:pt>
                <c:pt idx="2">
                  <c:v>0.0547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79751</c:v>
                </c:pt>
                <c:pt idx="1">
                  <c:v>0.165767</c:v>
                </c:pt>
                <c:pt idx="2">
                  <c:v>0.04671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79208</c:v>
                </c:pt>
                <c:pt idx="1">
                  <c:v>0.152284</c:v>
                </c:pt>
                <c:pt idx="2">
                  <c:v>0.05042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99816</c:v>
                </c:pt>
                <c:pt idx="1">
                  <c:v>0.523861</c:v>
                </c:pt>
                <c:pt idx="2">
                  <c:v>0.18102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00283545230037</c:v>
                </c:pt>
                <c:pt idx="1">
                  <c:v>0.9271442986881937</c:v>
                </c:pt>
                <c:pt idx="2">
                  <c:v>0.753747323340471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97164547699625</c:v>
                </c:pt>
                <c:pt idx="1">
                  <c:v>0.07285570131180626</c:v>
                </c:pt>
                <c:pt idx="2">
                  <c:v>0.246252676659528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9%</a:t>
                    </a:r>
                  </a:p>
                </c:rich>
              </c:tx>
              <c:showLegendKey val="0"/>
              <c:showVal val="1"/>
              <c:showCatName val="0"/>
              <c:showSerName val="0"/>
              <c:showPercent val="0"/>
              <c:showBubbleSize val="0"/>
            </c:dLbl>
            <c:dLbl>
              <c:idx val="2"/>
              <c:tx>
                <c:rich>
                  <a:bodyPr/>
                  <a:lstStyle/>
                  <a:p>
                    <a:r>
                      <a:rPr sz="800">
                        <a:solidFill>
                          <a:srgbClr val="FFFFFF"/>
                        </a:solidFill>
                        <a:latin typeface="Nexa Book"/>
                      </a:rPr>
                      <a:t>4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9457602012754</c:v>
                </c:pt>
                <c:pt idx="1">
                  <c:v>0.493855843755105</c:v>
                </c:pt>
                <c:pt idx="2">
                  <c:v>0.478654680931059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1%</a:t>
                    </a:r>
                  </a:p>
                </c:rich>
              </c:tx>
              <c:showLegendKey val="0"/>
              <c:showVal val="1"/>
              <c:showCatName val="0"/>
              <c:showSerName val="0"/>
              <c:showPercent val="0"/>
              <c:showBubbleSize val="0"/>
            </c:dLbl>
            <c:dLbl>
              <c:idx val="2"/>
              <c:tx>
                <c:rich>
                  <a:bodyPr/>
                  <a:lstStyle/>
                  <a:p>
                    <a:r>
                      <a:rPr sz="800">
                        <a:solidFill>
                          <a:srgbClr val="FFFFFF"/>
                        </a:solidFill>
                        <a:latin typeface="Nexa Book"/>
                      </a:rPr>
                      <a:t>5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0542397987246</c:v>
                </c:pt>
                <c:pt idx="1">
                  <c:v>0.5061441562448951</c:v>
                </c:pt>
                <c:pt idx="2">
                  <c:v>0.52134531906894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670542635658914</c:v>
                </c:pt>
                <c:pt idx="1">
                  <c:v>0.26280623608017817</c:v>
                </c:pt>
                <c:pt idx="2">
                  <c:v>0.253776435045317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03294573643411</c:v>
                </c:pt>
                <c:pt idx="1">
                  <c:v>0.7371937639198218</c:v>
                </c:pt>
                <c:pt idx="2">
                  <c:v>0.746223564954682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98481247230392</c:v>
                </c:pt>
                <c:pt idx="1">
                  <c:v>0.5241189738828973</c:v>
                </c:pt>
                <c:pt idx="2">
                  <c:v>0.559623796127071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535914273053218</c:v>
                </c:pt>
                <c:pt idx="1">
                  <c:v>0.2955054794421195</c:v>
                </c:pt>
                <c:pt idx="2">
                  <c:v>0.2191305419225003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47927325464287</c:v>
                </c:pt>
                <c:pt idx="1">
                  <c:v>0.18037554667498312</c:v>
                </c:pt>
                <c:pt idx="2">
                  <c:v>0.2212456619504281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7447</c:v>
                </c:pt>
                <c:pt idx="1">
                  <c:v>0.479273</c:v>
                </c:pt>
                <c:pt idx="2">
                  <c:v>0.1363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7561</c:v>
                </c:pt>
                <c:pt idx="1">
                  <c:v>0.242688</c:v>
                </c:pt>
                <c:pt idx="2">
                  <c:v>0.07657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8331</c:v>
                </c:pt>
                <c:pt idx="1">
                  <c:v>0.230433</c:v>
                </c:pt>
                <c:pt idx="2">
                  <c:v>0.08215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18687</c:v>
                </c:pt>
                <c:pt idx="1">
                  <c:v>0.158902</c:v>
                </c:pt>
                <c:pt idx="2">
                  <c:v>0.04798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367</c:v>
                </c:pt>
                <c:pt idx="1">
                  <c:v>0.114454</c:v>
                </c:pt>
                <c:pt idx="2">
                  <c:v>0.04042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13525</c:v>
                </c:pt>
                <c:pt idx="1">
                  <c:v>0.102539</c:v>
                </c:pt>
                <c:pt idx="2">
                  <c:v>0.03553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9839</c:v>
                </c:pt>
                <c:pt idx="1">
                  <c:v>0.080119</c:v>
                </c:pt>
                <c:pt idx="2">
                  <c:v>0.0297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96071</c:v>
                </c:pt>
                <c:pt idx="1">
                  <c:v>0.078087</c:v>
                </c:pt>
                <c:pt idx="2">
                  <c:v>0.02477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2298</c:v>
                </c:pt>
                <c:pt idx="1">
                  <c:v>0.06757</c:v>
                </c:pt>
                <c:pt idx="2">
                  <c:v>0.02830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52017</c:v>
                </c:pt>
                <c:pt idx="1">
                  <c:v>0.550474</c:v>
                </c:pt>
                <c:pt idx="2">
                  <c:v>0.1955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894736842105265</c:v>
                </c:pt>
                <c:pt idx="1">
                  <c:v>0.3322314049586777</c:v>
                </c:pt>
                <c:pt idx="2">
                  <c:v>0.383561643835616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927631578947367</c:v>
                </c:pt>
                <c:pt idx="1">
                  <c:v>0.23305785123966943</c:v>
                </c:pt>
                <c:pt idx="2">
                  <c:v>0.15981735159817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17763157894737</c:v>
                </c:pt>
                <c:pt idx="1">
                  <c:v>0.434710743801653</c:v>
                </c:pt>
                <c:pt idx="2">
                  <c:v>0.4566210045662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55%</a:t>
                    </a:r>
                  </a:p>
                </c:rich>
              </c:tx>
              <c:showLegendKey val="0"/>
              <c:showVal val="1"/>
              <c:showCatName val="0"/>
              <c:showSerName val="0"/>
              <c:showPercent val="0"/>
              <c:showBubbleSize val="0"/>
            </c:dLbl>
            <c:dLbl>
              <c:idx val="2"/>
              <c:tx>
                <c:rich>
                  <a:bodyPr/>
                  <a:lstStyle/>
                  <a:p>
                    <a:r>
                      <a:rPr sz="800">
                        <a:solidFill>
                          <a:srgbClr val="FFFFFF"/>
                        </a:solidFill>
                        <a:latin typeface="Nexa Book"/>
                      </a:rPr>
                      <a:t>5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46457660980483</c:v>
                </c:pt>
                <c:pt idx="1">
                  <c:v>0.5497794219708994</c:v>
                </c:pt>
                <c:pt idx="2">
                  <c:v>0.505530867355094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653542339019517</c:v>
                </c:pt>
                <c:pt idx="1">
                  <c:v>0.4502205780291007</c:v>
                </c:pt>
                <c:pt idx="2">
                  <c:v>0.49446913264490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2253829321663</c:v>
                </c:pt>
                <c:pt idx="1">
                  <c:v>0.2918108419838524</c:v>
                </c:pt>
                <c:pt idx="2">
                  <c:v>0.27192982456140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87746170678337</c:v>
                </c:pt>
                <c:pt idx="1">
                  <c:v>0.7081891580161477</c:v>
                </c:pt>
                <c:pt idx="2">
                  <c:v>0.728070175438596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8%</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244508897549777</c:v>
                </c:pt>
                <c:pt idx="1">
                  <c:v>0.4830097087378641</c:v>
                </c:pt>
                <c:pt idx="2">
                  <c:v>0.499413198519454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675549110245022</c:v>
                </c:pt>
                <c:pt idx="1">
                  <c:v>0.5169902912621359</c:v>
                </c:pt>
                <c:pt idx="2">
                  <c:v>0.500586801480545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6326530612245</c:v>
                </c:pt>
                <c:pt idx="1">
                  <c:v>0.2628398791540785</c:v>
                </c:pt>
                <c:pt idx="2">
                  <c:v>0.273437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933673469387754</c:v>
                </c:pt>
                <c:pt idx="1">
                  <c:v>0.7371601208459213</c:v>
                </c:pt>
                <c:pt idx="2">
                  <c:v>0.72656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95069173465768</c:v>
                </c:pt>
                <c:pt idx="1">
                  <c:v>0.6080081611833716</c:v>
                </c:pt>
                <c:pt idx="2">
                  <c:v>0.4203655352480417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04930826534233</c:v>
                </c:pt>
                <c:pt idx="1">
                  <c:v>0.3919918388166284</c:v>
                </c:pt>
                <c:pt idx="2">
                  <c:v>0.579634464751958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176470588235294</c:v>
                </c:pt>
                <c:pt idx="1">
                  <c:v>0.3125</c:v>
                </c:pt>
                <c:pt idx="2">
                  <c:v>0.156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88235294117647</c:v>
                </c:pt>
                <c:pt idx="1">
                  <c:v>0.6875</c:v>
                </c:pt>
                <c:pt idx="2">
                  <c:v>0.843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7%</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6794058371277153</c:v>
                </c:pt>
                <c:pt idx="1">
                  <c:v>0.38848239648790567</c:v>
                </c:pt>
                <c:pt idx="2">
                  <c:v>0.410707933119886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3%</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320594162872284</c:v>
                </c:pt>
                <c:pt idx="1">
                  <c:v>0.6115176035120944</c:v>
                </c:pt>
                <c:pt idx="2">
                  <c:v>0.589292066880113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811881188118812</c:v>
                </c:pt>
                <c:pt idx="1">
                  <c:v>0.15</c:v>
                </c:pt>
                <c:pt idx="2">
                  <c:v>0.1632653061224489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118811881188119</c:v>
                </c:pt>
                <c:pt idx="1">
                  <c:v>0.8500000000000001</c:v>
                </c:pt>
                <c:pt idx="2">
                  <c:v>0.836734693877551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68602792184314</c:v>
                </c:pt>
                <c:pt idx="1">
                  <c:v>0.26559883152088287</c:v>
                </c:pt>
                <c:pt idx="2">
                  <c:v>0.273528023095424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158873507855075</c:v>
                </c:pt>
                <c:pt idx="1">
                  <c:v>0.009842688992926804</c:v>
                </c:pt>
                <c:pt idx="2">
                  <c:v>0.00912108341613789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3%</a:t>
                    </a:r>
                  </a:p>
                </c:rich>
              </c:tx>
              <c:showLegendKey val="0"/>
              <c:showVal val="1"/>
              <c:showCatName val="0"/>
              <c:showSerName val="0"/>
              <c:showPercent val="0"/>
              <c:showBubbleSize val="0"/>
            </c:dLbl>
            <c:dLbl>
              <c:idx val="1"/>
              <c:tx>
                <c:rich>
                  <a:bodyPr/>
                  <a:lstStyle/>
                  <a:p>
                    <a:r>
                      <a:rPr sz="800">
                        <a:solidFill>
                          <a:srgbClr val="FFFFFF"/>
                        </a:solidFill>
                        <a:latin typeface="Nexa Book"/>
                      </a:rPr>
                      <a:t>72%</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315509857030178</c:v>
                </c:pt>
                <c:pt idx="1">
                  <c:v>0.7245584794861902</c:v>
                </c:pt>
                <c:pt idx="2">
                  <c:v>0.717350893488438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06830647856101</c:v>
                </c:pt>
                <c:pt idx="1">
                  <c:v>0.2780334451551233</c:v>
                </c:pt>
                <c:pt idx="2">
                  <c:v>0.2862759782812207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30309624522197</c:v>
                </c:pt>
                <c:pt idx="1">
                  <c:v>0.01074919392360514</c:v>
                </c:pt>
                <c:pt idx="2">
                  <c:v>0.0099563908132060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160138389691679</c:v>
                </c:pt>
                <c:pt idx="1">
                  <c:v>0.7112173609212715</c:v>
                </c:pt>
                <c:pt idx="2">
                  <c:v>0.703767630905573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861200725465457</c:v>
                </c:pt>
                <c:pt idx="1">
                  <c:v>0.2974748801660292</c:v>
                </c:pt>
                <c:pt idx="2">
                  <c:v>0.25615550804838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683815447584235</c:v>
                </c:pt>
                <c:pt idx="1">
                  <c:v>0.09730674231091588</c:v>
                </c:pt>
                <c:pt idx="2">
                  <c:v>0.11101168189518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24549838269503</c:v>
                </c:pt>
                <c:pt idx="1">
                  <c:v>0.605218377523055</c:v>
                </c:pt>
                <c:pt idx="2">
                  <c:v>0.63283281005642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178459374661908</c:v>
                </c:pt>
                <c:pt idx="1">
                  <c:v>0.1792088257460353</c:v>
                </c:pt>
                <c:pt idx="2">
                  <c:v>0.1507910212871697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17261711565509</c:v>
                </c:pt>
                <c:pt idx="1">
                  <c:v>0.19044946522777928</c:v>
                </c:pt>
                <c:pt idx="2">
                  <c:v>0.212001987906899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464892350968301</c:v>
                </c:pt>
                <c:pt idx="1">
                  <c:v>0.6303417090261855</c:v>
                </c:pt>
                <c:pt idx="2">
                  <c:v>0.63720699080593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29287820778146</c:v>
                </c:pt>
                <c:pt idx="1">
                  <c:v>0.3611591566516566</c:v>
                </c:pt>
                <c:pt idx="2">
                  <c:v>0.351608131061311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097423427152317</c:v>
                </c:pt>
                <c:pt idx="1">
                  <c:v>0.15209271463931054</c:v>
                </c:pt>
                <c:pt idx="2">
                  <c:v>0.1503479261410333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39374223923841</c:v>
                </c:pt>
                <c:pt idx="1">
                  <c:v>0.07749455759997614</c:v>
                </c:pt>
                <c:pt idx="2">
                  <c:v>0.0860007670812558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2%</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2215956125827814</c:v>
                </c:pt>
                <c:pt idx="1">
                  <c:v>0.4092535711090568</c:v>
                </c:pt>
                <c:pt idx="2">
                  <c:v>0.412043175716399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598430987987252</c:v>
                </c:pt>
                <c:pt idx="1">
                  <c:v>0.21982137712474792</c:v>
                </c:pt>
                <c:pt idx="2">
                  <c:v>0.2128712871287128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410149546457464</c:v>
                </c:pt>
                <c:pt idx="1">
                  <c:v>0.13857677902621723</c:v>
                </c:pt>
                <c:pt idx="2">
                  <c:v>0.138613861386138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518509438587888</c:v>
                </c:pt>
                <c:pt idx="1">
                  <c:v>0.15701526937481994</c:v>
                </c:pt>
                <c:pt idx="2">
                  <c:v>0.1683168316831683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947291002696739</c:v>
                </c:pt>
                <c:pt idx="1">
                  <c:v>0.4845865744742149</c:v>
                </c:pt>
                <c:pt idx="2">
                  <c:v>0.4801980198019802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99642183110018</c:v>
                </c:pt>
                <c:pt idx="1">
                  <c:v>0.3202117658700708</c:v>
                </c:pt>
                <c:pt idx="2">
                  <c:v>0.282269247000663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866454880058754</c:v>
                </c:pt>
                <c:pt idx="1">
                  <c:v>0.10689723417940725</c:v>
                </c:pt>
                <c:pt idx="2">
                  <c:v>0.123394827274371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7%</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713712328884106</c:v>
                </c:pt>
                <c:pt idx="1">
                  <c:v>0.572890999950522</c:v>
                </c:pt>
                <c:pt idx="2">
                  <c:v>0.594335925724965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6248821866164</c:v>
                </c:pt>
                <c:pt idx="1">
                  <c:v>0.19149736644093304</c:v>
                </c:pt>
                <c:pt idx="2">
                  <c:v>0.165198237885462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505183788878418</c:v>
                </c:pt>
                <c:pt idx="1">
                  <c:v>0.21519939804364183</c:v>
                </c:pt>
                <c:pt idx="2">
                  <c:v>0.25330396475770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786993402450519</c:v>
                </c:pt>
                <c:pt idx="1">
                  <c:v>0.5933032355154251</c:v>
                </c:pt>
                <c:pt idx="2">
                  <c:v>0.581497797356828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1649100048646</c:v>
                </c:pt>
                <c:pt idx="1">
                  <c:v>0.31853611461658377</c:v>
                </c:pt>
                <c:pt idx="2">
                  <c:v>0.225181357448077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38333063077671</c:v>
                </c:pt>
                <c:pt idx="1">
                  <c:v>0.08596243782941133</c:v>
                </c:pt>
                <c:pt idx="2">
                  <c:v>0.0903309152340256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999675693205773</c:v>
                </c:pt>
                <c:pt idx="1">
                  <c:v>0.5955014475540049</c:v>
                </c:pt>
                <c:pt idx="2">
                  <c:v>0.68448772731789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268817204301074</c:v>
                </c:pt>
                <c:pt idx="1">
                  <c:v>0.1731266149870801</c:v>
                </c:pt>
                <c:pt idx="2">
                  <c:v>0.135714285714285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13978494623656</c:v>
                </c:pt>
                <c:pt idx="1">
                  <c:v>0.14987080103359174</c:v>
                </c:pt>
                <c:pt idx="2">
                  <c:v>0.1285714285714285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559139784946237</c:v>
                </c:pt>
                <c:pt idx="1">
                  <c:v>0.6770025839793281</c:v>
                </c:pt>
                <c:pt idx="2">
                  <c:v>0.73571428571428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63942198112777</c:v>
                </c:pt>
                <c:pt idx="1">
                  <c:v>0.2536458731007101</c:v>
                </c:pt>
                <c:pt idx="2">
                  <c:v>0.1841663437943949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23622190819165</c:v>
                </c:pt>
                <c:pt idx="1">
                  <c:v>0.11472092845689853</c:v>
                </c:pt>
                <c:pt idx="2">
                  <c:v>0.199276766111326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893695582805306</c:v>
                </c:pt>
                <c:pt idx="1">
                  <c:v>0.6316331984423914</c:v>
                </c:pt>
                <c:pt idx="2">
                  <c:v>0.616556890094278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87116564417178</c:v>
                </c:pt>
                <c:pt idx="1">
                  <c:v>0.144</c:v>
                </c:pt>
                <c:pt idx="2">
                  <c:v>0.0655737704918032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711656441717792</c:v>
                </c:pt>
                <c:pt idx="1">
                  <c:v>0.208</c:v>
                </c:pt>
                <c:pt idx="2">
                  <c:v>0.2950819672131147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441717791411044</c:v>
                </c:pt>
                <c:pt idx="1">
                  <c:v>0.648</c:v>
                </c:pt>
                <c:pt idx="2">
                  <c:v>0.639344262295081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79575618700223</c:v>
                </c:pt>
                <c:pt idx="1">
                  <c:v>0.38104599811084566</c:v>
                </c:pt>
                <c:pt idx="2">
                  <c:v>0.38619797153182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1418294743017117</c:v>
                </c:pt>
                <c:pt idx="1">
                  <c:v>0.30545555452995954</c:v>
                </c:pt>
                <c:pt idx="2">
                  <c:v>0.296891505407371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78594906998065</c:v>
                </c:pt>
                <c:pt idx="1">
                  <c:v>0.31349844735919474</c:v>
                </c:pt>
                <c:pt idx="2">
                  <c:v>0.3169105230608002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82</c:v>
                </c:pt>
                <c:pt idx="1">
                  <c:v>0.004251</c:v>
                </c:pt>
                <c:pt idx="2">
                  <c:v>0.00124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047</c:v>
                </c:pt>
                <c:pt idx="1">
                  <c:v>0.004939</c:v>
                </c:pt>
                <c:pt idx="2">
                  <c:v>0.00216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182</c:v>
                </c:pt>
                <c:pt idx="1">
                  <c:v>0.002051</c:v>
                </c:pt>
                <c:pt idx="2">
                  <c:v>0.00067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809</c:v>
                </c:pt>
                <c:pt idx="1">
                  <c:v>0.002257</c:v>
                </c:pt>
                <c:pt idx="2">
                  <c:v>0.00060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913</c:v>
                </c:pt>
                <c:pt idx="1">
                  <c:v>0.001508</c:v>
                </c:pt>
                <c:pt idx="2">
                  <c:v>0.00056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583</c:v>
                </c:pt>
                <c:pt idx="1">
                  <c:v>0.00122</c:v>
                </c:pt>
                <c:pt idx="2">
                  <c:v>0.00050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005</c:v>
                </c:pt>
                <c:pt idx="1">
                  <c:v>0.001748</c:v>
                </c:pt>
                <c:pt idx="2">
                  <c:v>0.00070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686</c:v>
                </c:pt>
                <c:pt idx="1">
                  <c:v>0.002775</c:v>
                </c:pt>
                <c:pt idx="2">
                  <c:v>0.00111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887</c:v>
                </c:pt>
                <c:pt idx="1">
                  <c:v>0.001001</c:v>
                </c:pt>
                <c:pt idx="2">
                  <c:v>0.000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5832</c:v>
                </c:pt>
                <c:pt idx="1">
                  <c:v>0.02481</c:v>
                </c:pt>
                <c:pt idx="2">
                  <c:v>0.0094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70135670428185</c:v>
                </c:pt>
                <c:pt idx="1">
                  <c:v>0.38143061995862465</c:v>
                </c:pt>
                <c:pt idx="2">
                  <c:v>0.388086383609235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12998201529105</c:v>
                </c:pt>
                <c:pt idx="1">
                  <c:v>0.3155798819039939</c:v>
                </c:pt>
                <c:pt idx="2">
                  <c:v>0.310075255281498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1686612804271</c:v>
                </c:pt>
                <c:pt idx="1">
                  <c:v>0.3029894981373815</c:v>
                </c:pt>
                <c:pt idx="2">
                  <c:v>0.301838361109266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199</c:v>
                </c:pt>
                <c:pt idx="1">
                  <c:v>0.001524</c:v>
                </c:pt>
                <c:pt idx="2">
                  <c:v>0.0003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509</c:v>
                </c:pt>
                <c:pt idx="1">
                  <c:v>0.001454</c:v>
                </c:pt>
                <c:pt idx="2">
                  <c:v>0.00035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432</c:v>
                </c:pt>
                <c:pt idx="1">
                  <c:v>0.002621</c:v>
                </c:pt>
                <c:pt idx="2">
                  <c:v>0.0009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Roeder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155</c:v>
                </c:pt>
                <c:pt idx="1">
                  <c:v>0.001004</c:v>
                </c:pt>
                <c:pt idx="2">
                  <c:v>0.00029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896</c:v>
                </c:pt>
                <c:pt idx="1">
                  <c:v>0.000715</c:v>
                </c:pt>
                <c:pt idx="2">
                  <c:v>0.00021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127</c:v>
                </c:pt>
                <c:pt idx="1">
                  <c:v>0.000696</c:v>
                </c:pt>
                <c:pt idx="2">
                  <c:v>0.0002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487</c:v>
                </c:pt>
                <c:pt idx="1">
                  <c:v>0.000433</c:v>
                </c:pt>
                <c:pt idx="2">
                  <c:v>0.00014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483</c:v>
                </c:pt>
                <c:pt idx="1">
                  <c:v>0.000427</c:v>
                </c:pt>
                <c:pt idx="2">
                  <c:v>0.00014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627</c:v>
                </c:pt>
                <c:pt idx="1">
                  <c:v>0.000605</c:v>
                </c:pt>
                <c:pt idx="2">
                  <c:v>0.00011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93</c:v>
                </c:pt>
                <c:pt idx="1">
                  <c:v>0.001657</c:v>
                </c:pt>
                <c:pt idx="2">
                  <c:v>0.0004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5348</c:v>
                </c:pt>
                <c:pt idx="1">
                  <c:v>0.114332</c:v>
                </c:pt>
                <c:pt idx="2">
                  <c:v>0.02630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864</c:v>
                </c:pt>
                <c:pt idx="1">
                  <c:v>0.063239</c:v>
                </c:pt>
                <c:pt idx="2">
                  <c:v>0.01502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252</c:v>
                </c:pt>
                <c:pt idx="1">
                  <c:v>0.076817</c:v>
                </c:pt>
                <c:pt idx="2">
                  <c:v>0.02743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Roederer</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6829</c:v>
                </c:pt>
                <c:pt idx="1">
                  <c:v>0.066463</c:v>
                </c:pt>
                <c:pt idx="2">
                  <c:v>0.02097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96</c:v>
                </c:pt>
                <c:pt idx="1">
                  <c:v>0.042691</c:v>
                </c:pt>
                <c:pt idx="2">
                  <c:v>0.01280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475</c:v>
                </c:pt>
                <c:pt idx="1">
                  <c:v>0.027803</c:v>
                </c:pt>
                <c:pt idx="2">
                  <c:v>0.00851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8956</c:v>
                </c:pt>
                <c:pt idx="1">
                  <c:v>0.024908</c:v>
                </c:pt>
                <c:pt idx="2">
                  <c:v>0.0086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4724</c:v>
                </c:pt>
                <c:pt idx="1">
                  <c:v>0.022632</c:v>
                </c:pt>
                <c:pt idx="2">
                  <c:v>0.00758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4821</c:v>
                </c:pt>
                <c:pt idx="1">
                  <c:v>0.024282</c:v>
                </c:pt>
                <c:pt idx="2">
                  <c:v>0.0051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98906</c:v>
                </c:pt>
                <c:pt idx="1">
                  <c:v>0.085842</c:v>
                </c:pt>
                <c:pt idx="2">
                  <c:v>0.0261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310451521042687</c:v>
                </c:pt>
                <c:pt idx="1">
                  <c:v>0.2262595676675919</c:v>
                </c:pt>
                <c:pt idx="2">
                  <c:v>0.2419247197010144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8%</a:t>
                    </a:r>
                  </a:p>
                </c:rich>
              </c:tx>
              <c:showLegendKey val="0"/>
              <c:showVal val="1"/>
              <c:showCatName val="0"/>
              <c:showSerName val="0"/>
              <c:showPercent val="0"/>
              <c:showBubbleSize val="0"/>
            </c:dLbl>
            <c:dLbl>
              <c:idx val="1"/>
              <c:tx>
                <c:rich>
                  <a:bodyPr/>
                  <a:lstStyle/>
                  <a:p>
                    <a:r>
                      <a:rPr sz="800">
                        <a:solidFill>
                          <a:srgbClr val="FFFFFF"/>
                        </a:solidFill>
                        <a:latin typeface="Nexa Book"/>
                      </a:rPr>
                      <a:t>77%</a:t>
                    </a:r>
                  </a:p>
                </c:rich>
              </c:tx>
              <c:showLegendKey val="0"/>
              <c:showVal val="1"/>
              <c:showCatName val="0"/>
              <c:showSerName val="0"/>
              <c:showPercent val="0"/>
              <c:showBubbleSize val="0"/>
            </c:dLbl>
            <c:dLbl>
              <c:idx val="2"/>
              <c:tx>
                <c:rich>
                  <a:bodyPr/>
                  <a:lstStyle/>
                  <a:p>
                    <a:r>
                      <a:rPr sz="800">
                        <a:solidFill>
                          <a:srgbClr val="FFFFFF"/>
                        </a:solidFill>
                        <a:latin typeface="Nexa Book"/>
                      </a:rPr>
                      <a:t>7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768954847895732</c:v>
                </c:pt>
                <c:pt idx="1">
                  <c:v>0.7737404323324081</c:v>
                </c:pt>
                <c:pt idx="2">
                  <c:v>0.75807528029898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987354577642892</c:v>
                </c:pt>
                <c:pt idx="1">
                  <c:v>0.26202928870292885</c:v>
                </c:pt>
                <c:pt idx="2">
                  <c:v>0.256926952141057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50126454223571</c:v>
                </c:pt>
                <c:pt idx="1">
                  <c:v>0.7379707112970711</c:v>
                </c:pt>
                <c:pt idx="2">
                  <c:v>0.74307304785894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356726963714442</c:v>
                </c:pt>
                <c:pt idx="1">
                  <c:v>0.201836901716764</c:v>
                </c:pt>
                <c:pt idx="2">
                  <c:v>0.200017017714323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72706314209877</c:v>
                </c:pt>
                <c:pt idx="1">
                  <c:v>0.1914687474567234</c:v>
                </c:pt>
                <c:pt idx="2">
                  <c:v>0.1959463184428128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928634370990123</c:v>
                </c:pt>
                <c:pt idx="1">
                  <c:v>0.16545892720822328</c:v>
                </c:pt>
                <c:pt idx="2">
                  <c:v>0.1612908052957997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34975303774052</c:v>
                </c:pt>
                <c:pt idx="1">
                  <c:v>0.11015797661541957</c:v>
                </c:pt>
                <c:pt idx="2">
                  <c:v>0.1172440247532845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216658045727934</c:v>
                </c:pt>
                <c:pt idx="1">
                  <c:v>0.0955147328764119</c:v>
                </c:pt>
                <c:pt idx="2">
                  <c:v>0.0990805154599365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442116443972821</c:v>
                </c:pt>
                <c:pt idx="1">
                  <c:v>0.23556271412645785</c:v>
                </c:pt>
                <c:pt idx="2">
                  <c:v>0.22642131833384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530503951252321</c:v>
                </c:pt>
                <c:pt idx="1">
                  <c:v>0.17467205996272495</c:v>
                </c:pt>
                <c:pt idx="2">
                  <c:v>0.174161941357354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472777433953475</c:v>
                </c:pt>
                <c:pt idx="1">
                  <c:v>0.2315317062840167</c:v>
                </c:pt>
                <c:pt idx="2">
                  <c:v>0.2388439360353855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25655984648652</c:v>
                </c:pt>
                <c:pt idx="1">
                  <c:v>0.17433337508870278</c:v>
                </c:pt>
                <c:pt idx="2">
                  <c:v>0.1657781991143516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516313607518985</c:v>
                </c:pt>
                <c:pt idx="1">
                  <c:v>0.10082062766925359</c:v>
                </c:pt>
                <c:pt idx="2">
                  <c:v>0.1068214868187854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815329340212602</c:v>
                </c:pt>
                <c:pt idx="1">
                  <c:v>0.09081103137886455</c:v>
                </c:pt>
                <c:pt idx="2">
                  <c:v>0.093667790978909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3408515820576098</c:v>
                </c:pt>
                <c:pt idx="1">
                  <c:v>0.2278311996164374</c:v>
                </c:pt>
                <c:pt idx="2">
                  <c:v>0.220726645695213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00000000000002</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3987</c:v>
                </c:pt>
                <c:pt idx="1">
                  <c:v>0.38896</c:v>
                </c:pt>
                <c:pt idx="2">
                  <c:v>0.11512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0014</c:v>
                </c:pt>
                <c:pt idx="1">
                  <c:v>0.154783</c:v>
                </c:pt>
                <c:pt idx="2">
                  <c:v>0.065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8343</c:v>
                </c:pt>
                <c:pt idx="1">
                  <c:v>0.150198</c:v>
                </c:pt>
                <c:pt idx="2">
                  <c:v>0.05304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1928</c:v>
                </c:pt>
                <c:pt idx="1">
                  <c:v>0.114337</c:v>
                </c:pt>
                <c:pt idx="2">
                  <c:v>0.03095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19368</c:v>
                </c:pt>
                <c:pt idx="1">
                  <c:v>0.099013</c:v>
                </c:pt>
                <c:pt idx="2">
                  <c:v>0.03833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86625</c:v>
                </c:pt>
                <c:pt idx="1">
                  <c:v>0.07142</c:v>
                </c:pt>
                <c:pt idx="2">
                  <c:v>0.02842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80629</c:v>
                </c:pt>
                <c:pt idx="1">
                  <c:v>0.074419</c:v>
                </c:pt>
                <c:pt idx="2">
                  <c:v>0.02994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ur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6321</c:v>
                </c:pt>
                <c:pt idx="1">
                  <c:v>0.068446</c:v>
                </c:pt>
                <c:pt idx="2">
                  <c:v>0.02759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2928</c:v>
                </c:pt>
                <c:pt idx="1">
                  <c:v>0.065778</c:v>
                </c:pt>
                <c:pt idx="2">
                  <c:v>0.02563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763155</c:v>
                </c:pt>
                <c:pt idx="1">
                  <c:v>0.731809</c:v>
                </c:pt>
                <c:pt idx="2">
                  <c:v>0.2777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547337877402603</c:v>
                </c:pt>
                <c:pt idx="1">
                  <c:v>0.3822272056400994</c:v>
                </c:pt>
                <c:pt idx="2">
                  <c:v>0.39003255694841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Ackerma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30555595309587</c:v>
                </c:pt>
                <c:pt idx="1">
                  <c:v>0.16723363676323638</c:v>
                </c:pt>
                <c:pt idx="2">
                  <c:v>0.1720629723383880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46%</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6147106169501523</c:v>
                </c:pt>
                <c:pt idx="1">
                  <c:v>0.45053915759666424</c:v>
                </c:pt>
                <c:pt idx="2">
                  <c:v>0.4379044707131939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88169686729456</c:v>
                </c:pt>
                <c:pt idx="1">
                  <c:v>0.37855245873927423</c:v>
                </c:pt>
                <c:pt idx="2">
                  <c:v>0.390013751628646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Ackerma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05808352759864</c:v>
                </c:pt>
                <c:pt idx="1">
                  <c:v>0.15820215274763386</c:v>
                </c:pt>
                <c:pt idx="2">
                  <c:v>0.16897583583079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821249477994558</c:v>
                </c:pt>
                <c:pt idx="1">
                  <c:v>0.46324538851309194</c:v>
                </c:pt>
                <c:pt idx="2">
                  <c:v>0.441010412540555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0841</c:v>
                </c:pt>
                <c:pt idx="1">
                  <c:v>0.026868</c:v>
                </c:pt>
                <c:pt idx="2">
                  <c:v>0.00755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9013</c:v>
                </c:pt>
                <c:pt idx="1">
                  <c:v>0.017562</c:v>
                </c:pt>
                <c:pt idx="2">
                  <c:v>0.00528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6612</c:v>
                </c:pt>
                <c:pt idx="1">
                  <c:v>0.017822</c:v>
                </c:pt>
                <c:pt idx="2">
                  <c:v>0.00537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706</c:v>
                </c:pt>
                <c:pt idx="1">
                  <c:v>0.029904</c:v>
                </c:pt>
                <c:pt idx="2">
                  <c:v>0.01207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1925</c:v>
                </c:pt>
                <c:pt idx="1">
                  <c:v>0.009167</c:v>
                </c:pt>
                <c:pt idx="2">
                  <c:v>0.00346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7</c:v>
                </c:pt>
                <c:pt idx="1">
                  <c:v>0.00688</c:v>
                </c:pt>
                <c:pt idx="2">
                  <c:v>0.00307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2246</c:v>
                </c:pt>
                <c:pt idx="1">
                  <c:v>0.009119</c:v>
                </c:pt>
                <c:pt idx="2">
                  <c:v>0.00309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7095</c:v>
                </c:pt>
                <c:pt idx="1">
                  <c:v>0.007431</c:v>
                </c:pt>
                <c:pt idx="2">
                  <c:v>0.00323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611</c:v>
                </c:pt>
                <c:pt idx="1">
                  <c:v>0.008816</c:v>
                </c:pt>
                <c:pt idx="2">
                  <c:v>0.00269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6663</c:v>
                </c:pt>
                <c:pt idx="1">
                  <c:v>0.024249</c:v>
                </c:pt>
                <c:pt idx="2">
                  <c:v>0.00845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53216</c:v>
                </c:pt>
                <c:pt idx="1">
                  <c:v>1.99845</c:v>
                </c:pt>
                <c:pt idx="2">
                  <c:v>0.5728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20086</c:v>
                </c:pt>
                <c:pt idx="1">
                  <c:v>1.146345</c:v>
                </c:pt>
                <c:pt idx="2">
                  <c:v>0.3634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98015</c:v>
                </c:pt>
                <c:pt idx="1">
                  <c:v>0.801285</c:v>
                </c:pt>
                <c:pt idx="2">
                  <c:v>0.23416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57515</c:v>
                </c:pt>
                <c:pt idx="1">
                  <c:v>0.889113</c:v>
                </c:pt>
                <c:pt idx="2">
                  <c:v>0.36321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7738</c:v>
                </c:pt>
                <c:pt idx="1">
                  <c:v>0.544112</c:v>
                </c:pt>
                <c:pt idx="2">
                  <c:v>0.20797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72355</c:v>
                </c:pt>
                <c:pt idx="1">
                  <c:v>0.409591</c:v>
                </c:pt>
                <c:pt idx="2">
                  <c:v>0.17685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44912</c:v>
                </c:pt>
                <c:pt idx="1">
                  <c:v>0.364365</c:v>
                </c:pt>
                <c:pt idx="2">
                  <c:v>0.12661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364777</c:v>
                </c:pt>
                <c:pt idx="1">
                  <c:v>0.381519</c:v>
                </c:pt>
                <c:pt idx="2">
                  <c:v>0.16385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96216</c:v>
                </c:pt>
                <c:pt idx="1">
                  <c:v>0.370178</c:v>
                </c:pt>
                <c:pt idx="2">
                  <c:v>0.11665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28328</c:v>
                </c:pt>
                <c:pt idx="1">
                  <c:v>1.317574</c:v>
                </c:pt>
                <c:pt idx="2">
                  <c:v>0.4834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9835</c:v>
                </c:pt>
                <c:pt idx="1">
                  <c:v>0.024185</c:v>
                </c:pt>
                <c:pt idx="2">
                  <c:v>0.00713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7616</c:v>
                </c:pt>
                <c:pt idx="1">
                  <c:v>0.015045</c:v>
                </c:pt>
                <c:pt idx="2">
                  <c:v>0.0049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6732</c:v>
                </c:pt>
                <c:pt idx="1">
                  <c:v>0.017109</c:v>
                </c:pt>
                <c:pt idx="2">
                  <c:v>0.00479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909</c:v>
                </c:pt>
                <c:pt idx="1">
                  <c:v>0.028674</c:v>
                </c:pt>
                <c:pt idx="2">
                  <c:v>0.01263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1914</c:v>
                </c:pt>
                <c:pt idx="1">
                  <c:v>0.009308</c:v>
                </c:pt>
                <c:pt idx="2">
                  <c:v>0.00347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171</c:v>
                </c:pt>
                <c:pt idx="1">
                  <c:v>0.005947</c:v>
                </c:pt>
                <c:pt idx="2">
                  <c:v>0.00279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513</c:v>
                </c:pt>
                <c:pt idx="1">
                  <c:v>0.008715</c:v>
                </c:pt>
                <c:pt idx="2">
                  <c:v>0.0025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0821</c:v>
                </c:pt>
                <c:pt idx="1">
                  <c:v>0.008139</c:v>
                </c:pt>
                <c:pt idx="2">
                  <c:v>0.00281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6254</c:v>
                </c:pt>
                <c:pt idx="1">
                  <c:v>0.005081</c:v>
                </c:pt>
                <c:pt idx="2">
                  <c:v>0.00193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7456</c:v>
                </c:pt>
                <c:pt idx="1">
                  <c:v>0.022658</c:v>
                </c:pt>
                <c:pt idx="2">
                  <c:v>0.0077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525157318469006</c:v>
                </c:pt>
                <c:pt idx="1">
                  <c:v>0.320630454085747</c:v>
                </c:pt>
                <c:pt idx="2">
                  <c:v>0.315208062662701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151886866727404</c:v>
                </c:pt>
                <c:pt idx="1">
                  <c:v>0.27379750891346427</c:v>
                </c:pt>
                <c:pt idx="2">
                  <c:v>0.27646993478863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676884883690486</c:v>
                </c:pt>
                <c:pt idx="1">
                  <c:v>0.15385967745951717</c:v>
                </c:pt>
                <c:pt idx="2">
                  <c:v>0.162178742246667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646070931113096</c:v>
                </c:pt>
                <c:pt idx="1">
                  <c:v>0.2517123595412716</c:v>
                </c:pt>
                <c:pt idx="2">
                  <c:v>0.2461432603019994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732665519118855</c:v>
                </c:pt>
                <c:pt idx="1">
                  <c:v>0.337382590443928</c:v>
                </c:pt>
                <c:pt idx="2">
                  <c:v>0.3251543181917128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619289635596806</c:v>
                </c:pt>
                <c:pt idx="1">
                  <c:v>0.23210911689570057</c:v>
                </c:pt>
                <c:pt idx="2">
                  <c:v>0.239376334659350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839108555492557</c:v>
                </c:pt>
                <c:pt idx="1">
                  <c:v>0.14488309835815516</c:v>
                </c:pt>
                <c:pt idx="2">
                  <c:v>0.152862420941249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8808936289791787</c:v>
                </c:pt>
                <c:pt idx="1">
                  <c:v>0.2856251943022163</c:v>
                </c:pt>
                <c:pt idx="2">
                  <c:v>0.282606926207686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69121</c:v>
                </c:pt>
                <c:pt idx="1">
                  <c:v>1.799149</c:v>
                </c:pt>
                <c:pt idx="2">
                  <c:v>0.5369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25537</c:v>
                </c:pt>
                <c:pt idx="1">
                  <c:v>0.982129</c:v>
                </c:pt>
                <c:pt idx="2">
                  <c:v>0.3357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03444</c:v>
                </c:pt>
                <c:pt idx="1">
                  <c:v>0.766915</c:v>
                </c:pt>
                <c:pt idx="2">
                  <c:v>0.2097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808918</c:v>
                </c:pt>
                <c:pt idx="1">
                  <c:v>0.849667</c:v>
                </c:pt>
                <c:pt idx="2">
                  <c:v>0.3770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79776</c:v>
                </c:pt>
                <c:pt idx="1">
                  <c:v>0.546078</c:v>
                </c:pt>
                <c:pt idx="2">
                  <c:v>0.21062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39251</c:v>
                </c:pt>
                <c:pt idx="1">
                  <c:v>0.354518</c:v>
                </c:pt>
                <c:pt idx="2">
                  <c:v>0.1604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8903</c:v>
                </c:pt>
                <c:pt idx="1">
                  <c:v>0.363317</c:v>
                </c:pt>
                <c:pt idx="2">
                  <c:v>0.11514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39439</c:v>
                </c:pt>
                <c:pt idx="1">
                  <c:v>0.325445</c:v>
                </c:pt>
                <c:pt idx="2">
                  <c:v>0.11581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70422</c:v>
                </c:pt>
                <c:pt idx="1">
                  <c:v>0.311202</c:v>
                </c:pt>
                <c:pt idx="2">
                  <c:v>0.11738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07737</c:v>
                </c:pt>
                <c:pt idx="1">
                  <c:v>1.188432</c:v>
                </c:pt>
                <c:pt idx="2">
                  <c:v>0.4294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103</c:v>
                </c:pt>
                <c:pt idx="1">
                  <c:v>0.003452</c:v>
                </c:pt>
                <c:pt idx="2">
                  <c:v>0.0016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65</c:v>
                </c:pt>
                <c:pt idx="1">
                  <c:v>0.000249</c:v>
                </c:pt>
                <c:pt idx="2">
                  <c:v>2.7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404</c:v>
                </c:pt>
                <c:pt idx="1">
                  <c:v>0.001288</c:v>
                </c:pt>
                <c:pt idx="2">
                  <c:v>0.0004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4%</a:t>
                    </a:r>
                  </a:p>
                </c:rich>
              </c:tx>
              <c:showLegendKey val="0"/>
              <c:showVal val="1"/>
              <c:showCatName val="0"/>
              <c:showSerName val="0"/>
              <c:showPercent val="0"/>
              <c:showBubbleSize val="0"/>
            </c:dLbl>
            <c:dLbl>
              <c:idx val="1"/>
              <c:tx>
                <c:rich>
                  <a:bodyPr/>
                  <a:lstStyle/>
                  <a:p>
                    <a:r>
                      <a:rPr sz="800">
                        <a:solidFill>
                          <a:srgbClr val="FFFFFF"/>
                        </a:solidFill>
                        <a:latin typeface="Nexa Book"/>
                      </a:rPr>
                      <a:t>93%</a:t>
                    </a:r>
                  </a:p>
                </c:rich>
              </c:tx>
              <c:showLegendKey val="0"/>
              <c:showVal val="1"/>
              <c:showCatName val="0"/>
              <c:showSerName val="0"/>
              <c:showPercent val="0"/>
              <c:showBubbleSize val="0"/>
            </c:dLbl>
            <c:dLbl>
              <c:idx val="2"/>
              <c:tx>
                <c:rich>
                  <a:bodyPr/>
                  <a:lstStyle/>
                  <a:p>
                    <a:r>
                      <a:rPr sz="800">
                        <a:solidFill>
                          <a:srgbClr val="FFFFFF"/>
                        </a:solidFill>
                        <a:latin typeface="Nexa Book"/>
                      </a:rPr>
                      <a:t>9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98098724074083</c:v>
                </c:pt>
                <c:pt idx="1">
                  <c:v>0.9305735024327989</c:v>
                </c:pt>
                <c:pt idx="2">
                  <c:v>0.90985215245123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033144307271617</c:v>
                </c:pt>
                <c:pt idx="1">
                  <c:v>0.006808166411492778</c:v>
                </c:pt>
                <c:pt idx="2">
                  <c:v>0.014205789143918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815698328532004</c:v>
                </c:pt>
                <c:pt idx="1">
                  <c:v>0.0626183311557083</c:v>
                </c:pt>
                <c:pt idx="2">
                  <c:v>0.0759420584048467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984999466805692</c:v>
                </c:pt>
                <c:pt idx="1">
                  <c:v>0.777669778154129</c:v>
                </c:pt>
                <c:pt idx="2">
                  <c:v>0.73936604688337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758498524829082</c:v>
                </c:pt>
                <c:pt idx="1">
                  <c:v>0.015769409454396883</c:v>
                </c:pt>
                <c:pt idx="2">
                  <c:v>0.02878171741746225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57415547946017</c:v>
                </c:pt>
                <c:pt idx="1">
                  <c:v>0.2065608123914741</c:v>
                </c:pt>
                <c:pt idx="2">
                  <c:v>0.23185223569916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5%</a:t>
                    </a:r>
                  </a:p>
                </c:rich>
              </c:tx>
              <c:showLegendKey val="0"/>
              <c:showVal val="1"/>
              <c:showCatName val="0"/>
              <c:showSerName val="0"/>
              <c:showPercent val="0"/>
              <c:showBubbleSize val="0"/>
            </c:dLbl>
            <c:dLbl>
              <c:idx val="1"/>
              <c:tx>
                <c:rich>
                  <a:bodyPr/>
                  <a:lstStyle/>
                  <a:p>
                    <a:r>
                      <a:rPr sz="800">
                        <a:solidFill>
                          <a:srgbClr val="FFFFFF"/>
                        </a:solidFill>
                        <a:latin typeface="Nexa Book"/>
                      </a:rPr>
                      <a:t>94%</a:t>
                    </a:r>
                  </a:p>
                </c:rich>
              </c:tx>
              <c:showLegendKey val="0"/>
              <c:showVal val="1"/>
              <c:showCatName val="0"/>
              <c:showSerName val="0"/>
              <c:showPercent val="0"/>
              <c:showBubbleSize val="0"/>
            </c:dLbl>
            <c:dLbl>
              <c:idx val="2"/>
              <c:tx>
                <c:rich>
                  <a:bodyPr/>
                  <a:lstStyle/>
                  <a:p>
                    <a:r>
                      <a:rPr sz="800">
                        <a:solidFill>
                          <a:srgbClr val="FFFFFF"/>
                        </a:solidFill>
                        <a:latin typeface="Nexa Book"/>
                      </a:rPr>
                      <a:t>9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67275489842315</c:v>
                </c:pt>
                <c:pt idx="1">
                  <c:v>0.9374716019886999</c:v>
                </c:pt>
                <c:pt idx="2">
                  <c:v>0.92408153482185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5288282830270335</c:v>
                </c:pt>
                <c:pt idx="1">
                  <c:v>0.005869412577727931</c:v>
                </c:pt>
                <c:pt idx="2">
                  <c:v>0.0113815556834540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74362273274141</c:v>
                </c:pt>
                <c:pt idx="1">
                  <c:v>0.0566589854335721</c:v>
                </c:pt>
                <c:pt idx="2">
                  <c:v>0.064536909494690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3919</c:v>
                </c:pt>
                <c:pt idx="1">
                  <c:v>0.137311</c:v>
                </c:pt>
                <c:pt idx="2">
                  <c:v>0.06718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44</c:v>
                </c:pt>
                <c:pt idx="1">
                  <c:v>0.010687</c:v>
                </c:pt>
                <c:pt idx="2">
                  <c:v>0.00127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6146</c:v>
                </c:pt>
                <c:pt idx="1">
                  <c:v>0.053055</c:v>
                </c:pt>
                <c:pt idx="2">
                  <c:v>0.01757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169813025980723</c:v>
                </c:pt>
                <c:pt idx="1">
                  <c:v>0.7881878709857809</c:v>
                </c:pt>
                <c:pt idx="2">
                  <c:v>0.765017177106936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290248324038681</c:v>
                </c:pt>
                <c:pt idx="1">
                  <c:v>0.013485096492709892</c:v>
                </c:pt>
                <c:pt idx="2">
                  <c:v>0.02232292961040859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8728449077889</c:v>
                </c:pt>
                <c:pt idx="1">
                  <c:v>0.19832703252150916</c:v>
                </c:pt>
                <c:pt idx="2">
                  <c:v>0.2126598932826547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35</c:v>
                </c:pt>
                <c:pt idx="1">
                  <c:v>0.001842</c:v>
                </c:pt>
                <c:pt idx="2">
                  <c:v>0.00076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93</c:v>
                </c:pt>
                <c:pt idx="1">
                  <c:v>0.000159</c:v>
                </c:pt>
                <c:pt idx="2">
                  <c:v>1.7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793</c:v>
                </c:pt>
                <c:pt idx="1">
                  <c:v>0.00077</c:v>
                </c:pt>
                <c:pt idx="2">
                  <c:v>0.00026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0%</a:t>
                    </a:r>
                  </a:p>
                </c:rich>
              </c:tx>
              <c:showLegendKey val="0"/>
              <c:showVal val="1"/>
              <c:showCatName val="0"/>
              <c:showSerName val="0"/>
              <c:showPercent val="0"/>
              <c:showBubbleSize val="0"/>
            </c:dLbl>
            <c:dLbl>
              <c:idx val="2"/>
              <c:tx>
                <c:rich>
                  <a:bodyPr/>
                  <a:lstStyle/>
                  <a:p>
                    <a:r>
                      <a:rPr sz="800">
                        <a:solidFill>
                          <a:srgbClr val="FFFFFF"/>
                        </a:solidFill>
                        <a:latin typeface="Nexa Book"/>
                      </a:rPr>
                      <a:t>9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82686964063683</c:v>
                </c:pt>
                <c:pt idx="1">
                  <c:v>0.9042418830321001</c:v>
                </c:pt>
                <c:pt idx="2">
                  <c:v>0.89678613375093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4867515800203153</c:v>
                </c:pt>
                <c:pt idx="1">
                  <c:v>0.006553303610900448</c:v>
                </c:pt>
                <c:pt idx="2">
                  <c:v>0.01676754269348412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92445520136114</c:v>
                </c:pt>
                <c:pt idx="1">
                  <c:v>0.08920481335699947</c:v>
                </c:pt>
                <c:pt idx="2">
                  <c:v>0.0864463235555816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49344921520301</c:v>
                </c:pt>
                <c:pt idx="1">
                  <c:v>0.6776796536796537</c:v>
                </c:pt>
                <c:pt idx="2">
                  <c:v>0.678112022688139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902192242833052</c:v>
                </c:pt>
                <c:pt idx="1">
                  <c:v>0.013194805194805195</c:v>
                </c:pt>
                <c:pt idx="2">
                  <c:v>0.0306897599513825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916331560513687</c:v>
                </c:pt>
                <c:pt idx="1">
                  <c:v>0.30912554112554114</c:v>
                </c:pt>
                <c:pt idx="2">
                  <c:v>0.291198217360478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4%</a:t>
                    </a:r>
                  </a:p>
                </c:rich>
              </c:tx>
              <c:showLegendKey val="0"/>
              <c:showVal val="1"/>
              <c:showCatName val="0"/>
              <c:showSerName val="0"/>
              <c:showPercent val="0"/>
              <c:showBubbleSize val="0"/>
            </c:dLbl>
            <c:dLbl>
              <c:idx val="1"/>
              <c:tx>
                <c:rich>
                  <a:bodyPr/>
                  <a:lstStyle/>
                  <a:p>
                    <a:r>
                      <a:rPr sz="800">
                        <a:solidFill>
                          <a:srgbClr val="FFFFFF"/>
                        </a:solidFill>
                        <a:latin typeface="Nexa Book"/>
                      </a:rPr>
                      <a:t>94%</a:t>
                    </a:r>
                  </a:p>
                </c:rich>
              </c:tx>
              <c:showLegendKey val="0"/>
              <c:showVal val="1"/>
              <c:showCatName val="0"/>
              <c:showSerName val="0"/>
              <c:showPercent val="0"/>
              <c:showBubbleSize val="0"/>
            </c:dLbl>
            <c:dLbl>
              <c:idx val="2"/>
              <c:tx>
                <c:rich>
                  <a:bodyPr/>
                  <a:lstStyle/>
                  <a:p>
                    <a:r>
                      <a:rPr sz="800">
                        <a:solidFill>
                          <a:srgbClr val="FFFFFF"/>
                        </a:solidFill>
                        <a:latin typeface="Nexa Book"/>
                      </a:rPr>
                      <a:t>9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49408877235594</c:v>
                </c:pt>
                <c:pt idx="1">
                  <c:v>0.9358132000339379</c:v>
                </c:pt>
                <c:pt idx="2">
                  <c:v>0.917645987664909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1097404808157576</c:v>
                </c:pt>
                <c:pt idx="1">
                  <c:v>0.007259481401809294</c:v>
                </c:pt>
                <c:pt idx="2">
                  <c:v>0.0146115559099600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2949371795624776</c:v>
                </c:pt>
                <c:pt idx="1">
                  <c:v>0.056927318564252836</c:v>
                </c:pt>
                <c:pt idx="2">
                  <c:v>0.0677424564251300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106376161486702</c:v>
                </c:pt>
                <c:pt idx="1">
                  <c:v>0.7887139788417125</c:v>
                </c:pt>
                <c:pt idx="2">
                  <c:v>0.7538195541221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097422186737822</c:v>
                </c:pt>
                <c:pt idx="1">
                  <c:v>0.016339454864753737</c:v>
                </c:pt>
                <c:pt idx="2">
                  <c:v>0.028699202245776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326496166459189</c:v>
                </c:pt>
                <c:pt idx="1">
                  <c:v>0.19494656629353377</c:v>
                </c:pt>
                <c:pt idx="2">
                  <c:v>0.217481243632097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7683</c:v>
                </c:pt>
                <c:pt idx="1">
                  <c:v>0.072872</c:v>
                </c:pt>
                <c:pt idx="2">
                  <c:v>0.03035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394</c:v>
                </c:pt>
                <c:pt idx="1">
                  <c:v>0.00667</c:v>
                </c:pt>
                <c:pt idx="2">
                  <c:v>0.00074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196</c:v>
                </c:pt>
                <c:pt idx="1">
                  <c:v>0.031325</c:v>
                </c:pt>
                <c:pt idx="2">
                  <c:v>0.0108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8%</a:t>
                    </a:r>
                  </a:p>
                </c:rich>
              </c:tx>
              <c:showLegendKey val="0"/>
              <c:showVal val="1"/>
              <c:showCatName val="0"/>
              <c:showSerName val="0"/>
              <c:showPercent val="0"/>
              <c:showBubbleSize val="0"/>
            </c:dLbl>
            <c:dLbl>
              <c:idx val="1"/>
              <c:tx>
                <c:rich>
                  <a:bodyPr/>
                  <a:lstStyle/>
                  <a:p>
                    <a:r>
                      <a:rPr sz="800">
                        <a:solidFill>
                          <a:srgbClr val="FFFFFF"/>
                        </a:solidFill>
                        <a:latin typeface="Nexa Book"/>
                      </a:rPr>
                      <a:t>87%</a:t>
                    </a:r>
                  </a:p>
                </c:rich>
              </c:tx>
              <c:showLegendKey val="0"/>
              <c:showVal val="1"/>
              <c:showCatName val="0"/>
              <c:showSerName val="0"/>
              <c:showPercent val="0"/>
              <c:showBubbleSize val="0"/>
            </c:dLbl>
            <c:dLbl>
              <c:idx val="2"/>
              <c:tx>
                <c:rich>
                  <a:bodyPr/>
                  <a:lstStyle/>
                  <a:p>
                    <a:r>
                      <a:rPr sz="800">
                        <a:solidFill>
                          <a:srgbClr val="FFFFFF"/>
                        </a:solidFill>
                        <a:latin typeface="Nexa Book"/>
                      </a:rPr>
                      <a:t>8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817100275842908</c:v>
                </c:pt>
                <c:pt idx="1">
                  <c:v>0.8745483692647872</c:v>
                </c:pt>
                <c:pt idx="2">
                  <c:v>0.83209582193985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0005358099660655</c:v>
                </c:pt>
                <c:pt idx="1">
                  <c:v>0.007511332227750138</c:v>
                </c:pt>
                <c:pt idx="2">
                  <c:v>0.01547979949839223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528943660574309</c:v>
                </c:pt>
                <c:pt idx="1">
                  <c:v>0.11794029850746268</c:v>
                </c:pt>
                <c:pt idx="2">
                  <c:v>0.1524243785617511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27666378240097</c:v>
                </c:pt>
                <c:pt idx="1">
                  <c:v>0.6489534387014096</c:v>
                </c:pt>
                <c:pt idx="2">
                  <c:v>0.591154538441758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09457883450585</c:v>
                </c:pt>
                <c:pt idx="1">
                  <c:v>0.015677061085006407</c:v>
                </c:pt>
                <c:pt idx="2">
                  <c:v>0.02828490614553869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311387833414845</c:v>
                </c:pt>
                <c:pt idx="1">
                  <c:v>0.3353695002135839</c:v>
                </c:pt>
                <c:pt idx="2">
                  <c:v>0.38056055541270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4%</a:t>
                    </a:r>
                  </a:p>
                </c:rich>
              </c:tx>
              <c:showLegendKey val="0"/>
              <c:showVal val="1"/>
              <c:showCatName val="0"/>
              <c:showSerName val="0"/>
              <c:showPercent val="0"/>
              <c:showBubbleSize val="0"/>
            </c:dLbl>
            <c:dLbl>
              <c:idx val="1"/>
              <c:tx>
                <c:rich>
                  <a:bodyPr/>
                  <a:lstStyle/>
                  <a:p>
                    <a:r>
                      <a:rPr sz="800">
                        <a:solidFill>
                          <a:srgbClr val="FFFFFF"/>
                        </a:solidFill>
                        <a:latin typeface="Nexa Book"/>
                      </a:rPr>
                      <a:t>93%</a:t>
                    </a:r>
                  </a:p>
                </c:rich>
              </c:tx>
              <c:showLegendKey val="0"/>
              <c:showVal val="1"/>
              <c:showCatName val="0"/>
              <c:showSerName val="0"/>
              <c:showPercent val="0"/>
              <c:showBubbleSize val="0"/>
            </c:dLbl>
            <c:dLbl>
              <c:idx val="2"/>
              <c:tx>
                <c:rich>
                  <a:bodyPr/>
                  <a:lstStyle/>
                  <a:p>
                    <a:r>
                      <a:rPr sz="800">
                        <a:solidFill>
                          <a:srgbClr val="FFFFFF"/>
                        </a:solidFill>
                        <a:latin typeface="Nexa Book"/>
                      </a:rPr>
                      <a:t>9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00577207082921</c:v>
                </c:pt>
                <c:pt idx="1">
                  <c:v>0.9307459941215395</c:v>
                </c:pt>
                <c:pt idx="2">
                  <c:v>0.908593617497272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888945285290495</c:v>
                </c:pt>
                <c:pt idx="1">
                  <c:v>0.007122192159926888</c:v>
                </c:pt>
                <c:pt idx="2">
                  <c:v>0.01494836992567143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805333400641742</c:v>
                </c:pt>
                <c:pt idx="1">
                  <c:v>0.06213181371853366</c:v>
                </c:pt>
                <c:pt idx="2">
                  <c:v>0.0764580125770557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008482433785624</c:v>
                </c:pt>
                <c:pt idx="1">
                  <c:v>0.777801958019232</c:v>
                </c:pt>
                <c:pt idx="2">
                  <c:v>0.73377792994626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377682880954525</c:v>
                </c:pt>
                <c:pt idx="1">
                  <c:v>0.015378633564883325</c:v>
                </c:pt>
                <c:pt idx="2">
                  <c:v>0.0285514387364723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377407374048308</c:v>
                </c:pt>
                <c:pt idx="1">
                  <c:v>0.20681940841588467</c:v>
                </c:pt>
                <c:pt idx="2">
                  <c:v>0.2376706313172663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4%</a:t>
                    </a:r>
                  </a:p>
                </c:rich>
              </c:tx>
              <c:showLegendKey val="0"/>
              <c:showVal val="1"/>
              <c:showCatName val="0"/>
              <c:showSerName val="0"/>
              <c:showPercent val="0"/>
              <c:showBubbleSize val="0"/>
            </c:dLbl>
            <c:dLbl>
              <c:idx val="1"/>
              <c:tx>
                <c:rich>
                  <a:bodyPr/>
                  <a:lstStyle/>
                  <a:p>
                    <a:r>
                      <a:rPr sz="800">
                        <a:solidFill>
                          <a:srgbClr val="FFFFFF"/>
                        </a:solidFill>
                        <a:latin typeface="Nexa Book"/>
                      </a:rPr>
                      <a:t>93%</a:t>
                    </a:r>
                  </a:p>
                </c:rich>
              </c:tx>
              <c:showLegendKey val="0"/>
              <c:showVal val="1"/>
              <c:showCatName val="0"/>
              <c:showSerName val="0"/>
              <c:showPercent val="0"/>
              <c:showBubbleSize val="0"/>
            </c:dLbl>
            <c:dLbl>
              <c:idx val="2"/>
              <c:tx>
                <c:rich>
                  <a:bodyPr/>
                  <a:lstStyle/>
                  <a:p>
                    <a:r>
                      <a:rPr sz="800">
                        <a:solidFill>
                          <a:srgbClr val="FFFFFF"/>
                        </a:solidFill>
                        <a:latin typeface="Nexa Book"/>
                      </a:rPr>
                      <a:t>9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54681386310991</c:v>
                </c:pt>
                <c:pt idx="1">
                  <c:v>0.9254611090052358</c:v>
                </c:pt>
                <c:pt idx="2">
                  <c:v>0.90438636934533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02473590317481</c:v>
                </c:pt>
                <c:pt idx="1">
                  <c:v>0.0071632100877062335</c:v>
                </c:pt>
                <c:pt idx="2">
                  <c:v>0.01355264650113249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250712546572605</c:v>
                </c:pt>
                <c:pt idx="1">
                  <c:v>0.06737568090705798</c:v>
                </c:pt>
                <c:pt idx="2">
                  <c:v>0.0820609841535319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876737520502328</c:v>
                </c:pt>
                <c:pt idx="1">
                  <c:v>0.7645389015288439</c:v>
                </c:pt>
                <c:pt idx="2">
                  <c:v>0.725494255253079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593200682582547</c:v>
                </c:pt>
                <c:pt idx="1">
                  <c:v>0.016135434164735233</c:v>
                </c:pt>
                <c:pt idx="2">
                  <c:v>0.02727931420613337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0673304726718467</c:v>
                </c:pt>
                <c:pt idx="1">
                  <c:v>0.21932566430642086</c:v>
                </c:pt>
                <c:pt idx="2">
                  <c:v>0.247226430540787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3%</a:t>
                    </a:r>
                  </a:p>
                </c:rich>
              </c:tx>
              <c:showLegendKey val="0"/>
              <c:showVal val="1"/>
              <c:showCatName val="0"/>
              <c:showSerName val="0"/>
              <c:showPercent val="0"/>
              <c:showBubbleSize val="0"/>
            </c:dLbl>
            <c:dLbl>
              <c:idx val="1"/>
              <c:tx>
                <c:rich>
                  <a:bodyPr/>
                  <a:lstStyle/>
                  <a:p>
                    <a:r>
                      <a:rPr sz="800">
                        <a:solidFill>
                          <a:srgbClr val="FFFFFF"/>
                        </a:solidFill>
                        <a:latin typeface="Nexa Book"/>
                      </a:rPr>
                      <a:t>92%</a:t>
                    </a:r>
                  </a:p>
                </c:rich>
              </c:tx>
              <c:showLegendKey val="0"/>
              <c:showVal val="1"/>
              <c:showCatName val="0"/>
              <c:showSerName val="0"/>
              <c:showPercent val="0"/>
              <c:showBubbleSize val="0"/>
            </c:dLbl>
            <c:dLbl>
              <c:idx val="2"/>
              <c:tx>
                <c:rich>
                  <a:bodyPr/>
                  <a:lstStyle/>
                  <a:p>
                    <a:r>
                      <a:rPr sz="800">
                        <a:solidFill>
                          <a:srgbClr val="FFFFFF"/>
                        </a:solidFill>
                        <a:latin typeface="Nexa Book"/>
                      </a:rPr>
                      <a:t>9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291704314485937</c:v>
                </c:pt>
                <c:pt idx="1">
                  <c:v>0.9180721237121937</c:v>
                </c:pt>
                <c:pt idx="2">
                  <c:v>0.90129653273478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944934576238934</c:v>
                </c:pt>
                <c:pt idx="1">
                  <c:v>0.006725427703713651</c:v>
                </c:pt>
                <c:pt idx="2">
                  <c:v>0.01289808121333836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888463397516736</c:v>
                </c:pt>
                <c:pt idx="1">
                  <c:v>0.07520244858409258</c:v>
                </c:pt>
                <c:pt idx="2">
                  <c:v>0.0858053860518794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703542624532186</c:v>
                </c:pt>
                <c:pt idx="1">
                  <c:v>0.7451254431415326</c:v>
                </c:pt>
                <c:pt idx="2">
                  <c:v>0.71620330752850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ffervescents Sans Alcool</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423162472776454</c:v>
                </c:pt>
                <c:pt idx="1">
                  <c:v>0.015206950883253037</c:v>
                </c:pt>
                <c:pt idx="2">
                  <c:v>0.02557264821190471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ousseux</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422257507400495</c:v>
                </c:pt>
                <c:pt idx="1">
                  <c:v>0.2396676059752144</c:v>
                </c:pt>
                <c:pt idx="2">
                  <c:v>0.258224044259587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39239893244</c:v>
                </c:pt>
                <c:pt idx="1">
                  <c:v>0.14072518795692185</c:v>
                </c:pt>
                <c:pt idx="2">
                  <c:v>0.1298316832875775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242526827742434</c:v>
                </c:pt>
                <c:pt idx="1">
                  <c:v>0.007966154695376024</c:v>
                </c:pt>
                <c:pt idx="2">
                  <c:v>0.00799316299129399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5321125680468595</c:v>
                </c:pt>
                <c:pt idx="1">
                  <c:v>0.0025763033456367383</c:v>
                </c:pt>
                <c:pt idx="2">
                  <c:v>0.00354942327548875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822222376380487</c:v>
                </c:pt>
                <c:pt idx="1">
                  <c:v>0.6098522532595553</c:v>
                </c:pt>
                <c:pt idx="2">
                  <c:v>0.574621514974814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45170754102992</c:v>
                </c:pt>
                <c:pt idx="1">
                  <c:v>0.04254733422697135</c:v>
                </c:pt>
                <c:pt idx="2">
                  <c:v>0.05098827989320333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873103643124177</c:v>
                </c:pt>
                <c:pt idx="1">
                  <c:v>0.0028634533815304927</c:v>
                </c:pt>
                <c:pt idx="2">
                  <c:v>0.00269993126262908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033144307271617</c:v>
                </c:pt>
                <c:pt idx="1">
                  <c:v>0.006808166411492778</c:v>
                </c:pt>
                <c:pt idx="2">
                  <c:v>0.014205789143918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8324836410052016</c:v>
                </c:pt>
                <c:pt idx="1">
                  <c:v>0.02836510124721091</c:v>
                </c:pt>
                <c:pt idx="2">
                  <c:v>0.04053885675593968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109611571623894</c:v>
                </c:pt>
                <c:pt idx="1">
                  <c:v>0.03198384110466647</c:v>
                </c:pt>
                <c:pt idx="2">
                  <c:v>0.0346583657882592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569184547623973</c:v>
                </c:pt>
                <c:pt idx="1">
                  <c:v>0.00597163369876493</c:v>
                </c:pt>
                <c:pt idx="2">
                  <c:v>0.006520078282801854</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6295122824896952</c:v>
                </c:pt>
                <c:pt idx="1">
                  <c:v>0.0068997890138993885</c:v>
                </c:pt>
                <c:pt idx="2">
                  <c:v>0.00898759390174525</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29449343874395208</c:v>
                </c:pt>
                <c:pt idx="1">
                  <c:v>0.0019208276245675632</c:v>
                </c:pt>
                <c:pt idx="2">
                  <c:v>0.001464001344337895</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8675753875959214</c:v>
                </c:pt>
                <c:pt idx="1">
                  <c:v>0.010281848913058056</c:v>
                </c:pt>
                <c:pt idx="2">
                  <c:v>0.01183562349297609</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7.820028353909257e-06</c:v>
                </c:pt>
                <c:pt idx="1">
                  <c:v>3.8117261401825816e-06</c:v>
                </c:pt>
                <c:pt idx="2">
                  <c:v>2.428812589068803e-05</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19899954088865794</c:v>
                </c:pt>
                <c:pt idx="1">
                  <c:v>0.02188199037045037</c:v>
                </c:pt>
                <c:pt idx="2">
                  <c:v>0.02721889308149772</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14764213532180678</c:v>
                </c:pt>
                <c:pt idx="1">
                  <c:v>0.015658429808827815</c:v>
                </c:pt>
                <c:pt idx="2">
                  <c:v>0.019891580175597227</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6212974688334031</c:v>
                </c:pt>
                <c:pt idx="1">
                  <c:v>0.06369387321492982</c:v>
                </c:pt>
                <c:pt idx="2">
                  <c:v>0.0649709342220286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563396803203906</c:v>
                </c:pt>
                <c:pt idx="1">
                  <c:v>0.07188162069726754</c:v>
                </c:pt>
                <c:pt idx="2">
                  <c:v>0.0668821416338038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614571607995545</c:v>
                </c:pt>
                <c:pt idx="1">
                  <c:v>0.007789152517800718</c:v>
                </c:pt>
                <c:pt idx="2">
                  <c:v>0.00734254371711884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9935542732561584</c:v>
                </c:pt>
                <c:pt idx="1">
                  <c:v>0.0019604677445395208</c:v>
                </c:pt>
                <c:pt idx="2">
                  <c:v>0.0027051476852543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583699657570766</c:v>
                </c:pt>
                <c:pt idx="1">
                  <c:v>0.5596361108273833</c:v>
                </c:pt>
                <c:pt idx="2">
                  <c:v>0.510350703074909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5188573053544555</c:v>
                </c:pt>
                <c:pt idx="1">
                  <c:v>0.04966408456041041</c:v>
                </c:pt>
                <c:pt idx="2">
                  <c:v>0.0569310626487611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9177577402040356</c:v>
                </c:pt>
                <c:pt idx="1">
                  <c:v>0.002774308976306347</c:v>
                </c:pt>
                <c:pt idx="2">
                  <c:v>0.002441659274352916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5758498524829082</c:v>
                </c:pt>
                <c:pt idx="1">
                  <c:v>0.015769409454396883</c:v>
                </c:pt>
                <c:pt idx="2">
                  <c:v>0.02878171741746225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76304844958944</c:v>
                </c:pt>
                <c:pt idx="1">
                  <c:v>0.03184195005584862</c:v>
                </c:pt>
                <c:pt idx="2">
                  <c:v>0.0400414555099818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0604642345107053</c:v>
                </c:pt>
                <c:pt idx="1">
                  <c:v>0.009215845851221914</c:v>
                </c:pt>
                <c:pt idx="2">
                  <c:v>0.00938897037511966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1531808002654123</c:v>
                </c:pt>
                <c:pt idx="1">
                  <c:v>0.012243862417998082</c:v>
                </c:pt>
                <c:pt idx="2">
                  <c:v>0.012638660776236859</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29932936004834296</c:v>
                </c:pt>
                <c:pt idx="1">
                  <c:v>0.02700832622183269</c:v>
                </c:pt>
                <c:pt idx="2">
                  <c:v>0.032110454341849864</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10957143026410892</c:v>
                </c:pt>
                <c:pt idx="1">
                  <c:v>0.006672180138979041</c:v>
                </c:pt>
                <c:pt idx="2">
                  <c:v>0.004918450336826019</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24562484448499355</c:v>
                </c:pt>
                <c:pt idx="1">
                  <c:v>0.02902810223427425</c:v>
                </c:pt>
                <c:pt idx="2">
                  <c:v>0.029080337616483834</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4.739504958707063e-05</c:v>
                </c:pt>
                <c:pt idx="1">
                  <c:v>2.6359230178682632e-05</c:v>
                </c:pt>
                <c:pt idx="2">
                  <c:v>8.782947030046462e-05</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6985734090074291</c:v>
                </c:pt>
                <c:pt idx="1">
                  <c:v>0.08307111390811832</c:v>
                </c:pt>
                <c:pt idx="2">
                  <c:v>0.09683199100626225</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4885244736187305</c:v>
                </c:pt>
                <c:pt idx="1">
                  <c:v>0.04851086824009305</c:v>
                </c:pt>
                <c:pt idx="2">
                  <c:v>0.05618451215120722</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43413865421756695</c:v>
                </c:pt>
                <c:pt idx="1">
                  <c:v>0.04290623692335065</c:v>
                </c:pt>
                <c:pt idx="2">
                  <c:v>0.043282362964068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439217280541155</c:v>
                </c:pt>
                <c:pt idx="1">
                  <c:v>0.1257635525201285</c:v>
                </c:pt>
                <c:pt idx="2">
                  <c:v>0.1155152592978370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368671143345</c:v>
                </c:pt>
                <c:pt idx="1">
                  <c:v>0.006975976161992695</c:v>
                </c:pt>
                <c:pt idx="2">
                  <c:v>0.0055687152953987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18090083868693</c:v>
                </c:pt>
                <c:pt idx="1">
                  <c:v>0.0050408452655446925</c:v>
                </c:pt>
                <c:pt idx="2">
                  <c:v>0.00733825233065486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6051630642618828</c:v>
                </c:pt>
                <c:pt idx="1">
                  <c:v>0.6188815298700073</c:v>
                </c:pt>
                <c:pt idx="2">
                  <c:v>0.586693850858802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267683001073415</c:v>
                </c:pt>
                <c:pt idx="1">
                  <c:v>0.044388622177804336</c:v>
                </c:pt>
                <c:pt idx="2">
                  <c:v>0.0478221822416009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7940353481771007</c:v>
                </c:pt>
                <c:pt idx="1">
                  <c:v>0.0016483679369481384</c:v>
                </c:pt>
                <c:pt idx="2">
                  <c:v>0.001877839803634652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5288282830270335</c:v>
                </c:pt>
                <c:pt idx="1">
                  <c:v>0.005869412577727931</c:v>
                </c:pt>
                <c:pt idx="2">
                  <c:v>0.01138155568345408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417066619443518</c:v>
                </c:pt>
                <c:pt idx="1">
                  <c:v>0.028803874322153384</c:v>
                </c:pt>
                <c:pt idx="2">
                  <c:v>0.0437063811340128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724494078117709</c:v>
                </c:pt>
                <c:pt idx="1">
                  <c:v>0.04511048967601438</c:v>
                </c:pt>
                <c:pt idx="2">
                  <c:v>0.057321163574168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8485145072072955</c:v>
                </c:pt>
                <c:pt idx="1">
                  <c:v>0.00962605348763626</c:v>
                </c:pt>
                <c:pt idx="2">
                  <c:v>0.010265977987314372</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31088572918349334</c:v>
                </c:pt>
                <c:pt idx="1">
                  <c:v>0.0043954555799446335</c:v>
                </c:pt>
                <c:pt idx="2">
                  <c:v>0.005092597387417645</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17417767561610923</c:v>
                </c:pt>
                <c:pt idx="1">
                  <c:v>0.0013105044178913787</c:v>
                </c:pt>
                <c:pt idx="2">
                  <c:v>0.0010759258629082253</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6247652198124382</c:v>
                </c:pt>
                <c:pt idx="1">
                  <c:v>0.007249589090365053</c:v>
                </c:pt>
                <c:pt idx="2">
                  <c:v>0.008205266296089708</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7.405063645993104e-07</c:v>
                </c:pt>
                <c:pt idx="1">
                  <c:v>0.0</c:v>
                </c:pt>
                <c:pt idx="2">
                  <c:v>1.1836368128803359e-05</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2698001087698063</c:v>
                </c:pt>
                <c:pt idx="1">
                  <c:v>0.02368286000719099</c:v>
                </c:pt>
                <c:pt idx="2">
                  <c:v>0.026811445176162147</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946144982048539</c:v>
                </c:pt>
                <c:pt idx="1">
                  <c:v>0.010394522850543783</c:v>
                </c:pt>
                <c:pt idx="2">
                  <c:v>0.013073860416669749</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6714541461004248</c:v>
                </c:pt>
                <c:pt idx="1">
                  <c:v>0.06085834405810653</c:v>
                </c:pt>
                <c:pt idx="2">
                  <c:v>0.0582378902857447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591139866348399</c:v>
                </c:pt>
                <c:pt idx="1">
                  <c:v>0.0602198391108574</c:v>
                </c:pt>
                <c:pt idx="2">
                  <c:v>0.0564870988962795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5927400704940435</c:v>
                </c:pt>
                <c:pt idx="1">
                  <c:v>0.006046449312929965</c:v>
                </c:pt>
                <c:pt idx="2">
                  <c:v>0.0053651048899934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864407951047575</c:v>
                </c:pt>
                <c:pt idx="1">
                  <c:v>0.00392611448643044</c:v>
                </c:pt>
                <c:pt idx="2">
                  <c:v>0.00586214458007455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801138749926901</c:v>
                </c:pt>
                <c:pt idx="1">
                  <c:v>0.5763699168758847</c:v>
                </c:pt>
                <c:pt idx="2">
                  <c:v>0.537036766318251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839947687678428</c:v>
                </c:pt>
                <c:pt idx="1">
                  <c:v>0.055763640917802074</c:v>
                </c:pt>
                <c:pt idx="2">
                  <c:v>0.05854835172867480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95639576610438</c:v>
                </c:pt>
                <c:pt idx="1">
                  <c:v>0.0017125781290957705</c:v>
                </c:pt>
                <c:pt idx="2">
                  <c:v>0.001812732987354725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290248324038681</c:v>
                </c:pt>
                <c:pt idx="1">
                  <c:v>0.013485096492709892</c:v>
                </c:pt>
                <c:pt idx="2">
                  <c:v>0.02232292961040859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365537663276644</c:v>
                </c:pt>
                <c:pt idx="1">
                  <c:v>0.03368652830122735</c:v>
                </c:pt>
                <c:pt idx="2">
                  <c:v>0.0467509684964549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2408227494803324</c:v>
                </c:pt>
                <c:pt idx="1">
                  <c:v>0.011021081021255773</c:v>
                </c:pt>
                <c:pt idx="2">
                  <c:v>0.01429720049703969</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2296532182178724</c:v>
                </c:pt>
                <c:pt idx="1">
                  <c:v>0.025956626337587593</c:v>
                </c:pt>
                <c:pt idx="2">
                  <c:v>0.02586068269863314</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13843626562325559</c:v>
                </c:pt>
                <c:pt idx="1">
                  <c:v>0.016700549306522358</c:v>
                </c:pt>
                <c:pt idx="2">
                  <c:v>0.01703091879248593</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685801776705068</c:v>
                </c:pt>
                <c:pt idx="1">
                  <c:v>0.004933856038585434</c:v>
                </c:pt>
                <c:pt idx="2">
                  <c:v>0.003844748190921716</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863892270641836</c:v>
                </c:pt>
                <c:pt idx="1">
                  <c:v>0.02210623809496071</c:v>
                </c:pt>
                <c:pt idx="2">
                  <c:v>0.022059790950953877</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5.316292842674946e-06</c:v>
                </c:pt>
                <c:pt idx="1">
                  <c:v>0.0</c:v>
                </c:pt>
                <c:pt idx="2">
                  <c:v>4.385644324245304e-05</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8477892196213736</c:v>
                </c:pt>
                <c:pt idx="1">
                  <c:v>0.0953102154702891</c:v>
                </c:pt>
                <c:pt idx="2">
                  <c:v>0.10472918646297785</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3230711160493565</c:v>
                </c:pt>
                <c:pt idx="1">
                  <c:v>0.03331954727356397</c:v>
                </c:pt>
                <c:pt idx="2">
                  <c:v>0.039090709743439804</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4536924311938799</c:v>
                </c:pt>
                <c:pt idx="1">
                  <c:v>0.03944172283029749</c:v>
                </c:pt>
                <c:pt idx="2">
                  <c:v>0.0388568087128133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670306888055548</c:v>
                </c:pt>
                <c:pt idx="1">
                  <c:v>0.12339598010808109</c:v>
                </c:pt>
                <c:pt idx="2">
                  <c:v>0.1149129801843178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782314672633998</c:v>
                </c:pt>
                <c:pt idx="1">
                  <c:v>0.0067769902754028</c:v>
                </c:pt>
                <c:pt idx="2">
                  <c:v>0.00621763693356830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291317072762068</c:v>
                </c:pt>
                <c:pt idx="1">
                  <c:v>0.003849148189717422</c:v>
                </c:pt>
                <c:pt idx="2">
                  <c:v>0.00515012646299280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986815952356817</c:v>
                </c:pt>
                <c:pt idx="1">
                  <c:v>0.6238890249874367</c:v>
                </c:pt>
                <c:pt idx="2">
                  <c:v>0.586717589531515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793208575029864</c:v>
                </c:pt>
                <c:pt idx="1">
                  <c:v>0.04646921085235406</c:v>
                </c:pt>
                <c:pt idx="2">
                  <c:v>0.052575372816638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9528753320898567</c:v>
                </c:pt>
                <c:pt idx="1">
                  <c:v>0.001800772353061006</c:v>
                </c:pt>
                <c:pt idx="2">
                  <c:v>0.001729718163837329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1097404808157576</c:v>
                </c:pt>
                <c:pt idx="1">
                  <c:v>0.007259481401809294</c:v>
                </c:pt>
                <c:pt idx="2">
                  <c:v>0.01461155590996005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47812082031934</c:v>
                </c:pt>
                <c:pt idx="1">
                  <c:v>0.030774407932978674</c:v>
                </c:pt>
                <c:pt idx="2">
                  <c:v>0.04835532132197118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918012746443464</c:v>
                </c:pt>
                <c:pt idx="1">
                  <c:v>0.03468522005246232</c:v>
                </c:pt>
                <c:pt idx="2">
                  <c:v>0.0365426180996263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4626868506388339</c:v>
                </c:pt>
                <c:pt idx="1">
                  <c:v>0.00516255237805869</c:v>
                </c:pt>
                <c:pt idx="2">
                  <c:v>0.005530966938945953</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3238782893281809</c:v>
                </c:pt>
                <c:pt idx="1">
                  <c:v>0.004100286045207855</c:v>
                </c:pt>
                <c:pt idx="2">
                  <c:v>0.005234729484503183</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23917325711819695</c:v>
                </c:pt>
                <c:pt idx="1">
                  <c:v>0.001634676619089348</c:v>
                </c:pt>
                <c:pt idx="2">
                  <c:v>0.0011185158914620884</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6676551635386751</c:v>
                </c:pt>
                <c:pt idx="1">
                  <c:v>0.008240931063339873</c:v>
                </c:pt>
                <c:pt idx="2">
                  <c:v>0.008453349173265567</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4.009790404496379e-06</c:v>
                </c:pt>
                <c:pt idx="1">
                  <c:v>2.3299211375006713e-06</c:v>
                </c:pt>
                <c:pt idx="2">
                  <c:v>1.8575108501979415e-05</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3722188545750877</c:v>
                </c:pt>
                <c:pt idx="1">
                  <c:v>0.024212678676567675</c:v>
                </c:pt>
                <c:pt idx="2">
                  <c:v>0.02952102407922781</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12289237853230536</c:v>
                </c:pt>
                <c:pt idx="1">
                  <c:v>0.013573863860851897</c:v>
                </c:pt>
                <c:pt idx="2">
                  <c:v>0.01786529574922345</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6793938249478383</c:v>
                </c:pt>
                <c:pt idx="1">
                  <c:v>0.0641724452824438</c:v>
                </c:pt>
                <c:pt idx="2">
                  <c:v>0.065444624150442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152411917855948</c:v>
                </c:pt>
                <c:pt idx="1">
                  <c:v>0.06046885627658716</c:v>
                </c:pt>
                <c:pt idx="2">
                  <c:v>0.0563367905057985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276886874215389</c:v>
                </c:pt>
                <c:pt idx="1">
                  <c:v>0.006656637038915724</c:v>
                </c:pt>
                <c:pt idx="2">
                  <c:v>0.005939813374436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3949466245756315</c:v>
                </c:pt>
                <c:pt idx="1">
                  <c:v>0.00294548263260436</c:v>
                </c:pt>
                <c:pt idx="2">
                  <c:v>0.00397095880130243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710198671786225</c:v>
                </c:pt>
                <c:pt idx="1">
                  <c:v>0.5743767988963566</c:v>
                </c:pt>
                <c:pt idx="2">
                  <c:v>0.523769940886863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67569767991554</c:v>
                </c:pt>
                <c:pt idx="1">
                  <c:v>0.05645700517621018</c:v>
                </c:pt>
                <c:pt idx="2">
                  <c:v>0.0612767392538302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0835412497395575</c:v>
                </c:pt>
                <c:pt idx="1">
                  <c:v>0.0018599003185655711</c:v>
                </c:pt>
                <c:pt idx="2">
                  <c:v>0.001728982061811108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097422186737822</c:v>
                </c:pt>
                <c:pt idx="1">
                  <c:v>0.016339454864753737</c:v>
                </c:pt>
                <c:pt idx="2">
                  <c:v>0.028699202245776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856918495017886</c:v>
                </c:pt>
                <c:pt idx="1">
                  <c:v>0.03550046305369502</c:v>
                </c:pt>
                <c:pt idx="2">
                  <c:v>0.0495039863961411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0997245873625345</c:v>
                </c:pt>
                <c:pt idx="1">
                  <c:v>0.00941094190117166</c:v>
                </c:pt>
                <c:pt idx="2">
                  <c:v>0.01008652035235134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974712112378161</c:v>
                </c:pt>
                <c:pt idx="1">
                  <c:v>0.010828923755615246</c:v>
                </c:pt>
                <c:pt idx="2">
                  <c:v>0.011015135717966926</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17004497997874436</c:v>
                </c:pt>
                <c:pt idx="1">
                  <c:v>0.01730591133194225</c:v>
                </c:pt>
                <c:pt idx="2">
                  <c:v>0.01940117371282273</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9290142748838732</c:v>
                </c:pt>
                <c:pt idx="1">
                  <c:v>0.005893847342148646</c:v>
                </c:pt>
                <c:pt idx="2">
                  <c:v>0.003880709737636472</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974111562253236</c:v>
                </c:pt>
                <c:pt idx="1">
                  <c:v>0.02464848268256036</c:v>
                </c:pt>
                <c:pt idx="2">
                  <c:v>0.02179752385069005</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2.2761374997154827e-05</c:v>
                </c:pt>
                <c:pt idx="1">
                  <c:v>1.3449692386321279e-05</c:v>
                </c:pt>
                <c:pt idx="2">
                  <c:v>6.887428542928868e-05</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8645032855169371</c:v>
                </c:pt>
                <c:pt idx="1">
                  <c:v>0.09398933247255302</c:v>
                </c:pt>
                <c:pt idx="2">
                  <c:v>0.11026535599693153</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4100899424487388</c:v>
                </c:pt>
                <c:pt idx="1">
                  <c:v>0.04226661901632792</c:v>
                </c:pt>
                <c:pt idx="2">
                  <c:v>0.05105247033062032</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4480839299439895</c:v>
                </c:pt>
                <c:pt idx="1">
                  <c:v>0.04103789354760615</c:v>
                </c:pt>
                <c:pt idx="2">
                  <c:v>0.0412058224895916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265513797419914</c:v>
                </c:pt>
                <c:pt idx="1">
                  <c:v>0.11356551350889206</c:v>
                </c:pt>
                <c:pt idx="2">
                  <c:v>0.114173496106369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048573267336847</c:v>
                </c:pt>
                <c:pt idx="1">
                  <c:v>0.004128848463437631</c:v>
                </c:pt>
                <c:pt idx="2">
                  <c:v>0.005423878668344271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9043064043256565</c:v>
                </c:pt>
                <c:pt idx="1">
                  <c:v>0.0027673528185298913</c:v>
                </c:pt>
                <c:pt idx="2">
                  <c:v>0.003883914908500891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6145004726570081</c:v>
                </c:pt>
                <c:pt idx="1">
                  <c:v>0.6229471702587406</c:v>
                </c:pt>
                <c:pt idx="2">
                  <c:v>0.605817856778512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097713880242936</c:v>
                </c:pt>
                <c:pt idx="1">
                  <c:v>0.04329604545201575</c:v>
                </c:pt>
                <c:pt idx="2">
                  <c:v>0.0525603719231086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519585601995296</c:v>
                </c:pt>
                <c:pt idx="1">
                  <c:v>0.0022938943211597233</c:v>
                </c:pt>
                <c:pt idx="2">
                  <c:v>0.002166636709432642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150726901688128</c:v>
                </c:pt>
                <c:pt idx="1">
                  <c:v>0.007501131218982217</c:v>
                </c:pt>
                <c:pt idx="2">
                  <c:v>0.0140758517165495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52149587495766</c:v>
                </c:pt>
                <c:pt idx="1">
                  <c:v>0.04150061339895613</c:v>
                </c:pt>
                <c:pt idx="2">
                  <c:v>0.0362401566196581</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209653046967883</c:v>
                </c:pt>
                <c:pt idx="1">
                  <c:v>0.03317677746563393</c:v>
                </c:pt>
                <c:pt idx="2">
                  <c:v>0.02985440784264193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143828388180668</c:v>
                </c:pt>
                <c:pt idx="1">
                  <c:v>0.007419667320797572</c:v>
                </c:pt>
                <c:pt idx="2">
                  <c:v>0.007333045096162721</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7906691298789166</c:v>
                </c:pt>
                <c:pt idx="1">
                  <c:v>0.00971759450820406</c:v>
                </c:pt>
                <c:pt idx="2">
                  <c:v>0.010182220948365064</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29561690186886147</c:v>
                </c:pt>
                <c:pt idx="1">
                  <c:v>0.0026858889203452458</c:v>
                </c:pt>
                <c:pt idx="2">
                  <c:v>0.001360220355697623</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0807068717178233</c:v>
                </c:pt>
                <c:pt idx="1">
                  <c:v>0.013281841697094643</c:v>
                </c:pt>
                <c:pt idx="2">
                  <c:v>0.011229104829268055</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5.500580311222834e-06</c:v>
                </c:pt>
                <c:pt idx="1">
                  <c:v>5.646012745470486e-06</c:v>
                </c:pt>
                <c:pt idx="2">
                  <c:v>2.4289649208886124e-05</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36799982398143</c:v>
                </c:pt>
                <c:pt idx="1">
                  <c:v>0.023106710447462642</c:v>
                </c:pt>
                <c:pt idx="2">
                  <c:v>0.026973655446468042</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21175662603833276</c:v>
                </c:pt>
                <c:pt idx="1">
                  <c:v>0.0235358074161184</c:v>
                </c:pt>
                <c:pt idx="2">
                  <c:v>0.03298534362566736</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547174155444828</c:v>
                </c:pt>
                <c:pt idx="1">
                  <c:v>0.049069496770884</c:v>
                </c:pt>
                <c:pt idx="2">
                  <c:v>0.0457155487760445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1043018505167024</c:v>
                </c:pt>
                <c:pt idx="1">
                  <c:v>0.05481424257321441</c:v>
                </c:pt>
                <c:pt idx="2">
                  <c:v>0.0526206753677232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0256119751433377</c:v>
                </c:pt>
                <c:pt idx="1">
                  <c:v>0.003827515977245593</c:v>
                </c:pt>
                <c:pt idx="2">
                  <c:v>0.005386368344727574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9569471624266144</c:v>
                </c:pt>
                <c:pt idx="1">
                  <c:v>0.0019664302268417727</c:v>
                </c:pt>
                <c:pt idx="2">
                  <c:v>0.00248601615910503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538160469667319</c:v>
                </c:pt>
                <c:pt idx="1">
                  <c:v>0.5371866001825971</c:v>
                </c:pt>
                <c:pt idx="2">
                  <c:v>0.517505697120364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099151989562945</c:v>
                </c:pt>
                <c:pt idx="1">
                  <c:v>0.0472996699206405</c:v>
                </c:pt>
                <c:pt idx="2">
                  <c:v>0.05583177957323389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9182545404607407</c:v>
                </c:pt>
                <c:pt idx="1">
                  <c:v>0.0019664302268417727</c:v>
                </c:pt>
                <c:pt idx="2">
                  <c:v>0.001553760099440646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42015998901363</c:v>
                </c:pt>
                <c:pt idx="1">
                  <c:v>0.015801671465692814</c:v>
                </c:pt>
                <c:pt idx="2">
                  <c:v>0.02744976175678475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119888763003399</c:v>
                </c:pt>
                <c:pt idx="1">
                  <c:v>0.043507268768874216</c:v>
                </c:pt>
                <c:pt idx="2">
                  <c:v>0.0344934742075823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7656126617914649</c:v>
                </c:pt>
                <c:pt idx="1">
                  <c:v>0.008954280497225929</c:v>
                </c:pt>
                <c:pt idx="2">
                  <c:v>0.009529728609902631</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9613073780341264</c:v>
                </c:pt>
                <c:pt idx="1">
                  <c:v>0.013589437460495821</c:v>
                </c:pt>
                <c:pt idx="2">
                  <c:v>0.012948000828672052</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3944793490575754</c:v>
                </c:pt>
                <c:pt idx="1">
                  <c:v>0.04227824987709811</c:v>
                </c:pt>
                <c:pt idx="2">
                  <c:v>0.03739382639320489</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10265389501150135</c:v>
                </c:pt>
                <c:pt idx="1">
                  <c:v>0.009094739799143199</c:v>
                </c:pt>
                <c:pt idx="2">
                  <c:v>0.0046612802983219395</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28461564871081813</c:v>
                </c:pt>
                <c:pt idx="1">
                  <c:v>0.035676662686986445</c:v>
                </c:pt>
                <c:pt idx="2">
                  <c:v>0.026413921690490987</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3.4332406358361656e-05</c:v>
                </c:pt>
                <c:pt idx="1">
                  <c:v>3.511482547931737e-05</c:v>
                </c:pt>
                <c:pt idx="2">
                  <c:v>0.00010358400662937643</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7711058468088028</c:v>
                </c:pt>
                <c:pt idx="1">
                  <c:v>0.08424046632488237</c:v>
                </c:pt>
                <c:pt idx="2">
                  <c:v>0.09053242179407499</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6777217015140591</c:v>
                </c:pt>
                <c:pt idx="1">
                  <c:v>0.06907086171781726</c:v>
                </c:pt>
                <c:pt idx="2">
                  <c:v>0.09136109384711001</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3416074432656985</c:v>
                </c:pt>
                <c:pt idx="1">
                  <c:v>0.03069035746892338</c:v>
                </c:pt>
                <c:pt idx="2">
                  <c:v>0.02972860990263103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392649481058125</c:v>
                </c:pt>
                <c:pt idx="1">
                  <c:v>0.09081813156440022</c:v>
                </c:pt>
                <c:pt idx="2">
                  <c:v>0.0875691125646023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934770097834931</c:v>
                </c:pt>
                <c:pt idx="1">
                  <c:v>0.007647318960751797</c:v>
                </c:pt>
                <c:pt idx="2">
                  <c:v>0.0095546020212882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202952908257427</c:v>
                </c:pt>
                <c:pt idx="1">
                  <c:v>0.0018761746821448315</c:v>
                </c:pt>
                <c:pt idx="2">
                  <c:v>0.002497426518707705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6034162846540057</c:v>
                </c:pt>
                <c:pt idx="1">
                  <c:v>0.6069751243781094</c:v>
                </c:pt>
                <c:pt idx="2">
                  <c:v>0.560721777488494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185211644936595</c:v>
                </c:pt>
                <c:pt idx="1">
                  <c:v>0.06855279159756772</c:v>
                </c:pt>
                <c:pt idx="2">
                  <c:v>0.077699679154978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5994919727729158</c:v>
                </c:pt>
                <c:pt idx="1">
                  <c:v>0.002373687119955777</c:v>
                </c:pt>
                <c:pt idx="2">
                  <c:v>0.00181470227209214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0005358099660655</c:v>
                </c:pt>
                <c:pt idx="1">
                  <c:v>0.007511332227750138</c:v>
                </c:pt>
                <c:pt idx="2">
                  <c:v>0.01547979949839223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2659800361175608</c:v>
                </c:pt>
                <c:pt idx="1">
                  <c:v>0.024720840243228303</c:v>
                </c:pt>
                <c:pt idx="2">
                  <c:v>0.0275353654697178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8607489432636782</c:v>
                </c:pt>
                <c:pt idx="1">
                  <c:v>0.022291873963515754</c:v>
                </c:pt>
                <c:pt idx="2">
                  <c:v>0.01059814426352448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792879680895398</c:v>
                </c:pt>
                <c:pt idx="1">
                  <c:v>0.006982863460475401</c:v>
                </c:pt>
                <c:pt idx="2">
                  <c:v>0.010240863699233438</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1236034212458574</c:v>
                </c:pt>
                <c:pt idx="1">
                  <c:v>0.010520729684908789</c:v>
                </c:pt>
                <c:pt idx="2">
                  <c:v>0.014422107530837558</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459308209799369</c:v>
                </c:pt>
                <c:pt idx="1">
                  <c:v>0.0032238805970149255</c:v>
                </c:pt>
                <c:pt idx="2">
                  <c:v>0.002168445405053574</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0301442717945666</c:v>
                </c:pt>
                <c:pt idx="1">
                  <c:v>0.011907131011608623</c:v>
                </c:pt>
                <c:pt idx="2">
                  <c:v>0.023548680361242486</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3891369490583637e-05</c:v>
                </c:pt>
                <c:pt idx="1">
                  <c:v>0.0</c:v>
                </c:pt>
                <c:pt idx="2">
                  <c:v>0.0</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4339663828858327</c:v>
                </c:pt>
                <c:pt idx="1">
                  <c:v>0.025982310668877833</c:v>
                </c:pt>
                <c:pt idx="2">
                  <c:v>0.034560704090331844</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5688813478597369</c:v>
                </c:pt>
                <c:pt idx="1">
                  <c:v>0.059323383084577117</c:v>
                </c:pt>
                <c:pt idx="2">
                  <c:v>0.06748357747505226</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595106268976603</c:v>
                </c:pt>
                <c:pt idx="1">
                  <c:v>0.04929242675511332</c:v>
                </c:pt>
                <c:pt idx="2">
                  <c:v>0.0541050121864509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048004213535984</c:v>
                </c:pt>
                <c:pt idx="1">
                  <c:v>0.03857325929090132</c:v>
                </c:pt>
                <c:pt idx="2">
                  <c:v>0.036256106968372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320303976524585</c:v>
                </c:pt>
                <c:pt idx="1">
                  <c:v>0.006322084579239641</c:v>
                </c:pt>
                <c:pt idx="2">
                  <c:v>0.00784263306762663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993905421165494</c:v>
                </c:pt>
                <c:pt idx="1">
                  <c:v>0.0011106364801366938</c:v>
                </c:pt>
                <c:pt idx="2">
                  <c:v>0.00141424530727693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832399082051089</c:v>
                </c:pt>
                <c:pt idx="1">
                  <c:v>0.47569414780008545</c:v>
                </c:pt>
                <c:pt idx="2">
                  <c:v>0.415530984829004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09529363078891</c:v>
                </c:pt>
                <c:pt idx="1">
                  <c:v>0.06676633917129432</c:v>
                </c:pt>
                <c:pt idx="2">
                  <c:v>0.0701979943430187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5800759941311463</c:v>
                </c:pt>
                <c:pt idx="1">
                  <c:v>0.0018795386586928664</c:v>
                </c:pt>
                <c:pt idx="2">
                  <c:v>0.00141424530727693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09457883450585</c:v>
                </c:pt>
                <c:pt idx="1">
                  <c:v>0.015677061085006407</c:v>
                </c:pt>
                <c:pt idx="2">
                  <c:v>0.02828490614553869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140626763477672</c:v>
                </c:pt>
                <c:pt idx="1">
                  <c:v>0.023622383596753525</c:v>
                </c:pt>
                <c:pt idx="2">
                  <c:v>0.02339933144767292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4664986268387194</c:v>
                </c:pt>
                <c:pt idx="1">
                  <c:v>0.0061085006407518155</c:v>
                </c:pt>
                <c:pt idx="2">
                  <c:v>0.003471329390588840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872427673902412</c:v>
                </c:pt>
                <c:pt idx="1">
                  <c:v>0.011405382315249893</c:v>
                </c:pt>
                <c:pt idx="2">
                  <c:v>0.015556698380046285</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5417403408449645</c:v>
                </c:pt>
                <c:pt idx="1">
                  <c:v>0.041221700128150365</c:v>
                </c:pt>
                <c:pt idx="2">
                  <c:v>0.04307019799434302</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13994958805161582</c:v>
                </c:pt>
                <c:pt idx="1">
                  <c:v>0.009312259718069201</c:v>
                </c:pt>
                <c:pt idx="2">
                  <c:v>0.00629982000514271</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2392686505398593</c:v>
                </c:pt>
                <c:pt idx="1">
                  <c:v>0.027851345578812473</c:v>
                </c:pt>
                <c:pt idx="2">
                  <c:v>0.04602725636410388</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7.524171400624506e-05</c:v>
                </c:pt>
                <c:pt idx="1">
                  <c:v>0.0</c:v>
                </c:pt>
                <c:pt idx="2">
                  <c:v>0.0</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697866897407923</c:v>
                </c:pt>
                <c:pt idx="1">
                  <c:v>0.08316958564715933</c:v>
                </c:pt>
                <c:pt idx="2">
                  <c:v>0.10079712008228336</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1583085662691396</c:v>
                </c:pt>
                <c:pt idx="1">
                  <c:v>0.16240922682614267</c:v>
                </c:pt>
                <c:pt idx="2">
                  <c:v>0.16880946258678323</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3212821188066664</c:v>
                </c:pt>
                <c:pt idx="1">
                  <c:v>0.028876548483554036</c:v>
                </c:pt>
                <c:pt idx="2">
                  <c:v>0.0316276677809205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45533312398343</c:v>
                </c:pt>
                <c:pt idx="1">
                  <c:v>0.11049569787278203</c:v>
                </c:pt>
                <c:pt idx="2">
                  <c:v>0.0929188725092073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8851213467874675</c:v>
                </c:pt>
                <c:pt idx="1">
                  <c:v>0.004090489844321181</c:v>
                </c:pt>
                <c:pt idx="2">
                  <c:v>0.00227739084601589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1680353807818735</c:v>
                </c:pt>
                <c:pt idx="1">
                  <c:v>0.004034519629803673</c:v>
                </c:pt>
                <c:pt idx="2">
                  <c:v>0.00446527724830190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933348953558348</c:v>
                </c:pt>
                <c:pt idx="1">
                  <c:v>0.5993582082068659</c:v>
                </c:pt>
                <c:pt idx="2">
                  <c:v>0.593769164724641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91812798408681</c:v>
                </c:pt>
                <c:pt idx="1">
                  <c:v>0.0530725898700908</c:v>
                </c:pt>
                <c:pt idx="2">
                  <c:v>0.05088493375013674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3712279344067213</c:v>
                </c:pt>
                <c:pt idx="1">
                  <c:v>0.0020883886291845023</c:v>
                </c:pt>
                <c:pt idx="2">
                  <c:v>0.002400045083719804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8316496221493495</c:v>
                </c:pt>
                <c:pt idx="1">
                  <c:v>0.0068213698943212385</c:v>
                </c:pt>
                <c:pt idx="2">
                  <c:v>0.01685004027699967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98189739067706</c:v>
                </c:pt>
                <c:pt idx="1">
                  <c:v>0.0178684909847143</c:v>
                </c:pt>
                <c:pt idx="2">
                  <c:v>0.02609551781635677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8376958158861577</c:v>
                </c:pt>
                <c:pt idx="1">
                  <c:v>0.02815068581003476</c:v>
                </c:pt>
                <c:pt idx="2">
                  <c:v>0.0250711891825592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34085793923862096</c:v>
                </c:pt>
                <c:pt idx="1">
                  <c:v>0.0049428695695773895</c:v>
                </c:pt>
                <c:pt idx="2">
                  <c:v>0.004922744405143522</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6221192108351214</c:v>
                </c:pt>
                <c:pt idx="1">
                  <c:v>0.006026126429718318</c:v>
                </c:pt>
                <c:pt idx="2">
                  <c:v>0.007031071301891859</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19765093852598874</c:v>
                </c:pt>
                <c:pt idx="1">
                  <c:v>0.0017175859580060146</c:v>
                </c:pt>
                <c:pt idx="2">
                  <c:v>0.0015978200695482678</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5008842278828795</c:v>
                </c:pt>
                <c:pt idx="1">
                  <c:v>0.005350985717100883</c:v>
                </c:pt>
                <c:pt idx="2">
                  <c:v>0.007919485780395875</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4.76384455866869e-05</c:v>
                </c:pt>
                <c:pt idx="1">
                  <c:v>8.162322950469858e-06</c:v>
                </c:pt>
                <c:pt idx="2">
                  <c:v>0.0</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1735497739118261</c:v>
                </c:pt>
                <c:pt idx="1">
                  <c:v>0.021536872127882613</c:v>
                </c:pt>
                <c:pt idx="2">
                  <c:v>0.023407069525062902</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7468444390864697</c:v>
                </c:pt>
                <c:pt idx="1">
                  <c:v>0.08659874836607785</c:v>
                </c:pt>
                <c:pt idx="2">
                  <c:v>0.0954747216246051</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54876572676337596</c:v>
                </c:pt>
                <c:pt idx="1">
                  <c:v>0.04783820876656806</c:v>
                </c:pt>
                <c:pt idx="2">
                  <c:v>0.0449146558554138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536549880067634</c:v>
                </c:pt>
                <c:pt idx="1">
                  <c:v>0.04806624722427831</c:v>
                </c:pt>
                <c:pt idx="2">
                  <c:v>0.04096905124302384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6515276630883566</c:v>
                </c:pt>
                <c:pt idx="1">
                  <c:v>0.003608438193930422</c:v>
                </c:pt>
                <c:pt idx="2">
                  <c:v>0.002156265854895991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5335614014391884</c:v>
                </c:pt>
                <c:pt idx="1">
                  <c:v>0.0024518874907475943</c:v>
                </c:pt>
                <c:pt idx="2">
                  <c:v>0.00291730086250634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8747591522157996</c:v>
                </c:pt>
                <c:pt idx="1">
                  <c:v>0.46386935603256846</c:v>
                </c:pt>
                <c:pt idx="2">
                  <c:v>0.442541856925418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4343124533050215</c:v>
                </c:pt>
                <c:pt idx="1">
                  <c:v>0.05273871206513694</c:v>
                </c:pt>
                <c:pt idx="2">
                  <c:v>0.0489599188229325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2413589713341986</c:v>
                </c:pt>
                <c:pt idx="1">
                  <c:v>0.001757957068837898</c:v>
                </c:pt>
                <c:pt idx="2">
                  <c:v>0.002156265854895991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325429593802839</c:v>
                </c:pt>
                <c:pt idx="1">
                  <c:v>0.01253700962250185</c:v>
                </c:pt>
                <c:pt idx="2">
                  <c:v>0.03170979198376458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0801384137470017</c:v>
                </c:pt>
                <c:pt idx="1">
                  <c:v>0.01683937823834197</c:v>
                </c:pt>
                <c:pt idx="2">
                  <c:v>0.02257737189244038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7392552396681216</c:v>
                </c:pt>
                <c:pt idx="1">
                  <c:v>0.007263138415988157</c:v>
                </c:pt>
                <c:pt idx="2">
                  <c:v>0.00672247590055809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780346820809248</c:v>
                </c:pt>
                <c:pt idx="1">
                  <c:v>0.008327165062916359</c:v>
                </c:pt>
                <c:pt idx="2">
                  <c:v>0.008244545915778792</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27604105225905392</c:v>
                </c:pt>
                <c:pt idx="1">
                  <c:v>0.024102516654330126</c:v>
                </c:pt>
                <c:pt idx="2">
                  <c:v>0.0243531202435312</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6409500216271479</c:v>
                </c:pt>
                <c:pt idx="1">
                  <c:v>0.00536639526276832</c:v>
                </c:pt>
                <c:pt idx="2">
                  <c:v>0.005200405885337392</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2819000432542959</c:v>
                </c:pt>
                <c:pt idx="1">
                  <c:v>0.012953367875647668</c:v>
                </c:pt>
                <c:pt idx="2">
                  <c:v>0.016235413495687467</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02359325232983367</c:v>
                </c:pt>
                <c:pt idx="1">
                  <c:v>0.0</c:v>
                </c:pt>
                <c:pt idx="2">
                  <c:v>0.0</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5324210609099131</c:v>
                </c:pt>
                <c:pt idx="1">
                  <c:v>0.06999444855662472</c:v>
                </c:pt>
                <c:pt idx="2">
                  <c:v>0.07229832572298325</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226573866540836</c:v>
                </c:pt>
                <c:pt idx="1">
                  <c:v>0.24319948186528498</c:v>
                </c:pt>
                <c:pt idx="2">
                  <c:v>0.2463216641298833</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3220478943022296</c:v>
                </c:pt>
                <c:pt idx="1">
                  <c:v>0.026924500370096225</c:v>
                </c:pt>
                <c:pt idx="2">
                  <c:v>0.026636225266362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31620624773066</c:v>
                </c:pt>
                <c:pt idx="1">
                  <c:v>0.1193976801315447</c:v>
                </c:pt>
                <c:pt idx="2">
                  <c:v>0.112431440923540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214865137053094</c:v>
                </c:pt>
                <c:pt idx="1">
                  <c:v>0.005834918218447897</c:v>
                </c:pt>
                <c:pt idx="2">
                  <c:v>0.00616033535295674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000952736286385</c:v>
                </c:pt>
                <c:pt idx="1">
                  <c:v>0.003608523909639438</c:v>
                </c:pt>
                <c:pt idx="2">
                  <c:v>0.00418481764984996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611320472367865</c:v>
                </c:pt>
                <c:pt idx="1">
                  <c:v>0.6338944680833217</c:v>
                </c:pt>
                <c:pt idx="2">
                  <c:v>0.592217443554044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11669737800206</c:v>
                </c:pt>
                <c:pt idx="1">
                  <c:v>0.044446598946633456</c:v>
                </c:pt>
                <c:pt idx="2">
                  <c:v>0.0490748030586702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190540174153762</c:v>
                </c:pt>
                <c:pt idx="1">
                  <c:v>0.0020198458021960996</c:v>
                </c:pt>
                <c:pt idx="2">
                  <c:v>0.00207467305132518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888945285290495</c:v>
                </c:pt>
                <c:pt idx="1">
                  <c:v>0.007122192159926888</c:v>
                </c:pt>
                <c:pt idx="2">
                  <c:v>0.01494836992567143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49628785318012</c:v>
                </c:pt>
                <c:pt idx="1">
                  <c:v>0.02947408334309335</c:v>
                </c:pt>
                <c:pt idx="2">
                  <c:v>0.045901501947800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63003728814645</c:v>
                </c:pt>
                <c:pt idx="1">
                  <c:v>0.03097888388439969</c:v>
                </c:pt>
                <c:pt idx="2">
                  <c:v>0.0325310384287193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037843272182557</c:v>
                </c:pt>
                <c:pt idx="1">
                  <c:v>0.005417257278830431</c:v>
                </c:pt>
                <c:pt idx="2">
                  <c:v>0.006044516626751552</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4800614860066436</c:v>
                </c:pt>
                <c:pt idx="1">
                  <c:v>0.005628308037154555</c:v>
                </c:pt>
                <c:pt idx="2">
                  <c:v>0.007144464557819942</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2582585422044242</c:v>
                </c:pt>
                <c:pt idx="1">
                  <c:v>0.0017453934718213624</c:v>
                </c:pt>
                <c:pt idx="2">
                  <c:v>0.0012025679420365222</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66475673434965655</c:v>
                </c:pt>
                <c:pt idx="1">
                  <c:v>0.007774340236642051</c:v>
                </c:pt>
                <c:pt idx="2">
                  <c:v>0.008833240172401618</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3.148054757939043e-06</c:v>
                </c:pt>
                <c:pt idx="1">
                  <c:v>0.0</c:v>
                </c:pt>
                <c:pt idx="2">
                  <c:v>1.3198715237058825e-05</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5096686037134792</c:v>
                </c:pt>
                <c:pt idx="1">
                  <c:v>0.026015058860156915</c:v>
                </c:pt>
                <c:pt idx="2">
                  <c:v>0.03273710337035793</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1388488901673489</c:v>
                </c:pt>
                <c:pt idx="1">
                  <c:v>0.01555145583392834</c:v>
                </c:pt>
                <c:pt idx="2">
                  <c:v>0.020482921192451126</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6392580529629857</c:v>
                </c:pt>
                <c:pt idx="1">
                  <c:v>0.06109099180226308</c:v>
                </c:pt>
                <c:pt idx="2">
                  <c:v>0.0640175635303659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937740737404831</c:v>
                </c:pt>
                <c:pt idx="1">
                  <c:v>0.05836626682219398</c:v>
                </c:pt>
                <c:pt idx="2">
                  <c:v>0.0556812599550441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528681858400047</c:v>
                </c:pt>
                <c:pt idx="1">
                  <c:v>0.00574522536952245</c:v>
                </c:pt>
                <c:pt idx="2">
                  <c:v>0.00569391309525581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0517688073200067</c:v>
                </c:pt>
                <c:pt idx="1">
                  <c:v>0.0025534334975655334</c:v>
                </c:pt>
                <c:pt idx="2">
                  <c:v>0.00299209550887952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739974462629077</c:v>
                </c:pt>
                <c:pt idx="1">
                  <c:v>0.5751812067294579</c:v>
                </c:pt>
                <c:pt idx="2">
                  <c:v>0.515466603152864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07890093937259</c:v>
                </c:pt>
                <c:pt idx="1">
                  <c:v>0.052296059007526825</c:v>
                </c:pt>
                <c:pt idx="2">
                  <c:v>0.05523467853580838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2384936130081644</c:v>
                </c:pt>
                <c:pt idx="1">
                  <c:v>0.0020630582008739707</c:v>
                </c:pt>
                <c:pt idx="2">
                  <c:v>0.002017059410214805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5377682880954525</c:v>
                </c:pt>
                <c:pt idx="1">
                  <c:v>0.015378633564883325</c:v>
                </c:pt>
                <c:pt idx="2">
                  <c:v>0.02855143873647230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7352378631260494</c:v>
                </c:pt>
                <c:pt idx="1">
                  <c:v>0.033098881712193225</c:v>
                </c:pt>
                <c:pt idx="2">
                  <c:v>0.0457745954716644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173850156032276</c:v>
                </c:pt>
                <c:pt idx="1">
                  <c:v>0.008136167644515632</c:v>
                </c:pt>
                <c:pt idx="2">
                  <c:v>0.00874555279336677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705032769427211</c:v>
                </c:pt>
                <c:pt idx="1">
                  <c:v>0.011473040965197863</c:v>
                </c:pt>
                <c:pt idx="2">
                  <c:v>0.012169343674174197</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20954419501650393</c:v>
                </c:pt>
                <c:pt idx="1">
                  <c:v>0.020943957937986386</c:v>
                </c:pt>
                <c:pt idx="2">
                  <c:v>0.024063295473153015</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9552672152079812</c:v>
                </c:pt>
                <c:pt idx="1">
                  <c:v>0.005861290528502702</c:v>
                </c:pt>
                <c:pt idx="2">
                  <c:v>0.0039001443946588862</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9065607731147644</c:v>
                </c:pt>
                <c:pt idx="1">
                  <c:v>0.022563066905760893</c:v>
                </c:pt>
                <c:pt idx="2">
                  <c:v>0.02219509653601679</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8543734072256986e-05</c:v>
                </c:pt>
                <c:pt idx="1">
                  <c:v>0.0</c:v>
                </c:pt>
                <c:pt idx="2">
                  <c:v>4.4658141923575036e-05</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8787345755869092</c:v>
                </c:pt>
                <c:pt idx="1">
                  <c:v>0.09809827237010858</c:v>
                </c:pt>
                <c:pt idx="2">
                  <c:v>0.11789005165458416</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45604340293414855</c:v>
                </c:pt>
                <c:pt idx="1">
                  <c:v>0.047879779708328254</c:v>
                </c:pt>
                <c:pt idx="2">
                  <c:v>0.05740804144275571</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44049315736212735</c:v>
                </c:pt>
                <c:pt idx="1">
                  <c:v>0.04036165903538246</c:v>
                </c:pt>
                <c:pt idx="2">
                  <c:v>0.0421721720231626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845269955560917</c:v>
                </c:pt>
                <c:pt idx="1">
                  <c:v>0.12517290095455652</c:v>
                </c:pt>
                <c:pt idx="2">
                  <c:v>0.1075857639341551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7863509466087055</c:v>
                </c:pt>
                <c:pt idx="1">
                  <c:v>0.006332330471793638</c:v>
                </c:pt>
                <c:pt idx="2">
                  <c:v>0.00631717737636077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1889152523821565</c:v>
                </c:pt>
                <c:pt idx="1">
                  <c:v>0.002893601552369936</c:v>
                </c:pt>
                <c:pt idx="2">
                  <c:v>0.00411789831593518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965105311142592</c:v>
                </c:pt>
                <c:pt idx="1">
                  <c:v>0.6232379337702083</c:v>
                </c:pt>
                <c:pt idx="2">
                  <c:v>0.595465775508192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832094071633537</c:v>
                </c:pt>
                <c:pt idx="1">
                  <c:v>0.046498788357407395</c:v>
                </c:pt>
                <c:pt idx="2">
                  <c:v>0.0569336644440699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157732918029483</c:v>
                </c:pt>
                <c:pt idx="1">
                  <c:v>0.0023621175287630103</c:v>
                </c:pt>
                <c:pt idx="2">
                  <c:v>0.00207378766729094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02473590317481</c:v>
                </c:pt>
                <c:pt idx="1">
                  <c:v>0.0071632100877062335</c:v>
                </c:pt>
                <c:pt idx="2">
                  <c:v>0.01355264650113249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0325982130050198</c:v>
                </c:pt>
                <c:pt idx="1">
                  <c:v>0.03161837264170071</c:v>
                </c:pt>
                <c:pt idx="2">
                  <c:v>0.04505734553906714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203776652745424</c:v>
                </c:pt>
                <c:pt idx="1">
                  <c:v>0.0303354435795828</c:v>
                </c:pt>
                <c:pt idx="2">
                  <c:v>0.03026547153073002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8949970348953194</c:v>
                </c:pt>
                <c:pt idx="1">
                  <c:v>0.009779548582695374</c:v>
                </c:pt>
                <c:pt idx="2">
                  <c:v>0.010673763713697323</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5713686296759785</c:v>
                </c:pt>
                <c:pt idx="1">
                  <c:v>0.0065879157723644525</c:v>
                </c:pt>
                <c:pt idx="2">
                  <c:v>0.008806443304705609</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2393665978627842</c:v>
                </c:pt>
                <c:pt idx="1">
                  <c:v>0.0015062251165312071</c:v>
                </c:pt>
                <c:pt idx="2">
                  <c:v>0.001265088909168185</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927482501748126</c:v>
                </c:pt>
                <c:pt idx="1">
                  <c:v>0.010779908842758723</c:v>
                </c:pt>
                <c:pt idx="2">
                  <c:v>0.01160371429086234</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5.3955585583824314e-06</c:v>
                </c:pt>
                <c:pt idx="1">
                  <c:v>1.5917234021314086e-06</c:v>
                </c:pt>
                <c:pt idx="2">
                  <c:v>1.0598935230966698e-05</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1983397515954912</c:v>
                </c:pt>
                <c:pt idx="1">
                  <c:v>0.023334361889836522</c:v>
                </c:pt>
                <c:pt idx="2">
                  <c:v>0.029822436038075616</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1418618474939067</c:v>
                </c:pt>
                <c:pt idx="1">
                  <c:v>0.015386128979469572</c:v>
                </c:pt>
                <c:pt idx="2">
                  <c:v>0.0198789389617919</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59521209345079394</c:v>
                </c:pt>
                <c:pt idx="1">
                  <c:v>0.05700962014885343</c:v>
                </c:pt>
                <c:pt idx="2">
                  <c:v>0.0565694850295339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lanc De Blanc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396080120611674</c:v>
                </c:pt>
                <c:pt idx="1">
                  <c:v>0.05978580592116921</c:v>
                </c:pt>
                <c:pt idx="2">
                  <c:v>0.0517732965719716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Noi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983515300120943</c:v>
                </c:pt>
                <c:pt idx="1">
                  <c:v>0.006187671436773055</c:v>
                </c:pt>
                <c:pt idx="2">
                  <c:v>0.005674172634114669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rut Natur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3989794396858796</c:v>
                </c:pt>
                <c:pt idx="1">
                  <c:v>0.0021192597475316647</c:v>
                </c:pt>
                <c:pt idx="2">
                  <c:v>0.002982939842478192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rut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592074090027999</c:v>
                </c:pt>
                <c:pt idx="1">
                  <c:v>0.5592932020668099</c:v>
                </c:pt>
                <c:pt idx="2">
                  <c:v>0.511014293645491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11628754618201</c:v>
                </c:pt>
                <c:pt idx="1">
                  <c:v>0.05429628527079036</c:v>
                </c:pt>
                <c:pt idx="2">
                  <c:v>0.0627828852650299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2034824963965607</c:v>
                </c:pt>
                <c:pt idx="1">
                  <c:v>0.002268104077625862</c:v>
                </c:pt>
                <c:pt idx="2">
                  <c:v>0.001881980973172361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5593200682582547</c:v>
                </c:pt>
                <c:pt idx="1">
                  <c:v>0.016135434164735233</c:v>
                </c:pt>
                <c:pt idx="2">
                  <c:v>0.02727931420613337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22657764376481</c:v>
                </c:pt>
                <c:pt idx="1">
                  <c:v>0.035120174076987955</c:v>
                </c:pt>
                <c:pt idx="2">
                  <c:v>0.0439442557235746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194983349624744</c:v>
                </c:pt>
                <c:pt idx="1">
                  <c:v>0.008104928164891166</c:v>
                </c:pt>
                <c:pt idx="2">
                  <c:v>0.00836540542575114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1998376381318446</c:v>
                </c:pt>
                <c:pt idx="1">
                  <c:v>0.024024183659727687</c:v>
                </c:pt>
                <c:pt idx="2">
                  <c:v>0.02464454084369207</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2528868934210308</c:v>
                </c:pt>
                <c:pt idx="1">
                  <c:v>0.02467271966942383</c:v>
                </c:pt>
                <c:pt idx="2">
                  <c:v>0.028323813646244037</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8939843271094617</c:v>
                </c:pt>
                <c:pt idx="1">
                  <c:v>0.005198919815433031</c:v>
                </c:pt>
                <c:pt idx="2">
                  <c:v>0.004177997760442642</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25626667108467668</c:v>
                </c:pt>
                <c:pt idx="1">
                  <c:v>0.029938973824661378</c:v>
                </c:pt>
                <c:pt idx="2">
                  <c:v>0.028097975929463354</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2.982156762040458e-05</c:v>
                </c:pt>
                <c:pt idx="1">
                  <c:v>1.0631737863871228e-05</c:v>
                </c:pt>
                <c:pt idx="2">
                  <c:v>4.704952432930903e-05</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7783760499676932</c:v>
                </c:pt>
                <c:pt idx="1">
                  <c:v>0.08817254601770538</c:v>
                </c:pt>
                <c:pt idx="2">
                  <c:v>0.10664245184481184</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4701204459981113</c:v>
                </c:pt>
                <c:pt idx="1">
                  <c:v>0.04730768958160567</c:v>
                </c:pt>
                <c:pt idx="2">
                  <c:v>0.05529260099180397</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Rosé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4038171606554118</c:v>
                </c:pt>
                <c:pt idx="1">
                  <c:v>0.037363470766264784</c:v>
                </c:pt>
                <c:pt idx="2">
                  <c:v>0.0370750251714955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4782</c:v>
                </c:pt>
                <c:pt idx="1">
                  <c:v>0.038204</c:v>
                </c:pt>
                <c:pt idx="2">
                  <c:v>0.0185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126</c:v>
                </c:pt>
                <c:pt idx="1">
                  <c:v>0.013088</c:v>
                </c:pt>
                <c:pt idx="2">
                  <c:v>0.0049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479</c:v>
                </c:pt>
                <c:pt idx="1">
                  <c:v>0.002346</c:v>
                </c:pt>
                <c:pt idx="2">
                  <c:v>0.000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922</c:v>
                </c:pt>
                <c:pt idx="1">
                  <c:v>0.005129</c:v>
                </c:pt>
                <c:pt idx="2">
                  <c:v>0.0021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23.161997</c:v>
                </c:pt>
                <c:pt idx="1">
                  <c:v>569.804003</c:v>
                </c:pt>
                <c:pt idx="2">
                  <c:v>504.39685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2</a:t>
                    </a:r>
                  </a:p>
                </c:rich>
              </c:tx>
              <c:dLblPos val="t"/>
              <c:showLegendKey val="0"/>
              <c:showVal val="1"/>
              <c:showCatName val="0"/>
              <c:showSerName val="0"/>
              <c:showPercent val="0"/>
              <c:showBubbleSize val="0"/>
            </c:dLbl>
            <c:dLbl>
              <c:idx val="1"/>
              <c:tx>
                <c:rich>
                  <a:bodyPr/>
                  <a:lstStyle/>
                  <a:p>
                    <a:r>
                      <a:t>5.08</a:t>
                    </a:r>
                  </a:p>
                </c:rich>
              </c:tx>
              <c:dLblPos val="t"/>
              <c:showLegendKey val="0"/>
              <c:showVal val="1"/>
              <c:showCatName val="0"/>
              <c:showSerName val="0"/>
              <c:showPercent val="0"/>
              <c:showBubbleSize val="0"/>
            </c:dLbl>
            <c:dLbl>
              <c:idx val="2"/>
              <c:tx>
                <c:rich>
                  <a:bodyPr/>
                  <a:lstStyle/>
                  <a:p>
                    <a:r>
                      <a:t>26.39</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5.0236</c:v>
                </c:pt>
                <c:pt idx="1">
                  <c:v>5.0762</c:v>
                </c:pt>
                <c:pt idx="2">
                  <c:v>26.39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21</a:t>
                    </a:r>
                  </a:p>
                </c:rich>
              </c:tx>
              <c:dLblPos val="ctr"/>
              <c:showLegendKey val="0"/>
              <c:showVal val="1"/>
              <c:showCatName val="0"/>
              <c:showSerName val="0"/>
              <c:showPercent val="0"/>
              <c:showBubbleSize val="0"/>
            </c:dLbl>
            <c:dLbl>
              <c:idx val="1"/>
              <c:tx>
                <c:rich>
                  <a:bodyPr/>
                  <a:lstStyle/>
                  <a:p>
                    <a:r>
                      <a:t>109</a:t>
                    </a:r>
                  </a:p>
                </c:rich>
              </c:tx>
              <c:dLblPos val="ctr"/>
              <c:showLegendKey val="0"/>
              <c:showVal val="1"/>
              <c:showCatName val="0"/>
              <c:showSerName val="0"/>
              <c:showPercent val="0"/>
              <c:showBubbleSize val="0"/>
            </c:dLbl>
            <c:dLbl>
              <c:idx val="2"/>
              <c:tx>
                <c:rich>
                  <a:bodyPr/>
                  <a:lstStyle/>
                  <a:p>
                    <a:r>
                      <a:t>106</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1.2147968485138378</c:v>
                </c:pt>
                <c:pt idx="1">
                  <c:v>1.0859186854516472</c:v>
                </c:pt>
                <c:pt idx="2">
                  <c:v>1.0620685357818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23.161997</c:v>
                </c:pt>
                <c:pt idx="1">
                  <c:v>569.804003</c:v>
                </c:pt>
                <c:pt idx="2">
                  <c:v>504.39685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2</a:t>
                    </a:r>
                  </a:p>
                </c:rich>
              </c:tx>
              <c:dLblPos val="t"/>
              <c:showLegendKey val="0"/>
              <c:showVal val="1"/>
              <c:showCatName val="0"/>
              <c:showSerName val="0"/>
              <c:showPercent val="0"/>
              <c:showBubbleSize val="0"/>
            </c:dLbl>
            <c:dLbl>
              <c:idx val="1"/>
              <c:tx>
                <c:rich>
                  <a:bodyPr/>
                  <a:lstStyle/>
                  <a:p>
                    <a:r>
                      <a:t>5.08</a:t>
                    </a:r>
                  </a:p>
                </c:rich>
              </c:tx>
              <c:dLblPos val="t"/>
              <c:showLegendKey val="0"/>
              <c:showVal val="1"/>
              <c:showCatName val="0"/>
              <c:showSerName val="0"/>
              <c:showPercent val="0"/>
              <c:showBubbleSize val="0"/>
            </c:dLbl>
            <c:dLbl>
              <c:idx val="2"/>
              <c:tx>
                <c:rich>
                  <a:bodyPr/>
                  <a:lstStyle/>
                  <a:p>
                    <a:r>
                      <a:t>26.39</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5.0236</c:v>
                </c:pt>
                <c:pt idx="1">
                  <c:v>5.0762</c:v>
                </c:pt>
                <c:pt idx="2">
                  <c:v>26.39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21</a:t>
                    </a:r>
                  </a:p>
                </c:rich>
              </c:tx>
              <c:dLblPos val="ctr"/>
              <c:showLegendKey val="0"/>
              <c:showVal val="1"/>
              <c:showCatName val="0"/>
              <c:showSerName val="0"/>
              <c:showPercent val="0"/>
              <c:showBubbleSize val="0"/>
            </c:dLbl>
            <c:dLbl>
              <c:idx val="1"/>
              <c:tx>
                <c:rich>
                  <a:bodyPr/>
                  <a:lstStyle/>
                  <a:p>
                    <a:r>
                      <a:t>109</a:t>
                    </a:r>
                  </a:p>
                </c:rich>
              </c:tx>
              <c:dLblPos val="ctr"/>
              <c:showLegendKey val="0"/>
              <c:showVal val="1"/>
              <c:showCatName val="0"/>
              <c:showSerName val="0"/>
              <c:showPercent val="0"/>
              <c:showBubbleSize val="0"/>
            </c:dLbl>
            <c:dLbl>
              <c:idx val="2"/>
              <c:tx>
                <c:rich>
                  <a:bodyPr/>
                  <a:lstStyle/>
                  <a:p>
                    <a:r>
                      <a:t>106</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1.2147968485138378</c:v>
                </c:pt>
                <c:pt idx="1">
                  <c:v>1.0859186854516472</c:v>
                </c:pt>
                <c:pt idx="2">
                  <c:v>1.0620685357818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7547</c:v>
                </c:pt>
                <c:pt idx="1">
                  <c:v>1.507531</c:v>
                </c:pt>
                <c:pt idx="2">
                  <c:v>0.7364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3162</c:v>
                </c:pt>
                <c:pt idx="1">
                  <c:v>0.525868</c:v>
                </c:pt>
                <c:pt idx="2">
                  <c:v>0.199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6442</c:v>
                </c:pt>
                <c:pt idx="1">
                  <c:v>0.10251</c:v>
                </c:pt>
                <c:pt idx="2">
                  <c:v>0.0094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42569</c:v>
                </c:pt>
                <c:pt idx="1">
                  <c:v>0.217547</c:v>
                </c:pt>
                <c:pt idx="2">
                  <c:v>0.09059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941</c:v>
                </c:pt>
                <c:pt idx="1">
                  <c:v>0.003308</c:v>
                </c:pt>
                <c:pt idx="2">
                  <c:v>0.00144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57</c:v>
                </c:pt>
                <c:pt idx="1">
                  <c:v>0.000371</c:v>
                </c:pt>
                <c:pt idx="2">
                  <c:v>3.6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425</c:v>
                </c:pt>
                <c:pt idx="1">
                  <c:v>0.001312</c:v>
                </c:pt>
                <c:pt idx="2">
                  <c:v>0.0005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6806</c:v>
                </c:pt>
                <c:pt idx="1">
                  <c:v>0.129814</c:v>
                </c:pt>
                <c:pt idx="2">
                  <c:v>0.05707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987</c:v>
                </c:pt>
                <c:pt idx="1">
                  <c:v>0.01595</c:v>
                </c:pt>
                <c:pt idx="2">
                  <c:v>0.00162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989</c:v>
                </c:pt>
                <c:pt idx="1">
                  <c:v>0.054713</c:v>
                </c:pt>
                <c:pt idx="2">
                  <c:v>0.0222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020266</c:v>
                </c:pt>
                <c:pt idx="1">
                  <c:v>0.143673</c:v>
                </c:pt>
                <c:pt idx="2">
                  <c:v>2.41802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64</a:t>
                    </a:r>
                  </a:p>
                </c:rich>
              </c:tx>
              <c:dLblPos val="t"/>
              <c:showLegendKey val="0"/>
              <c:showVal val="1"/>
              <c:showCatName val="0"/>
              <c:showSerName val="0"/>
              <c:showPercent val="0"/>
              <c:showBubbleSize val="0"/>
            </c:dLbl>
            <c:dLbl>
              <c:idx val="1"/>
              <c:tx>
                <c:rich>
                  <a:bodyPr/>
                  <a:lstStyle/>
                  <a:p>
                    <a:r>
                      <a:t>13.76</a:t>
                    </a:r>
                  </a:p>
                </c:rich>
              </c:tx>
              <c:dLblPos val="t"/>
              <c:showLegendKey val="0"/>
              <c:showVal val="1"/>
              <c:showCatName val="0"/>
              <c:showSerName val="0"/>
              <c:showPercent val="0"/>
              <c:showBubbleSize val="0"/>
            </c:dLbl>
            <c:dLbl>
              <c:idx val="2"/>
              <c:tx>
                <c:rich>
                  <a:bodyPr/>
                  <a:lstStyle/>
                  <a:p>
                    <a:r>
                      <a:t>58.28</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22.6436</c:v>
                </c:pt>
                <c:pt idx="1">
                  <c:v>13.7618</c:v>
                </c:pt>
                <c:pt idx="2">
                  <c:v>58.278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92</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87</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1.9185837356811513</c:v>
                </c:pt>
                <c:pt idx="1">
                  <c:v>0.8528814645960963</c:v>
                </c:pt>
                <c:pt idx="2">
                  <c:v>0.871744195730226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012154</c:v>
                </c:pt>
                <c:pt idx="1">
                  <c:v>0.099118</c:v>
                </c:pt>
                <c:pt idx="2">
                  <c:v>1.3136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14.14</a:t>
                    </a:r>
                  </a:p>
                </c:rich>
              </c:tx>
              <c:dLblPos val="t"/>
              <c:showLegendKey val="0"/>
              <c:showVal val="1"/>
              <c:showCatName val="0"/>
              <c:showSerName val="0"/>
              <c:showPercent val="0"/>
              <c:showBubbleSize val="0"/>
            </c:dLbl>
            <c:dLbl>
              <c:idx val="2"/>
              <c:tx>
                <c:rich>
                  <a:bodyPr/>
                  <a:lstStyle/>
                  <a:p>
                    <a:r>
                      <a:t>56.31</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20.223</c:v>
                </c:pt>
                <c:pt idx="1">
                  <c:v>14.1436</c:v>
                </c:pt>
                <c:pt idx="2">
                  <c:v>56.308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98</a:t>
                    </a:r>
                  </a:p>
                </c:rich>
              </c:tx>
              <c:dLblPos val="ctr"/>
              <c:showLegendKey val="0"/>
              <c:showVal val="1"/>
              <c:showCatName val="0"/>
              <c:showSerName val="0"/>
              <c:showPercent val="0"/>
              <c:showBubbleSize val="0"/>
            </c:dLbl>
            <c:dLbl>
              <c:idx val="1"/>
              <c:tx>
                <c:rich>
                  <a:bodyPr/>
                  <a:lstStyle/>
                  <a:p>
                    <a:r>
                      <a:t>95</a:t>
                    </a:r>
                  </a:p>
                </c:rich>
              </c:tx>
              <c:dLblPos val="ctr"/>
              <c:showLegendKey val="0"/>
              <c:showVal val="1"/>
              <c:showCatName val="0"/>
              <c:showSerName val="0"/>
              <c:showPercent val="0"/>
              <c:showBubbleSize val="0"/>
            </c:dLbl>
            <c:dLbl>
              <c:idx val="2"/>
              <c:tx>
                <c:rich>
                  <a:bodyPr/>
                  <a:lstStyle/>
                  <a:p>
                    <a:r>
                      <a:t>90</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1.9775463716238204</c:v>
                </c:pt>
                <c:pt idx="1">
                  <c:v>0.9493879427597173</c:v>
                </c:pt>
                <c:pt idx="2">
                  <c:v>0.899325854081331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19</c:v>
                </c:pt>
                <c:pt idx="1">
                  <c:v>0.002792</c:v>
                </c:pt>
                <c:pt idx="2">
                  <c:v>0.0011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74</c:v>
                </c:pt>
                <c:pt idx="1">
                  <c:v>0.000184</c:v>
                </c:pt>
                <c:pt idx="2">
                  <c:v>3.4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129</c:v>
                </c:pt>
                <c:pt idx="1">
                  <c:v>0.000984</c:v>
                </c:pt>
                <c:pt idx="2">
                  <c:v>0.0003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053426</c:v>
                </c:pt>
                <c:pt idx="1">
                  <c:v>0.346813</c:v>
                </c:pt>
                <c:pt idx="2">
                  <c:v>6.269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8</a:t>
                    </a:r>
                  </a:p>
                </c:rich>
              </c:tx>
              <c:dLblPos val="t"/>
              <c:showLegendKey val="0"/>
              <c:showVal val="1"/>
              <c:showCatName val="0"/>
              <c:showSerName val="0"/>
              <c:showPercent val="0"/>
              <c:showBubbleSize val="0"/>
            </c:dLbl>
            <c:dLbl>
              <c:idx val="1"/>
              <c:tx>
                <c:rich>
                  <a:bodyPr/>
                  <a:lstStyle/>
                  <a:p>
                    <a:r>
                      <a:t>13.62</a:t>
                    </a:r>
                  </a:p>
                </c:rich>
              </c:tx>
              <c:dLblPos val="t"/>
              <c:showLegendKey val="0"/>
              <c:showVal val="1"/>
              <c:showCatName val="0"/>
              <c:showSerName val="0"/>
              <c:showPercent val="0"/>
              <c:showBubbleSize val="0"/>
            </c:dLbl>
            <c:dLbl>
              <c:idx val="2"/>
              <c:tx>
                <c:rich>
                  <a:bodyPr/>
                  <a:lstStyle/>
                  <a:p>
                    <a:r>
                      <a:t>60.73</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23.6817</c:v>
                </c:pt>
                <c:pt idx="1">
                  <c:v>13.6219</c:v>
                </c:pt>
                <c:pt idx="2">
                  <c:v>60.73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98</a:t>
                    </a:r>
                  </a:p>
                </c:rich>
              </c:tx>
              <c:dLblPos val="ctr"/>
              <c:showLegendKey val="0"/>
              <c:showVal val="1"/>
              <c:showCatName val="0"/>
              <c:showSerName val="0"/>
              <c:showPercent val="0"/>
              <c:showBubbleSize val="0"/>
            </c:dLbl>
            <c:dLbl>
              <c:idx val="1"/>
              <c:tx>
                <c:rich>
                  <a:bodyPr/>
                  <a:lstStyle/>
                  <a:p>
                    <a:r>
                      <a:t>89</a:t>
                    </a:r>
                  </a:p>
                </c:rich>
              </c:tx>
              <c:dLblPos val="ctr"/>
              <c:showLegendKey val="0"/>
              <c:showVal val="1"/>
              <c:showCatName val="0"/>
              <c:showSerName val="0"/>
              <c:showPercent val="0"/>
              <c:showBubbleSize val="0"/>
            </c:dLbl>
            <c:dLbl>
              <c:idx val="2"/>
              <c:tx>
                <c:rich>
                  <a:bodyPr/>
                  <a:lstStyle/>
                  <a:p>
                    <a:r>
                      <a:t>90</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1.978887324987036</c:v>
                </c:pt>
                <c:pt idx="1">
                  <c:v>0.8934633804522281</c:v>
                </c:pt>
                <c:pt idx="2">
                  <c:v>0.89941998728299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053426</c:v>
                </c:pt>
                <c:pt idx="1">
                  <c:v>0.346813</c:v>
                </c:pt>
                <c:pt idx="2">
                  <c:v>6.269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8</a:t>
                    </a:r>
                  </a:p>
                </c:rich>
              </c:tx>
              <c:dLblPos val="t"/>
              <c:showLegendKey val="0"/>
              <c:showVal val="1"/>
              <c:showCatName val="0"/>
              <c:showSerName val="0"/>
              <c:showPercent val="0"/>
              <c:showBubbleSize val="0"/>
            </c:dLbl>
            <c:dLbl>
              <c:idx val="1"/>
              <c:tx>
                <c:rich>
                  <a:bodyPr/>
                  <a:lstStyle/>
                  <a:p>
                    <a:r>
                      <a:t>13.62</a:t>
                    </a:r>
                  </a:p>
                </c:rich>
              </c:tx>
              <c:dLblPos val="t"/>
              <c:showLegendKey val="0"/>
              <c:showVal val="1"/>
              <c:showCatName val="0"/>
              <c:showSerName val="0"/>
              <c:showPercent val="0"/>
              <c:showBubbleSize val="0"/>
            </c:dLbl>
            <c:dLbl>
              <c:idx val="2"/>
              <c:tx>
                <c:rich>
                  <a:bodyPr/>
                  <a:lstStyle/>
                  <a:p>
                    <a:r>
                      <a:t>60.73</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23.6817</c:v>
                </c:pt>
                <c:pt idx="1">
                  <c:v>13.6219</c:v>
                </c:pt>
                <c:pt idx="2">
                  <c:v>60.73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1577</c:v>
                </c:pt>
                <c:pt idx="1">
                  <c:v>0.110139</c:v>
                </c:pt>
                <c:pt idx="2">
                  <c:v>0.04647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295</c:v>
                </c:pt>
                <c:pt idx="1">
                  <c:v>0.008053</c:v>
                </c:pt>
                <c:pt idx="2">
                  <c:v>0.00156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4986</c:v>
                </c:pt>
                <c:pt idx="1">
                  <c:v>0.040663</c:v>
                </c:pt>
                <c:pt idx="2">
                  <c:v>0.0154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98</a:t>
                    </a:r>
                  </a:p>
                </c:rich>
              </c:tx>
              <c:dLblPos val="ctr"/>
              <c:showLegendKey val="0"/>
              <c:showVal val="1"/>
              <c:showCatName val="0"/>
              <c:showSerName val="0"/>
              <c:showPercent val="0"/>
              <c:showBubbleSize val="0"/>
            </c:dLbl>
            <c:dLbl>
              <c:idx val="1"/>
              <c:tx>
                <c:rich>
                  <a:bodyPr/>
                  <a:lstStyle/>
                  <a:p>
                    <a:r>
                      <a:t>89</a:t>
                    </a:r>
                  </a:p>
                </c:rich>
              </c:tx>
              <c:dLblPos val="ctr"/>
              <c:showLegendKey val="0"/>
              <c:showVal val="1"/>
              <c:showCatName val="0"/>
              <c:showSerName val="0"/>
              <c:showPercent val="0"/>
              <c:showBubbleSize val="0"/>
            </c:dLbl>
            <c:dLbl>
              <c:idx val="2"/>
              <c:tx>
                <c:rich>
                  <a:bodyPr/>
                  <a:lstStyle/>
                  <a:p>
                    <a:r>
                      <a:t>90</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1.978887324987036</c:v>
                </c:pt>
                <c:pt idx="1">
                  <c:v>0.8934633804522281</c:v>
                </c:pt>
                <c:pt idx="2">
                  <c:v>0.89941998728299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01388</c:v>
                </c:pt>
                <c:pt idx="1">
                  <c:v>0.213114</c:v>
                </c:pt>
                <c:pt idx="2">
                  <c:v>1.60407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94</a:t>
                    </a:r>
                  </a:p>
                </c:rich>
              </c:tx>
              <c:dLblPos val="t"/>
              <c:showLegendKey val="0"/>
              <c:showVal val="1"/>
              <c:showCatName val="0"/>
              <c:showSerName val="0"/>
              <c:showPercent val="0"/>
              <c:showBubbleSize val="0"/>
            </c:dLbl>
            <c:dLbl>
              <c:idx val="1"/>
              <c:tx>
                <c:rich>
                  <a:bodyPr/>
                  <a:lstStyle/>
                  <a:p>
                    <a:r>
                      <a:t>15.44</a:t>
                    </a:r>
                  </a:p>
                </c:rich>
              </c:tx>
              <c:dLblPos val="t"/>
              <c:showLegendKey val="0"/>
              <c:showVal val="1"/>
              <c:showCatName val="0"/>
              <c:showSerName val="0"/>
              <c:showPercent val="0"/>
              <c:showBubbleSize val="0"/>
            </c:dLbl>
            <c:dLbl>
              <c:idx val="2"/>
              <c:tx>
                <c:rich>
                  <a:bodyPr/>
                  <a:lstStyle/>
                  <a:p>
                    <a:r>
                      <a:t>53.49</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22.9421</c:v>
                </c:pt>
                <c:pt idx="1">
                  <c:v>15.4397</c:v>
                </c:pt>
                <c:pt idx="2">
                  <c:v>53.488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81</a:t>
                    </a:r>
                  </a:p>
                </c:rich>
              </c:tx>
              <c:dLblPos val="ctr"/>
              <c:showLegendKey val="0"/>
              <c:showVal val="1"/>
              <c:showCatName val="0"/>
              <c:showSerName val="0"/>
              <c:showPercent val="0"/>
              <c:showBubbleSize val="0"/>
            </c:dLbl>
            <c:dLbl>
              <c:idx val="1"/>
              <c:tx>
                <c:rich>
                  <a:bodyPr/>
                  <a:lstStyle/>
                  <a:p>
                    <a:r>
                      <a:t>98</a:t>
                    </a:r>
                  </a:p>
                </c:rich>
              </c:tx>
              <c:dLblPos val="ctr"/>
              <c:showLegendKey val="0"/>
              <c:showVal val="1"/>
              <c:showCatName val="0"/>
              <c:showSerName val="0"/>
              <c:showPercent val="0"/>
              <c:showBubbleSize val="0"/>
            </c:dLbl>
            <c:dLbl>
              <c:idx val="2"/>
              <c:tx>
                <c:rich>
                  <a:bodyPr/>
                  <a:lstStyle/>
                  <a:p>
                    <a:r>
                      <a:t>92</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1.8105922254109053</c:v>
                </c:pt>
                <c:pt idx="1">
                  <c:v>0.9835153170947823</c:v>
                </c:pt>
                <c:pt idx="2">
                  <c:v>0.92285374354348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01592</c:v>
                </c:pt>
                <c:pt idx="1">
                  <c:v>0.1061</c:v>
                </c:pt>
                <c:pt idx="2">
                  <c:v>1.55444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8</a:t>
                    </a:r>
                  </a:p>
                </c:rich>
              </c:tx>
              <c:dLblPos val="t"/>
              <c:showLegendKey val="0"/>
              <c:showVal val="1"/>
              <c:showCatName val="0"/>
              <c:showSerName val="0"/>
              <c:showPercent val="0"/>
              <c:showBubbleSize val="0"/>
            </c:dLbl>
            <c:dLbl>
              <c:idx val="1"/>
              <c:tx>
                <c:rich>
                  <a:bodyPr/>
                  <a:lstStyle/>
                  <a:p>
                    <a:r>
                      <a:t>13.73</a:t>
                    </a:r>
                  </a:p>
                </c:rich>
              </c:tx>
              <c:dLblPos val="t"/>
              <c:showLegendKey val="0"/>
              <c:showVal val="1"/>
              <c:showCatName val="0"/>
              <c:showSerName val="0"/>
              <c:showPercent val="0"/>
              <c:showBubbleSize val="0"/>
            </c:dLbl>
            <c:dLbl>
              <c:idx val="2"/>
              <c:tx>
                <c:rich>
                  <a:bodyPr/>
                  <a:lstStyle/>
                  <a:p>
                    <a:r>
                      <a:t>54.93</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21.4845</c:v>
                </c:pt>
                <c:pt idx="1">
                  <c:v>13.7275</c:v>
                </c:pt>
                <c:pt idx="2">
                  <c:v>54.93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34</a:t>
                    </a:r>
                  </a:p>
                </c:rich>
              </c:tx>
              <c:dLblPos val="ctr"/>
              <c:showLegendKey val="0"/>
              <c:showVal val="1"/>
              <c:showCatName val="0"/>
              <c:showSerName val="0"/>
              <c:showPercent val="0"/>
              <c:showBubbleSize val="0"/>
            </c:dLbl>
            <c:dLbl>
              <c:idx val="1"/>
              <c:tx>
                <c:rich>
                  <a:bodyPr/>
                  <a:lstStyle/>
                  <a:p>
                    <a:r>
                      <a:t>97</a:t>
                    </a:r>
                  </a:p>
                </c:rich>
              </c:tx>
              <c:dLblPos val="ctr"/>
              <c:showLegendKey val="0"/>
              <c:showVal val="1"/>
              <c:showCatName val="0"/>
              <c:showSerName val="0"/>
              <c:showPercent val="0"/>
              <c:showBubbleSize val="0"/>
            </c:dLbl>
            <c:dLbl>
              <c:idx val="2"/>
              <c:tx>
                <c:rich>
                  <a:bodyPr/>
                  <a:lstStyle/>
                  <a:p>
                    <a:r>
                      <a:t>87</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1.3431198852611153</c:v>
                </c:pt>
                <c:pt idx="1">
                  <c:v>0.973331987853991</c:v>
                </c:pt>
                <c:pt idx="2">
                  <c:v>0.866392257079237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008174</c:v>
                </c:pt>
                <c:pt idx="1">
                  <c:v>0.100559</c:v>
                </c:pt>
                <c:pt idx="2">
                  <c:v>0.72128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9.42</a:t>
                    </a:r>
                  </a:p>
                </c:rich>
              </c:tx>
              <c:dLblPos val="t"/>
              <c:showLegendKey val="0"/>
              <c:showVal val="1"/>
              <c:showCatName val="0"/>
              <c:showSerName val="0"/>
              <c:showPercent val="0"/>
              <c:showBubbleSize val="0"/>
            </c:dLbl>
            <c:dLbl>
              <c:idx val="1"/>
              <c:tx>
                <c:rich>
                  <a:bodyPr/>
                  <a:lstStyle/>
                  <a:p>
                    <a:r>
                      <a:t>13.80</a:t>
                    </a:r>
                  </a:p>
                </c:rich>
              </c:tx>
              <c:dLblPos val="t"/>
              <c:showLegendKey val="0"/>
              <c:showVal val="1"/>
              <c:showCatName val="0"/>
              <c:showSerName val="0"/>
              <c:showPercent val="0"/>
              <c:showBubbleSize val="0"/>
            </c:dLbl>
            <c:dLbl>
              <c:idx val="2"/>
              <c:tx>
                <c:rich>
                  <a:bodyPr/>
                  <a:lstStyle/>
                  <a:p>
                    <a:r>
                      <a:t>52.32</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19.4157</c:v>
                </c:pt>
                <c:pt idx="1">
                  <c:v>13.7979</c:v>
                </c:pt>
                <c:pt idx="2">
                  <c:v>52.316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53</a:t>
                    </a:r>
                  </a:p>
                </c:rich>
              </c:tx>
              <c:dLblPos val="ctr"/>
              <c:showLegendKey val="0"/>
              <c:showVal val="1"/>
              <c:showCatName val="0"/>
              <c:showSerName val="0"/>
              <c:showPercent val="0"/>
              <c:showBubbleSize val="0"/>
            </c:dLbl>
            <c:dLbl>
              <c:idx val="1"/>
              <c:tx>
                <c:rich>
                  <a:bodyPr/>
                  <a:lstStyle/>
                  <a:p>
                    <a:r>
                      <a:t>90</a:t>
                    </a:r>
                  </a:p>
                </c:rich>
              </c:tx>
              <c:dLblPos val="ctr"/>
              <c:showLegendKey val="0"/>
              <c:showVal val="1"/>
              <c:showCatName val="0"/>
              <c:showSerName val="0"/>
              <c:showPercent val="0"/>
              <c:showBubbleSize val="0"/>
            </c:dLbl>
            <c:dLbl>
              <c:idx val="2"/>
              <c:tx>
                <c:rich>
                  <a:bodyPr/>
                  <a:lstStyle/>
                  <a:p>
                    <a:r>
                      <a:t>83</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1.5341591591591592</c:v>
                </c:pt>
                <c:pt idx="1">
                  <c:v>0.9011551317782218</c:v>
                </c:pt>
                <c:pt idx="2">
                  <c:v>0.8347964468620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008444</c:v>
                </c:pt>
                <c:pt idx="1">
                  <c:v>0.098113</c:v>
                </c:pt>
                <c:pt idx="2">
                  <c:v>0.68708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8</a:t>
                    </a:r>
                  </a:p>
                </c:rich>
              </c:tx>
              <c:dLblPos val="t"/>
              <c:showLegendKey val="0"/>
              <c:showVal val="1"/>
              <c:showCatName val="0"/>
              <c:showSerName val="0"/>
              <c:showPercent val="0"/>
              <c:showBubbleSize val="0"/>
            </c:dLbl>
            <c:dLbl>
              <c:idx val="1"/>
              <c:tx>
                <c:rich>
                  <a:bodyPr/>
                  <a:lstStyle/>
                  <a:p>
                    <a:r>
                      <a:t>13.87</a:t>
                    </a:r>
                  </a:p>
                </c:rich>
              </c:tx>
              <c:dLblPos val="t"/>
              <c:showLegendKey val="0"/>
              <c:showVal val="1"/>
              <c:showCatName val="0"/>
              <c:showSerName val="0"/>
              <c:showPercent val="0"/>
              <c:showBubbleSize val="0"/>
            </c:dLbl>
            <c:dLbl>
              <c:idx val="2"/>
              <c:tx>
                <c:rich>
                  <a:bodyPr/>
                  <a:lstStyle/>
                  <a:p>
                    <a:r>
                      <a:t>54.36</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21.3772</c:v>
                </c:pt>
                <c:pt idx="1">
                  <c:v>13.8656</c:v>
                </c:pt>
                <c:pt idx="2">
                  <c:v>54.362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09</a:t>
                    </a:r>
                  </a:p>
                </c:rich>
              </c:tx>
              <c:dLblPos val="ctr"/>
              <c:showLegendKey val="0"/>
              <c:showVal val="1"/>
              <c:showCatName val="0"/>
              <c:showSerName val="0"/>
              <c:showPercent val="0"/>
              <c:showBubbleSize val="0"/>
            </c:dLbl>
            <c:dLbl>
              <c:idx val="1"/>
              <c:tx>
                <c:rich>
                  <a:bodyPr/>
                  <a:lstStyle/>
                  <a:p>
                    <a:r>
                      <a:t>87</a:t>
                    </a:r>
                  </a:p>
                </c:rich>
              </c:tx>
              <c:dLblPos val="ctr"/>
              <c:showLegendKey val="0"/>
              <c:showVal val="1"/>
              <c:showCatName val="0"/>
              <c:showSerName val="0"/>
              <c:showPercent val="0"/>
              <c:showBubbleSize val="0"/>
            </c:dLbl>
            <c:dLbl>
              <c:idx val="2"/>
              <c:tx>
                <c:rich>
                  <a:bodyPr/>
                  <a:lstStyle/>
                  <a:p>
                    <a:r>
                      <a:t>79</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2.0932077342588</c:v>
                </c:pt>
                <c:pt idx="1">
                  <c:v>0.8692489656333336</c:v>
                </c:pt>
                <c:pt idx="2">
                  <c:v>0.785156955284599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008444</c:v>
                </c:pt>
                <c:pt idx="1">
                  <c:v>0.098113</c:v>
                </c:pt>
                <c:pt idx="2">
                  <c:v>0.68708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8</a:t>
                    </a:r>
                  </a:p>
                </c:rich>
              </c:tx>
              <c:dLblPos val="t"/>
              <c:showLegendKey val="0"/>
              <c:showVal val="1"/>
              <c:showCatName val="0"/>
              <c:showSerName val="0"/>
              <c:showPercent val="0"/>
              <c:showBubbleSize val="0"/>
            </c:dLbl>
            <c:dLbl>
              <c:idx val="1"/>
              <c:tx>
                <c:rich>
                  <a:bodyPr/>
                  <a:lstStyle/>
                  <a:p>
                    <a:r>
                      <a:t>13.87</a:t>
                    </a:r>
                  </a:p>
                </c:rich>
              </c:tx>
              <c:dLblPos val="t"/>
              <c:showLegendKey val="0"/>
              <c:showVal val="1"/>
              <c:showCatName val="0"/>
              <c:showSerName val="0"/>
              <c:showPercent val="0"/>
              <c:showBubbleSize val="0"/>
            </c:dLbl>
            <c:dLbl>
              <c:idx val="2"/>
              <c:tx>
                <c:rich>
                  <a:bodyPr/>
                  <a:lstStyle/>
                  <a:p>
                    <a:r>
                      <a:t>54.36</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21.3772</c:v>
                </c:pt>
                <c:pt idx="1">
                  <c:v>13.8656</c:v>
                </c:pt>
                <c:pt idx="2">
                  <c:v>54.362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09</a:t>
                    </a:r>
                  </a:p>
                </c:rich>
              </c:tx>
              <c:dLblPos val="ctr"/>
              <c:showLegendKey val="0"/>
              <c:showVal val="1"/>
              <c:showCatName val="0"/>
              <c:showSerName val="0"/>
              <c:showPercent val="0"/>
              <c:showBubbleSize val="0"/>
            </c:dLbl>
            <c:dLbl>
              <c:idx val="1"/>
              <c:tx>
                <c:rich>
                  <a:bodyPr/>
                  <a:lstStyle/>
                  <a:p>
                    <a:r>
                      <a:t>87</a:t>
                    </a:r>
                  </a:p>
                </c:rich>
              </c:tx>
              <c:dLblPos val="ctr"/>
              <c:showLegendKey val="0"/>
              <c:showVal val="1"/>
              <c:showCatName val="0"/>
              <c:showSerName val="0"/>
              <c:showPercent val="0"/>
              <c:showBubbleSize val="0"/>
            </c:dLbl>
            <c:dLbl>
              <c:idx val="2"/>
              <c:tx>
                <c:rich>
                  <a:bodyPr/>
                  <a:lstStyle/>
                  <a:p>
                    <a:r>
                      <a:t>79</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2.0932077342588</c:v>
                </c:pt>
                <c:pt idx="1">
                  <c:v>0.8692489656333336</c:v>
                </c:pt>
                <c:pt idx="2">
                  <c:v>0.785156955284599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100336</c:v>
                </c:pt>
                <c:pt idx="1">
                  <c:v>0.663063</c:v>
                </c:pt>
                <c:pt idx="2">
                  <c:v>8.97507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11</a:t>
                    </a:r>
                  </a:p>
                </c:rich>
              </c:tx>
              <c:dLblPos val="t"/>
              <c:showLegendKey val="0"/>
              <c:showVal val="1"/>
              <c:showCatName val="0"/>
              <c:showSerName val="0"/>
              <c:showPercent val="0"/>
              <c:showBubbleSize val="0"/>
            </c:dLbl>
            <c:dLbl>
              <c:idx val="1"/>
              <c:tx>
                <c:rich>
                  <a:bodyPr/>
                  <a:lstStyle/>
                  <a:p>
                    <a:r>
                      <a:t>14.06</a:t>
                    </a:r>
                  </a:p>
                </c:rich>
              </c:tx>
              <c:dLblPos val="t"/>
              <c:showLegendKey val="0"/>
              <c:showVal val="1"/>
              <c:showCatName val="0"/>
              <c:showSerName val="0"/>
              <c:showPercent val="0"/>
              <c:showBubbleSize val="0"/>
            </c:dLbl>
            <c:dLbl>
              <c:idx val="2"/>
              <c:tx>
                <c:rich>
                  <a:bodyPr/>
                  <a:lstStyle/>
                  <a:p>
                    <a:r>
                      <a:t>56.34</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23.1082</c:v>
                </c:pt>
                <c:pt idx="1">
                  <c:v>14.0554</c:v>
                </c:pt>
                <c:pt idx="2">
                  <c:v>56.344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88</a:t>
                    </a:r>
                  </a:p>
                </c:rich>
              </c:tx>
              <c:dLblPos val="ctr"/>
              <c:showLegendKey val="0"/>
              <c:showVal val="1"/>
              <c:showCatName val="0"/>
              <c:showSerName val="0"/>
              <c:showPercent val="0"/>
              <c:showBubbleSize val="0"/>
            </c:dLbl>
            <c:dLbl>
              <c:idx val="1"/>
              <c:tx>
                <c:rich>
                  <a:bodyPr/>
                  <a:lstStyle/>
                  <a:p>
                    <a:r>
                      <a:t>94</a:t>
                    </a:r>
                  </a:p>
                </c:rich>
              </c:tx>
              <c:dLblPos val="ctr"/>
              <c:showLegendKey val="0"/>
              <c:showVal val="1"/>
              <c:showCatName val="0"/>
              <c:showSerName val="0"/>
              <c:showPercent val="0"/>
              <c:showBubbleSize val="0"/>
            </c:dLbl>
            <c:dLbl>
              <c:idx val="2"/>
              <c:tx>
                <c:rich>
                  <a:bodyPr/>
                  <a:lstStyle/>
                  <a:p>
                    <a:r>
                      <a:t>87</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1.8770180525675801</c:v>
                </c:pt>
                <c:pt idx="1">
                  <c:v>0.9432536741432215</c:v>
                </c:pt>
                <c:pt idx="2">
                  <c:v>0.867674566001896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157868</c:v>
                </c:pt>
                <c:pt idx="1">
                  <c:v>0.971967</c:v>
                </c:pt>
                <c:pt idx="2">
                  <c:v>13.90976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25</a:t>
                    </a:r>
                  </a:p>
                </c:rich>
              </c:tx>
              <c:dLblPos val="t"/>
              <c:showLegendKey val="0"/>
              <c:showVal val="1"/>
              <c:showCatName val="0"/>
              <c:showSerName val="0"/>
              <c:showPercent val="0"/>
              <c:showBubbleSize val="0"/>
            </c:dLbl>
            <c:dLbl>
              <c:idx val="1"/>
              <c:tx>
                <c:rich>
                  <a:bodyPr/>
                  <a:lstStyle/>
                  <a:p>
                    <a:r>
                      <a:t>14.06</a:t>
                    </a:r>
                  </a:p>
                </c:rich>
              </c:tx>
              <c:dLblPos val="t"/>
              <c:showLegendKey val="0"/>
              <c:showVal val="1"/>
              <c:showCatName val="0"/>
              <c:showSerName val="0"/>
              <c:showPercent val="0"/>
              <c:showBubbleSize val="0"/>
            </c:dLbl>
            <c:dLbl>
              <c:idx val="2"/>
              <c:tx>
                <c:rich>
                  <a:bodyPr/>
                  <a:lstStyle/>
                  <a:p>
                    <a:r>
                      <a:t>56.41</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23.2535</c:v>
                </c:pt>
                <c:pt idx="1">
                  <c:v>14.0586</c:v>
                </c:pt>
                <c:pt idx="2">
                  <c:v>56.410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21</a:t>
                    </a:r>
                  </a:p>
                </c:rich>
              </c:tx>
              <c:dLblPos val="ctr"/>
              <c:showLegendKey val="0"/>
              <c:showVal val="1"/>
              <c:showCatName val="0"/>
              <c:showSerName val="0"/>
              <c:showPercent val="0"/>
              <c:showBubbleSize val="0"/>
            </c:dLbl>
            <c:dLbl>
              <c:idx val="1"/>
              <c:tx>
                <c:rich>
                  <a:bodyPr/>
                  <a:lstStyle/>
                  <a:p>
                    <a:r>
                      <a:t>93</a:t>
                    </a:r>
                  </a:p>
                </c:rich>
              </c:tx>
              <c:dLblPos val="ctr"/>
              <c:showLegendKey val="0"/>
              <c:showVal val="1"/>
              <c:showCatName val="0"/>
              <c:showSerName val="0"/>
              <c:showPercent val="0"/>
              <c:showBubbleSize val="0"/>
            </c:dLbl>
            <c:dLbl>
              <c:idx val="2"/>
              <c:tx>
                <c:rich>
                  <a:bodyPr/>
                  <a:lstStyle/>
                  <a:p>
                    <a:r>
                      <a:t>85</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2.206771226481031</c:v>
                </c:pt>
                <c:pt idx="1">
                  <c:v>0.9349486434127169</c:v>
                </c:pt>
                <c:pt idx="2">
                  <c:v>0.850954314312139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0.101781</c:v>
                </c:pt>
                <c:pt idx="1">
                  <c:v>0.83389</c:v>
                </c:pt>
                <c:pt idx="2">
                  <c:v>10.09956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9</a:t>
                    </a:r>
                  </a:p>
                </c:rich>
              </c:tx>
              <c:dLblPos val="t"/>
              <c:showLegendKey val="0"/>
              <c:showVal val="1"/>
              <c:showCatName val="0"/>
              <c:showSerName val="0"/>
              <c:showPercent val="0"/>
              <c:showBubbleSize val="0"/>
            </c:dLbl>
            <c:dLbl>
              <c:idx val="1"/>
              <c:tx>
                <c:rich>
                  <a:bodyPr/>
                  <a:lstStyle/>
                  <a:p>
                    <a:r>
                      <a:t>14.13</a:t>
                    </a:r>
                  </a:p>
                </c:rich>
              </c:tx>
              <c:dLblPos val="t"/>
              <c:showLegendKey val="0"/>
              <c:showVal val="1"/>
              <c:showCatName val="0"/>
              <c:showSerName val="0"/>
              <c:showPercent val="0"/>
              <c:showBubbleSize val="0"/>
            </c:dLbl>
            <c:dLbl>
              <c:idx val="2"/>
              <c:tx>
                <c:rich>
                  <a:bodyPr/>
                  <a:lstStyle/>
                  <a:p>
                    <a:r>
                      <a:t>55.45</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C$2:$C$4</c:f>
              <c:numCache>
                <c:formatCode>General</c:formatCode>
                <c:ptCount val="3"/>
                <c:pt idx="0">
                  <c:v>21.3871</c:v>
                </c:pt>
                <c:pt idx="1">
                  <c:v>14.1297</c:v>
                </c:pt>
                <c:pt idx="2">
                  <c:v>55.447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87</a:t>
                    </a:r>
                  </a:p>
                </c:rich>
              </c:tx>
              <c:dLblPos val="ctr"/>
              <c:showLegendKey val="0"/>
              <c:showVal val="1"/>
              <c:showCatName val="0"/>
              <c:showSerName val="0"/>
              <c:showPercent val="0"/>
              <c:showBubbleSize val="0"/>
            </c:dLbl>
            <c:dLbl>
              <c:idx val="1"/>
              <c:tx>
                <c:rich>
                  <a:bodyPr/>
                  <a:lstStyle/>
                  <a:p>
                    <a:r>
                      <a:t>89</a:t>
                    </a:r>
                  </a:p>
                </c:rich>
              </c:tx>
              <c:dLblPos val="ctr"/>
              <c:showLegendKey val="0"/>
              <c:showVal val="1"/>
              <c:showCatName val="0"/>
              <c:showSerName val="0"/>
              <c:showPercent val="0"/>
              <c:showBubbleSize val="0"/>
            </c:dLbl>
            <c:dLbl>
              <c:idx val="2"/>
              <c:tx>
                <c:rich>
                  <a:bodyPr/>
                  <a:lstStyle/>
                  <a:p>
                    <a:r>
                      <a:t>83</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Mousseux</c:v>
                </c:pt>
                <c:pt idx="2">
                  <c:v>Champagnes</c:v>
                </c:pt>
              </c:strCache>
            </c:strRef>
          </c:cat>
          <c:val>
            <c:numRef>
              <c:f>Sheet1!$B$2:$B$4</c:f>
              <c:numCache>
                <c:formatCode>General</c:formatCode>
                <c:ptCount val="3"/>
                <c:pt idx="0">
                  <c:v>1.8652140448614574</c:v>
                </c:pt>
                <c:pt idx="1">
                  <c:v>0.8923438780773338</c:v>
                </c:pt>
                <c:pt idx="2">
                  <c:v>0.833011661510844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ffervescents Sans Alcool</c:v>
                </c:pt>
                <c:pt idx="1">
                  <c:v>Mousseux Autres</c:v>
                </c:pt>
                <c:pt idx="2">
                  <c:v>Aromatises</c:v>
                </c:pt>
                <c:pt idx="3">
                  <c:v>Mousseux Val De Loire</c:v>
                </c:pt>
                <c:pt idx="4">
                  <c:v>Mousseux Bourgogne</c:v>
                </c:pt>
                <c:pt idx="5">
                  <c:v>Mousseux Italiens</c:v>
                </c:pt>
                <c:pt idx="6">
                  <c:v>Mousseux Alsace</c:v>
                </c:pt>
                <c:pt idx="7">
                  <c:v>Mousseux Espagnols</c:v>
                </c:pt>
                <c:pt idx="8">
                  <c:v>Bruts</c:v>
                </c:pt>
                <c:pt idx="9">
                  <c:v>Demi-Secs</c:v>
                </c:pt>
                <c:pt idx="10">
                  <c:v>Rosés</c:v>
                </c:pt>
                <c:pt idx="11">
                  <c:v>Mousseux Etrangers</c:v>
                </c:pt>
                <c:pt idx="12">
                  <c:v>Mousseux Bordelais</c:v>
                </c:pt>
                <c:pt idx="13">
                  <c:v>Millesimes</c:v>
                </c:pt>
                <c:pt idx="14">
                  <c:v>Blanc De Blancs</c:v>
                </c:pt>
                <c:pt idx="15">
                  <c:v>Extra Brut</c:v>
                </c:pt>
                <c:pt idx="16">
                  <c:v>Crus</c:v>
                </c:pt>
                <c:pt idx="17">
                  <c:v>Blanc De Noirs</c:v>
                </c:pt>
                <c:pt idx="18">
                  <c:v>Brut Nature</c:v>
                </c:pt>
              </c:strCache>
            </c:strRef>
          </c:cat>
          <c:val>
            <c:numRef>
              <c:f>Sheet1!$B$2:$B$20</c:f>
              <c:numCache>
                <c:formatCode>General</c:formatCode>
                <c:ptCount val="19"/>
                <c:pt idx="0">
                  <c:v>23.841187</c:v>
                </c:pt>
                <c:pt idx="1">
                  <c:v>175.659287</c:v>
                </c:pt>
                <c:pt idx="2">
                  <c:v>5.073937</c:v>
                </c:pt>
                <c:pt idx="3">
                  <c:v>70.264662</c:v>
                </c:pt>
                <c:pt idx="4">
                  <c:v>41.239192</c:v>
                </c:pt>
                <c:pt idx="5">
                  <c:v>131.087653</c:v>
                </c:pt>
                <c:pt idx="6">
                  <c:v>103.799675</c:v>
                </c:pt>
                <c:pt idx="7">
                  <c:v>35.2556</c:v>
                </c:pt>
                <c:pt idx="8">
                  <c:v>475.474501</c:v>
                </c:pt>
                <c:pt idx="9">
                  <c:v>20.837534</c:v>
                </c:pt>
                <c:pt idx="10">
                  <c:v>43.903524</c:v>
                </c:pt>
                <c:pt idx="11">
                  <c:v>0.550037</c:v>
                </c:pt>
                <c:pt idx="12">
                  <c:v>11.214365</c:v>
                </c:pt>
                <c:pt idx="13">
                  <c:v>2.614066</c:v>
                </c:pt>
                <c:pt idx="14">
                  <c:v>16.217922</c:v>
                </c:pt>
                <c:pt idx="15">
                  <c:v>4.461735</c:v>
                </c:pt>
                <c:pt idx="16">
                  <c:v>2.883031</c:v>
                </c:pt>
                <c:pt idx="17">
                  <c:v>0.385359</c:v>
                </c:pt>
                <c:pt idx="18">
                  <c:v>0.36511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14</a:t>
                    </a:r>
                  </a:p>
                </c:rich>
              </c:tx>
              <c:dLblPos val="t"/>
              <c:showLegendKey val="0"/>
              <c:showVal val="1"/>
              <c:showCatName val="0"/>
              <c:showSerName val="0"/>
              <c:showPercent val="0"/>
              <c:showBubbleSize val="0"/>
            </c:dLbl>
            <c:dLbl>
              <c:idx val="1"/>
              <c:tx>
                <c:rich>
                  <a:bodyPr/>
                  <a:lstStyle/>
                  <a:p>
                    <a:r>
                      <a:t>2.94</a:t>
                    </a:r>
                  </a:p>
                </c:rich>
              </c:tx>
              <c:dLblPos val="t"/>
              <c:showLegendKey val="0"/>
              <c:showVal val="1"/>
              <c:showCatName val="0"/>
              <c:showSerName val="0"/>
              <c:showPercent val="0"/>
              <c:showBubbleSize val="0"/>
            </c:dLbl>
            <c:dLbl>
              <c:idx val="2"/>
              <c:tx>
                <c:rich>
                  <a:bodyPr/>
                  <a:lstStyle/>
                  <a:p>
                    <a:r>
                      <a:t>6.51</a:t>
                    </a:r>
                  </a:p>
                </c:rich>
              </c:tx>
              <c:dLblPos val="t"/>
              <c:showLegendKey val="0"/>
              <c:showVal val="1"/>
              <c:showCatName val="0"/>
              <c:showSerName val="0"/>
              <c:showPercent val="0"/>
              <c:showBubbleSize val="0"/>
            </c:dLbl>
            <c:dLbl>
              <c:idx val="3"/>
              <c:tx>
                <c:rich>
                  <a:bodyPr/>
                  <a:lstStyle/>
                  <a:p>
                    <a:r>
                      <a:t>7.18</a:t>
                    </a:r>
                  </a:p>
                </c:rich>
              </c:tx>
              <c:dLblPos val="t"/>
              <c:showLegendKey val="0"/>
              <c:showVal val="1"/>
              <c:showCatName val="0"/>
              <c:showSerName val="0"/>
              <c:showPercent val="0"/>
              <c:showBubbleSize val="0"/>
            </c:dLbl>
            <c:dLbl>
              <c:idx val="4"/>
              <c:tx>
                <c:rich>
                  <a:bodyPr/>
                  <a:lstStyle/>
                  <a:p>
                    <a:r>
                      <a:t>9.48</a:t>
                    </a:r>
                  </a:p>
                </c:rich>
              </c:tx>
              <c:dLblPos val="t"/>
              <c:showLegendKey val="0"/>
              <c:showVal val="1"/>
              <c:showCatName val="0"/>
              <c:showSerName val="0"/>
              <c:showPercent val="0"/>
              <c:showBubbleSize val="0"/>
            </c:dLbl>
            <c:dLbl>
              <c:idx val="5"/>
              <c:tx>
                <c:rich>
                  <a:bodyPr/>
                  <a:lstStyle/>
                  <a:p>
                    <a:r>
                      <a:t>8.23</a:t>
                    </a:r>
                  </a:p>
                </c:rich>
              </c:tx>
              <c:dLblPos val="t"/>
              <c:showLegendKey val="0"/>
              <c:showVal val="1"/>
              <c:showCatName val="0"/>
              <c:showSerName val="0"/>
              <c:showPercent val="0"/>
              <c:showBubbleSize val="0"/>
            </c:dLbl>
            <c:dLbl>
              <c:idx val="6"/>
              <c:tx>
                <c:rich>
                  <a:bodyPr/>
                  <a:lstStyle/>
                  <a:p>
                    <a:r>
                      <a:t>6.93</a:t>
                    </a:r>
                  </a:p>
                </c:rich>
              </c:tx>
              <c:dLblPos val="t"/>
              <c:showLegendKey val="0"/>
              <c:showVal val="1"/>
              <c:showCatName val="0"/>
              <c:showSerName val="0"/>
              <c:showPercent val="0"/>
              <c:showBubbleSize val="0"/>
            </c:dLbl>
            <c:dLbl>
              <c:idx val="7"/>
              <c:tx>
                <c:rich>
                  <a:bodyPr/>
                  <a:lstStyle/>
                  <a:p>
                    <a:r>
                      <a:t>6.51</a:t>
                    </a:r>
                  </a:p>
                </c:rich>
              </c:tx>
              <c:dLblPos val="t"/>
              <c:showLegendKey val="0"/>
              <c:showVal val="1"/>
              <c:showCatName val="0"/>
              <c:showSerName val="0"/>
              <c:showPercent val="0"/>
              <c:showBubbleSize val="0"/>
            </c:dLbl>
            <c:dLbl>
              <c:idx val="8"/>
              <c:tx>
                <c:rich>
                  <a:bodyPr/>
                  <a:lstStyle/>
                  <a:p>
                    <a:r>
                      <a:t>26.36</a:t>
                    </a:r>
                  </a:p>
                </c:rich>
              </c:tx>
              <c:dLblPos val="t"/>
              <c:showLegendKey val="0"/>
              <c:showVal val="1"/>
              <c:showCatName val="0"/>
              <c:showSerName val="0"/>
              <c:showPercent val="0"/>
              <c:showBubbleSize val="0"/>
            </c:dLbl>
            <c:dLbl>
              <c:idx val="9"/>
              <c:tx>
                <c:rich>
                  <a:bodyPr/>
                  <a:lstStyle/>
                  <a:p>
                    <a:r>
                      <a:t>30.84</a:t>
                    </a:r>
                  </a:p>
                </c:rich>
              </c:tx>
              <c:dLblPos val="t"/>
              <c:showLegendKey val="0"/>
              <c:showVal val="1"/>
              <c:showCatName val="0"/>
              <c:showSerName val="0"/>
              <c:showPercent val="0"/>
              <c:showBubbleSize val="0"/>
            </c:dLbl>
            <c:dLbl>
              <c:idx val="10"/>
              <c:tx>
                <c:rich>
                  <a:bodyPr/>
                  <a:lstStyle/>
                  <a:p>
                    <a:r>
                      <a:t>41.98</a:t>
                    </a:r>
                  </a:p>
                </c:rich>
              </c:tx>
              <c:dLblPos val="t"/>
              <c:showLegendKey val="0"/>
              <c:showVal val="1"/>
              <c:showCatName val="0"/>
              <c:showSerName val="0"/>
              <c:showPercent val="0"/>
              <c:showBubbleSize val="0"/>
            </c:dLbl>
            <c:dLbl>
              <c:idx val="11"/>
              <c:tx>
                <c:rich>
                  <a:bodyPr/>
                  <a:lstStyle/>
                  <a:p>
                    <a:r>
                      <a:t>6.62</a:t>
                    </a:r>
                  </a:p>
                </c:rich>
              </c:tx>
              <c:dLblPos val="t"/>
              <c:showLegendKey val="0"/>
              <c:showVal val="1"/>
              <c:showCatName val="0"/>
              <c:showSerName val="0"/>
              <c:showPercent val="0"/>
              <c:showBubbleSize val="0"/>
            </c:dLbl>
            <c:dLbl>
              <c:idx val="12"/>
              <c:tx>
                <c:rich>
                  <a:bodyPr/>
                  <a:lstStyle/>
                  <a:p>
                    <a:r>
                      <a:t>7.56</a:t>
                    </a:r>
                  </a:p>
                </c:rich>
              </c:tx>
              <c:dLblPos val="t"/>
              <c:showLegendKey val="0"/>
              <c:showVal val="1"/>
              <c:showCatName val="0"/>
              <c:showSerName val="0"/>
              <c:showPercent val="0"/>
              <c:showBubbleSize val="0"/>
            </c:dLbl>
            <c:dLbl>
              <c:idx val="13"/>
              <c:tx>
                <c:rich>
                  <a:bodyPr/>
                  <a:lstStyle/>
                  <a:p>
                    <a:r>
                      <a:t>176.28</a:t>
                    </a:r>
                  </a:p>
                </c:rich>
              </c:tx>
              <c:dLblPos val="t"/>
              <c:showLegendKey val="0"/>
              <c:showVal val="1"/>
              <c:showCatName val="0"/>
              <c:showSerName val="0"/>
              <c:showPercent val="0"/>
              <c:showBubbleSize val="0"/>
            </c:dLbl>
            <c:dLbl>
              <c:idx val="14"/>
              <c:tx>
                <c:rich>
                  <a:bodyPr/>
                  <a:lstStyle/>
                  <a:p>
                    <a:r>
                      <a:t>67.49</a:t>
                    </a:r>
                  </a:p>
                </c:rich>
              </c:tx>
              <c:dLblPos val="t"/>
              <c:showLegendKey val="0"/>
              <c:showVal val="1"/>
              <c:showCatName val="0"/>
              <c:showSerName val="0"/>
              <c:showPercent val="0"/>
              <c:showBubbleSize val="0"/>
            </c:dLbl>
            <c:dLbl>
              <c:idx val="15"/>
              <c:tx>
                <c:rich>
                  <a:bodyPr/>
                  <a:lstStyle/>
                  <a:p>
                    <a:r>
                      <a:t>42.13</a:t>
                    </a:r>
                  </a:p>
                </c:rich>
              </c:tx>
              <c:dLblPos val="t"/>
              <c:showLegendKey val="0"/>
              <c:showVal val="1"/>
              <c:showCatName val="0"/>
              <c:showSerName val="0"/>
              <c:showPercent val="0"/>
              <c:showBubbleSize val="0"/>
            </c:dLbl>
            <c:dLbl>
              <c:idx val="16"/>
              <c:tx>
                <c:rich>
                  <a:bodyPr/>
                  <a:lstStyle/>
                  <a:p>
                    <a:r>
                      <a:t>39.94</a:t>
                    </a:r>
                  </a:p>
                </c:rich>
              </c:tx>
              <c:dLblPos val="t"/>
              <c:showLegendKey val="0"/>
              <c:showVal val="1"/>
              <c:showCatName val="0"/>
              <c:showSerName val="0"/>
              <c:showPercent val="0"/>
              <c:showBubbleSize val="0"/>
            </c:dLbl>
            <c:dLbl>
              <c:idx val="17"/>
              <c:tx>
                <c:rich>
                  <a:bodyPr/>
                  <a:lstStyle/>
                  <a:p>
                    <a:r>
                      <a:t>49.07</a:t>
                    </a:r>
                  </a:p>
                </c:rich>
              </c:tx>
              <c:dLblPos val="t"/>
              <c:showLegendKey val="0"/>
              <c:showVal val="1"/>
              <c:showCatName val="0"/>
              <c:showSerName val="0"/>
              <c:showPercent val="0"/>
              <c:showBubbleSize val="0"/>
            </c:dLbl>
            <c:dLbl>
              <c:idx val="18"/>
              <c:tx>
                <c:rich>
                  <a:bodyPr/>
                  <a:lstStyle/>
                  <a:p>
                    <a:r>
                      <a:t>54.5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ffervescents Sans Alcool</c:v>
                </c:pt>
                <c:pt idx="1">
                  <c:v>Mousseux Autres</c:v>
                </c:pt>
                <c:pt idx="2">
                  <c:v>Aromatises</c:v>
                </c:pt>
                <c:pt idx="3">
                  <c:v>Mousseux Val De Loire</c:v>
                </c:pt>
                <c:pt idx="4">
                  <c:v>Mousseux Bourgogne</c:v>
                </c:pt>
                <c:pt idx="5">
                  <c:v>Mousseux Italiens</c:v>
                </c:pt>
                <c:pt idx="6">
                  <c:v>Mousseux Alsace</c:v>
                </c:pt>
                <c:pt idx="7">
                  <c:v>Mousseux Espagnols</c:v>
                </c:pt>
                <c:pt idx="8">
                  <c:v>Bruts</c:v>
                </c:pt>
                <c:pt idx="9">
                  <c:v>Demi-Secs</c:v>
                </c:pt>
                <c:pt idx="10">
                  <c:v>Rosés</c:v>
                </c:pt>
                <c:pt idx="11">
                  <c:v>Mousseux Etrangers</c:v>
                </c:pt>
                <c:pt idx="12">
                  <c:v>Mousseux Bordelais</c:v>
                </c:pt>
                <c:pt idx="13">
                  <c:v>Millesimes</c:v>
                </c:pt>
                <c:pt idx="14">
                  <c:v>Blanc De Blancs</c:v>
                </c:pt>
                <c:pt idx="15">
                  <c:v>Extra Brut</c:v>
                </c:pt>
                <c:pt idx="16">
                  <c:v>Crus</c:v>
                </c:pt>
                <c:pt idx="17">
                  <c:v>Blanc De Noirs</c:v>
                </c:pt>
                <c:pt idx="18">
                  <c:v>Brut Nature</c:v>
                </c:pt>
              </c:strCache>
            </c:strRef>
          </c:cat>
          <c:val>
            <c:numRef>
              <c:f>Sheet1!$C$2:$C$20</c:f>
              <c:numCache>
                <c:formatCode>General</c:formatCode>
                <c:ptCount val="19"/>
                <c:pt idx="0">
                  <c:v>5.1375</c:v>
                </c:pt>
                <c:pt idx="1">
                  <c:v>2.94</c:v>
                </c:pt>
                <c:pt idx="2">
                  <c:v>6.5133</c:v>
                </c:pt>
                <c:pt idx="3">
                  <c:v>7.1753</c:v>
                </c:pt>
                <c:pt idx="4">
                  <c:v>9.4804</c:v>
                </c:pt>
                <c:pt idx="5">
                  <c:v>8.228</c:v>
                </c:pt>
                <c:pt idx="6">
                  <c:v>6.9306</c:v>
                </c:pt>
                <c:pt idx="7">
                  <c:v>6.5126</c:v>
                </c:pt>
                <c:pt idx="8">
                  <c:v>26.3617</c:v>
                </c:pt>
                <c:pt idx="9">
                  <c:v>30.8415</c:v>
                </c:pt>
                <c:pt idx="10">
                  <c:v>41.9837</c:v>
                </c:pt>
                <c:pt idx="11">
                  <c:v>6.6229</c:v>
                </c:pt>
                <c:pt idx="12">
                  <c:v>7.5561</c:v>
                </c:pt>
                <c:pt idx="13">
                  <c:v>176.2807</c:v>
                </c:pt>
                <c:pt idx="14">
                  <c:v>67.4872</c:v>
                </c:pt>
                <c:pt idx="15">
                  <c:v>42.1276</c:v>
                </c:pt>
                <c:pt idx="16">
                  <c:v>39.9367</c:v>
                </c:pt>
                <c:pt idx="17">
                  <c:v>49.0653</c:v>
                </c:pt>
                <c:pt idx="18">
                  <c:v>54.567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23</a:t>
                    </a:r>
                  </a:p>
                </c:rich>
              </c:tx>
              <c:dLblPos val="ctr"/>
              <c:showLegendKey val="0"/>
              <c:showVal val="1"/>
              <c:showCatName val="0"/>
              <c:showSerName val="0"/>
              <c:showPercent val="0"/>
              <c:showBubbleSize val="0"/>
            </c:dLbl>
            <c:dLbl>
              <c:idx val="1"/>
              <c:tx>
                <c:rich>
                  <a:bodyPr/>
                  <a:lstStyle/>
                  <a:p>
                    <a:r>
                      <a:t>104</a:t>
                    </a:r>
                  </a:p>
                </c:rich>
              </c:tx>
              <c:dLblPos val="ctr"/>
              <c:showLegendKey val="0"/>
              <c:showVal val="1"/>
              <c:showCatName val="0"/>
              <c:showSerName val="0"/>
              <c:showPercent val="0"/>
              <c:showBubbleSize val="0"/>
            </c:dLbl>
            <c:dLbl>
              <c:idx val="2"/>
              <c:tx>
                <c:rich>
                  <a:bodyPr/>
                  <a:lstStyle/>
                  <a:p>
                    <a:r>
                      <a:t>102</a:t>
                    </a:r>
                  </a:p>
                </c:rich>
              </c:tx>
              <c:dLblPos val="ctr"/>
              <c:showLegendKey val="0"/>
              <c:showVal val="1"/>
              <c:showCatName val="0"/>
              <c:showSerName val="0"/>
              <c:showPercent val="0"/>
              <c:showBubbleSize val="0"/>
            </c:dLbl>
            <c:dLbl>
              <c:idx val="3"/>
              <c:tx>
                <c:rich>
                  <a:bodyPr/>
                  <a:lstStyle/>
                  <a:p>
                    <a:r>
                      <a:t>109</a:t>
                    </a:r>
                  </a:p>
                </c:rich>
              </c:tx>
              <c:dLblPos val="ctr"/>
              <c:showLegendKey val="0"/>
              <c:showVal val="1"/>
              <c:showCatName val="0"/>
              <c:showSerName val="0"/>
              <c:showPercent val="0"/>
              <c:showBubbleSize val="0"/>
            </c:dLbl>
            <c:dLbl>
              <c:idx val="4"/>
              <c:tx>
                <c:rich>
                  <a:bodyPr/>
                  <a:lstStyle/>
                  <a:p>
                    <a:r>
                      <a:t>111</a:t>
                    </a:r>
                  </a:p>
                </c:rich>
              </c:tx>
              <c:dLblPos val="ctr"/>
              <c:showLegendKey val="0"/>
              <c:showVal val="1"/>
              <c:showCatName val="0"/>
              <c:showSerName val="0"/>
              <c:showPercent val="0"/>
              <c:showBubbleSize val="0"/>
            </c:dLbl>
            <c:dLbl>
              <c:idx val="5"/>
              <c:tx>
                <c:rich>
                  <a:bodyPr/>
                  <a:lstStyle/>
                  <a:p>
                    <a:r>
                      <a:t>118</a:t>
                    </a:r>
                  </a:p>
                </c:rich>
              </c:tx>
              <c:dLblPos val="ctr"/>
              <c:showLegendKey val="0"/>
              <c:showVal val="1"/>
              <c:showCatName val="0"/>
              <c:showSerName val="0"/>
              <c:showPercent val="0"/>
              <c:showBubbleSize val="0"/>
            </c:dLbl>
            <c:dLbl>
              <c:idx val="6"/>
              <c:tx>
                <c:rich>
                  <a:bodyPr/>
                  <a:lstStyle/>
                  <a:p>
                    <a:r>
                      <a:t>107</a:t>
                    </a:r>
                  </a:p>
                </c:rich>
              </c:tx>
              <c:dLblPos val="ctr"/>
              <c:showLegendKey val="0"/>
              <c:showVal val="1"/>
              <c:showCatName val="0"/>
              <c:showSerName val="0"/>
              <c:showPercent val="0"/>
              <c:showBubbleSize val="0"/>
            </c:dLbl>
            <c:dLbl>
              <c:idx val="7"/>
              <c:tx>
                <c:rich>
                  <a:bodyPr/>
                  <a:lstStyle/>
                  <a:p>
                    <a:r>
                      <a:t>98</a:t>
                    </a:r>
                  </a:p>
                </c:rich>
              </c:tx>
              <c:dLblPos val="ctr"/>
              <c:showLegendKey val="0"/>
              <c:showVal val="1"/>
              <c:showCatName val="0"/>
              <c:showSerName val="0"/>
              <c:showPercent val="0"/>
              <c:showBubbleSize val="0"/>
            </c:dLbl>
            <c:dLbl>
              <c:idx val="8"/>
              <c:tx>
                <c:rich>
                  <a:bodyPr/>
                  <a:lstStyle/>
                  <a:p>
                    <a:r>
                      <a:t>105</a:t>
                    </a:r>
                  </a:p>
                </c:rich>
              </c:tx>
              <c:dLblPos val="ctr"/>
              <c:showLegendKey val="0"/>
              <c:showVal val="1"/>
              <c:showCatName val="0"/>
              <c:showSerName val="0"/>
              <c:showPercent val="0"/>
              <c:showBubbleSize val="0"/>
            </c:dLbl>
            <c:dLbl>
              <c:idx val="9"/>
              <c:tx>
                <c:rich>
                  <a:bodyPr/>
                  <a:lstStyle/>
                  <a:p>
                    <a:r>
                      <a:t>119</a:t>
                    </a:r>
                  </a:p>
                </c:rich>
              </c:tx>
              <c:dLblPos val="ctr"/>
              <c:showLegendKey val="0"/>
              <c:showVal val="1"/>
              <c:showCatName val="0"/>
              <c:showSerName val="0"/>
              <c:showPercent val="0"/>
              <c:showBubbleSize val="0"/>
            </c:dLbl>
            <c:dLbl>
              <c:idx val="10"/>
              <c:tx>
                <c:rich>
                  <a:bodyPr/>
                  <a:lstStyle/>
                  <a:p>
                    <a:r>
                      <a:t>100</a:t>
                    </a:r>
                  </a:p>
                </c:rich>
              </c:tx>
              <c:dLblPos val="ctr"/>
              <c:showLegendKey val="0"/>
              <c:showVal val="1"/>
              <c:showCatName val="0"/>
              <c:showSerName val="0"/>
              <c:showPercent val="0"/>
              <c:showBubbleSize val="0"/>
            </c:dLbl>
            <c:dLbl>
              <c:idx val="11"/>
              <c:tx>
                <c:rich>
                  <a:bodyPr/>
                  <a:lstStyle/>
                  <a:p>
                    <a:r>
                      <a:t>150</a:t>
                    </a:r>
                  </a:p>
                </c:rich>
              </c:tx>
              <c:dLblPos val="ctr"/>
              <c:showLegendKey val="0"/>
              <c:showVal val="1"/>
              <c:showCatName val="0"/>
              <c:showSerName val="0"/>
              <c:showPercent val="0"/>
              <c:showBubbleSize val="0"/>
            </c:dLbl>
            <c:dLbl>
              <c:idx val="12"/>
              <c:tx>
                <c:rich>
                  <a:bodyPr/>
                  <a:lstStyle/>
                  <a:p>
                    <a:r>
                      <a:t>120</a:t>
                    </a:r>
                  </a:p>
                </c:rich>
              </c:tx>
              <c:dLblPos val="ctr"/>
              <c:showLegendKey val="0"/>
              <c:showVal val="1"/>
              <c:showCatName val="0"/>
              <c:showSerName val="0"/>
              <c:showPercent val="0"/>
              <c:showBubbleSize val="0"/>
            </c:dLbl>
            <c:dLbl>
              <c:idx val="13"/>
              <c:tx>
                <c:rich>
                  <a:bodyPr/>
                  <a:lstStyle/>
                  <a:p>
                    <a:r>
                      <a:t>95</a:t>
                    </a:r>
                  </a:p>
                </c:rich>
              </c:tx>
              <c:dLblPos val="ctr"/>
              <c:showLegendKey val="0"/>
              <c:showVal val="1"/>
              <c:showCatName val="0"/>
              <c:showSerName val="0"/>
              <c:showPercent val="0"/>
              <c:showBubbleSize val="0"/>
            </c:dLbl>
            <c:dLbl>
              <c:idx val="14"/>
              <c:tx>
                <c:rich>
                  <a:bodyPr/>
                  <a:lstStyle/>
                  <a:p>
                    <a:r>
                      <a:t>105</a:t>
                    </a:r>
                  </a:p>
                </c:rich>
              </c:tx>
              <c:dLblPos val="ctr"/>
              <c:showLegendKey val="0"/>
              <c:showVal val="1"/>
              <c:showCatName val="0"/>
              <c:showSerName val="0"/>
              <c:showPercent val="0"/>
              <c:showBubbleSize val="0"/>
            </c:dLbl>
            <c:dLbl>
              <c:idx val="15"/>
              <c:tx>
                <c:rich>
                  <a:bodyPr/>
                  <a:lstStyle/>
                  <a:p>
                    <a:r>
                      <a:t>100</a:t>
                    </a:r>
                  </a:p>
                </c:rich>
              </c:tx>
              <c:dLblPos val="ctr"/>
              <c:showLegendKey val="0"/>
              <c:showVal val="1"/>
              <c:showCatName val="0"/>
              <c:showSerName val="0"/>
              <c:showPercent val="0"/>
              <c:showBubbleSize val="0"/>
            </c:dLbl>
            <c:dLbl>
              <c:idx val="16"/>
              <c:tx>
                <c:rich>
                  <a:bodyPr/>
                  <a:lstStyle/>
                  <a:p>
                    <a:r>
                      <a:t>92</a:t>
                    </a:r>
                  </a:p>
                </c:rich>
              </c:tx>
              <c:dLblPos val="ctr"/>
              <c:showLegendKey val="0"/>
              <c:showVal val="1"/>
              <c:showCatName val="0"/>
              <c:showSerName val="0"/>
              <c:showPercent val="0"/>
              <c:showBubbleSize val="0"/>
            </c:dLbl>
            <c:dLbl>
              <c:idx val="17"/>
              <c:tx>
                <c:rich>
                  <a:bodyPr/>
                  <a:lstStyle/>
                  <a:p>
                    <a:r>
                      <a:t>98</a:t>
                    </a:r>
                  </a:p>
                </c:rich>
              </c:tx>
              <c:dLblPos val="ctr"/>
              <c:showLegendKey val="0"/>
              <c:showVal val="1"/>
              <c:showCatName val="0"/>
              <c:showSerName val="0"/>
              <c:showPercent val="0"/>
              <c:showBubbleSize val="0"/>
            </c:dLbl>
            <c:dLbl>
              <c:idx val="18"/>
              <c:tx>
                <c:rich>
                  <a:bodyPr/>
                  <a:lstStyle/>
                  <a:p>
                    <a:r>
                      <a:t>7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ffervescents Sans Alcool</c:v>
                </c:pt>
                <c:pt idx="1">
                  <c:v>Mousseux Autres</c:v>
                </c:pt>
                <c:pt idx="2">
                  <c:v>Aromatises</c:v>
                </c:pt>
                <c:pt idx="3">
                  <c:v>Mousseux Val De Loire</c:v>
                </c:pt>
                <c:pt idx="4">
                  <c:v>Mousseux Bourgogne</c:v>
                </c:pt>
                <c:pt idx="5">
                  <c:v>Mousseux Italiens</c:v>
                </c:pt>
                <c:pt idx="6">
                  <c:v>Mousseux Alsace</c:v>
                </c:pt>
                <c:pt idx="7">
                  <c:v>Mousseux Espagnols</c:v>
                </c:pt>
                <c:pt idx="8">
                  <c:v>Bruts</c:v>
                </c:pt>
                <c:pt idx="9">
                  <c:v>Demi-Secs</c:v>
                </c:pt>
                <c:pt idx="10">
                  <c:v>Rosés</c:v>
                </c:pt>
                <c:pt idx="11">
                  <c:v>Mousseux Etrangers</c:v>
                </c:pt>
                <c:pt idx="12">
                  <c:v>Mousseux Bordelais</c:v>
                </c:pt>
                <c:pt idx="13">
                  <c:v>Millesimes</c:v>
                </c:pt>
                <c:pt idx="14">
                  <c:v>Blanc De Blancs</c:v>
                </c:pt>
                <c:pt idx="15">
                  <c:v>Extra Brut</c:v>
                </c:pt>
                <c:pt idx="16">
                  <c:v>Crus</c:v>
                </c:pt>
                <c:pt idx="17">
                  <c:v>Blanc De Noirs</c:v>
                </c:pt>
                <c:pt idx="18">
                  <c:v>Brut Nature</c:v>
                </c:pt>
              </c:strCache>
            </c:strRef>
          </c:cat>
          <c:val>
            <c:numRef>
              <c:f>Sheet1!$B$2:$B$20</c:f>
              <c:numCache>
                <c:formatCode>General</c:formatCode>
                <c:ptCount val="19"/>
                <c:pt idx="0">
                  <c:v>1.2283905355778855</c:v>
                </c:pt>
                <c:pt idx="1">
                  <c:v>1.0422842541901067</c:v>
                </c:pt>
                <c:pt idx="2">
                  <c:v>1.016084940468979</c:v>
                </c:pt>
                <c:pt idx="3">
                  <c:v>1.0863954892561904</c:v>
                </c:pt>
                <c:pt idx="4">
                  <c:v>1.1078585947145514</c:v>
                </c:pt>
                <c:pt idx="5">
                  <c:v>1.1806126211216847</c:v>
                </c:pt>
                <c:pt idx="6">
                  <c:v>1.0711159110370854</c:v>
                </c:pt>
                <c:pt idx="7">
                  <c:v>0.9791020058627369</c:v>
                </c:pt>
                <c:pt idx="8">
                  <c:v>1.0451774885245448</c:v>
                </c:pt>
                <c:pt idx="9">
                  <c:v>1.1918030848818073</c:v>
                </c:pt>
                <c:pt idx="10">
                  <c:v>0.9983118968556904</c:v>
                </c:pt>
                <c:pt idx="11">
                  <c:v>1.504996251443331</c:v>
                </c:pt>
                <c:pt idx="12">
                  <c:v>1.1963361132076478</c:v>
                </c:pt>
                <c:pt idx="13">
                  <c:v>0.9521829718723364</c:v>
                </c:pt>
                <c:pt idx="14">
                  <c:v>1.0484762595400452</c:v>
                </c:pt>
                <c:pt idx="15">
                  <c:v>0.9989591132334344</c:v>
                </c:pt>
                <c:pt idx="16">
                  <c:v>0.9182636308766409</c:v>
                </c:pt>
                <c:pt idx="17">
                  <c:v>0.9768511829167206</c:v>
                </c:pt>
                <c:pt idx="18">
                  <c:v>0.792747587740248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ffervescents Sans Alcool</c:v>
                </c:pt>
                <c:pt idx="1">
                  <c:v>Mousseux Autres</c:v>
                </c:pt>
                <c:pt idx="2">
                  <c:v>Aromatises</c:v>
                </c:pt>
                <c:pt idx="3">
                  <c:v>Mousseux Val De Loire</c:v>
                </c:pt>
                <c:pt idx="4">
                  <c:v>Mousseux Bourgogne</c:v>
                </c:pt>
                <c:pt idx="5">
                  <c:v>Mousseux Italiens</c:v>
                </c:pt>
                <c:pt idx="6">
                  <c:v>Mousseux Alsace</c:v>
                </c:pt>
                <c:pt idx="7">
                  <c:v>Mousseux Espagnols</c:v>
                </c:pt>
                <c:pt idx="8">
                  <c:v>Bruts</c:v>
                </c:pt>
                <c:pt idx="9">
                  <c:v>Demi-Secs</c:v>
                </c:pt>
                <c:pt idx="10">
                  <c:v>Rosés</c:v>
                </c:pt>
                <c:pt idx="11">
                  <c:v>Mousseux Etrangers</c:v>
                </c:pt>
                <c:pt idx="12">
                  <c:v>Mousseux Bordelais</c:v>
                </c:pt>
                <c:pt idx="13">
                  <c:v>Millesimes</c:v>
                </c:pt>
                <c:pt idx="14">
                  <c:v>Blanc De Blancs</c:v>
                </c:pt>
                <c:pt idx="15">
                  <c:v>Extra Brut</c:v>
                </c:pt>
                <c:pt idx="16">
                  <c:v>Crus</c:v>
                </c:pt>
                <c:pt idx="17">
                  <c:v>Blanc De Noirs</c:v>
                </c:pt>
                <c:pt idx="18">
                  <c:v>Brut Nature</c:v>
                </c:pt>
              </c:strCache>
            </c:strRef>
          </c:cat>
          <c:val>
            <c:numRef>
              <c:f>Sheet1!$B$2:$B$20</c:f>
              <c:numCache>
                <c:formatCode>General</c:formatCode>
                <c:ptCount val="19"/>
                <c:pt idx="0">
                  <c:v>23.841187</c:v>
                </c:pt>
                <c:pt idx="1">
                  <c:v>175.659287</c:v>
                </c:pt>
                <c:pt idx="2">
                  <c:v>5.073937</c:v>
                </c:pt>
                <c:pt idx="3">
                  <c:v>70.264662</c:v>
                </c:pt>
                <c:pt idx="4">
                  <c:v>41.239192</c:v>
                </c:pt>
                <c:pt idx="5">
                  <c:v>131.087653</c:v>
                </c:pt>
                <c:pt idx="6">
                  <c:v>103.799675</c:v>
                </c:pt>
                <c:pt idx="7">
                  <c:v>35.2556</c:v>
                </c:pt>
                <c:pt idx="8">
                  <c:v>475.474501</c:v>
                </c:pt>
                <c:pt idx="9">
                  <c:v>20.837534</c:v>
                </c:pt>
                <c:pt idx="10">
                  <c:v>43.903524</c:v>
                </c:pt>
                <c:pt idx="11">
                  <c:v>0.550037</c:v>
                </c:pt>
                <c:pt idx="12">
                  <c:v>11.214365</c:v>
                </c:pt>
                <c:pt idx="13">
                  <c:v>2.614066</c:v>
                </c:pt>
                <c:pt idx="14">
                  <c:v>16.217922</c:v>
                </c:pt>
                <c:pt idx="15">
                  <c:v>4.461735</c:v>
                </c:pt>
                <c:pt idx="16">
                  <c:v>2.883031</c:v>
                </c:pt>
                <c:pt idx="17">
                  <c:v>0.385359</c:v>
                </c:pt>
                <c:pt idx="18">
                  <c:v>0.36511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14</a:t>
                    </a:r>
                  </a:p>
                </c:rich>
              </c:tx>
              <c:dLblPos val="t"/>
              <c:showLegendKey val="0"/>
              <c:showVal val="1"/>
              <c:showCatName val="0"/>
              <c:showSerName val="0"/>
              <c:showPercent val="0"/>
              <c:showBubbleSize val="0"/>
            </c:dLbl>
            <c:dLbl>
              <c:idx val="1"/>
              <c:tx>
                <c:rich>
                  <a:bodyPr/>
                  <a:lstStyle/>
                  <a:p>
                    <a:r>
                      <a:t>2.94</a:t>
                    </a:r>
                  </a:p>
                </c:rich>
              </c:tx>
              <c:dLblPos val="t"/>
              <c:showLegendKey val="0"/>
              <c:showVal val="1"/>
              <c:showCatName val="0"/>
              <c:showSerName val="0"/>
              <c:showPercent val="0"/>
              <c:showBubbleSize val="0"/>
            </c:dLbl>
            <c:dLbl>
              <c:idx val="2"/>
              <c:tx>
                <c:rich>
                  <a:bodyPr/>
                  <a:lstStyle/>
                  <a:p>
                    <a:r>
                      <a:t>6.51</a:t>
                    </a:r>
                  </a:p>
                </c:rich>
              </c:tx>
              <c:dLblPos val="t"/>
              <c:showLegendKey val="0"/>
              <c:showVal val="1"/>
              <c:showCatName val="0"/>
              <c:showSerName val="0"/>
              <c:showPercent val="0"/>
              <c:showBubbleSize val="0"/>
            </c:dLbl>
            <c:dLbl>
              <c:idx val="3"/>
              <c:tx>
                <c:rich>
                  <a:bodyPr/>
                  <a:lstStyle/>
                  <a:p>
                    <a:r>
                      <a:t>7.18</a:t>
                    </a:r>
                  </a:p>
                </c:rich>
              </c:tx>
              <c:dLblPos val="t"/>
              <c:showLegendKey val="0"/>
              <c:showVal val="1"/>
              <c:showCatName val="0"/>
              <c:showSerName val="0"/>
              <c:showPercent val="0"/>
              <c:showBubbleSize val="0"/>
            </c:dLbl>
            <c:dLbl>
              <c:idx val="4"/>
              <c:tx>
                <c:rich>
                  <a:bodyPr/>
                  <a:lstStyle/>
                  <a:p>
                    <a:r>
                      <a:t>9.48</a:t>
                    </a:r>
                  </a:p>
                </c:rich>
              </c:tx>
              <c:dLblPos val="t"/>
              <c:showLegendKey val="0"/>
              <c:showVal val="1"/>
              <c:showCatName val="0"/>
              <c:showSerName val="0"/>
              <c:showPercent val="0"/>
              <c:showBubbleSize val="0"/>
            </c:dLbl>
            <c:dLbl>
              <c:idx val="5"/>
              <c:tx>
                <c:rich>
                  <a:bodyPr/>
                  <a:lstStyle/>
                  <a:p>
                    <a:r>
                      <a:t>8.23</a:t>
                    </a:r>
                  </a:p>
                </c:rich>
              </c:tx>
              <c:dLblPos val="t"/>
              <c:showLegendKey val="0"/>
              <c:showVal val="1"/>
              <c:showCatName val="0"/>
              <c:showSerName val="0"/>
              <c:showPercent val="0"/>
              <c:showBubbleSize val="0"/>
            </c:dLbl>
            <c:dLbl>
              <c:idx val="6"/>
              <c:tx>
                <c:rich>
                  <a:bodyPr/>
                  <a:lstStyle/>
                  <a:p>
                    <a:r>
                      <a:t>6.93</a:t>
                    </a:r>
                  </a:p>
                </c:rich>
              </c:tx>
              <c:dLblPos val="t"/>
              <c:showLegendKey val="0"/>
              <c:showVal val="1"/>
              <c:showCatName val="0"/>
              <c:showSerName val="0"/>
              <c:showPercent val="0"/>
              <c:showBubbleSize val="0"/>
            </c:dLbl>
            <c:dLbl>
              <c:idx val="7"/>
              <c:tx>
                <c:rich>
                  <a:bodyPr/>
                  <a:lstStyle/>
                  <a:p>
                    <a:r>
                      <a:t>6.51</a:t>
                    </a:r>
                  </a:p>
                </c:rich>
              </c:tx>
              <c:dLblPos val="t"/>
              <c:showLegendKey val="0"/>
              <c:showVal val="1"/>
              <c:showCatName val="0"/>
              <c:showSerName val="0"/>
              <c:showPercent val="0"/>
              <c:showBubbleSize val="0"/>
            </c:dLbl>
            <c:dLbl>
              <c:idx val="8"/>
              <c:tx>
                <c:rich>
                  <a:bodyPr/>
                  <a:lstStyle/>
                  <a:p>
                    <a:r>
                      <a:t>26.36</a:t>
                    </a:r>
                  </a:p>
                </c:rich>
              </c:tx>
              <c:dLblPos val="t"/>
              <c:showLegendKey val="0"/>
              <c:showVal val="1"/>
              <c:showCatName val="0"/>
              <c:showSerName val="0"/>
              <c:showPercent val="0"/>
              <c:showBubbleSize val="0"/>
            </c:dLbl>
            <c:dLbl>
              <c:idx val="9"/>
              <c:tx>
                <c:rich>
                  <a:bodyPr/>
                  <a:lstStyle/>
                  <a:p>
                    <a:r>
                      <a:t>30.84</a:t>
                    </a:r>
                  </a:p>
                </c:rich>
              </c:tx>
              <c:dLblPos val="t"/>
              <c:showLegendKey val="0"/>
              <c:showVal val="1"/>
              <c:showCatName val="0"/>
              <c:showSerName val="0"/>
              <c:showPercent val="0"/>
              <c:showBubbleSize val="0"/>
            </c:dLbl>
            <c:dLbl>
              <c:idx val="10"/>
              <c:tx>
                <c:rich>
                  <a:bodyPr/>
                  <a:lstStyle/>
                  <a:p>
                    <a:r>
                      <a:t>41.98</a:t>
                    </a:r>
                  </a:p>
                </c:rich>
              </c:tx>
              <c:dLblPos val="t"/>
              <c:showLegendKey val="0"/>
              <c:showVal val="1"/>
              <c:showCatName val="0"/>
              <c:showSerName val="0"/>
              <c:showPercent val="0"/>
              <c:showBubbleSize val="0"/>
            </c:dLbl>
            <c:dLbl>
              <c:idx val="11"/>
              <c:tx>
                <c:rich>
                  <a:bodyPr/>
                  <a:lstStyle/>
                  <a:p>
                    <a:r>
                      <a:t>6.62</a:t>
                    </a:r>
                  </a:p>
                </c:rich>
              </c:tx>
              <c:dLblPos val="t"/>
              <c:showLegendKey val="0"/>
              <c:showVal val="1"/>
              <c:showCatName val="0"/>
              <c:showSerName val="0"/>
              <c:showPercent val="0"/>
              <c:showBubbleSize val="0"/>
            </c:dLbl>
            <c:dLbl>
              <c:idx val="12"/>
              <c:tx>
                <c:rich>
                  <a:bodyPr/>
                  <a:lstStyle/>
                  <a:p>
                    <a:r>
                      <a:t>7.56</a:t>
                    </a:r>
                  </a:p>
                </c:rich>
              </c:tx>
              <c:dLblPos val="t"/>
              <c:showLegendKey val="0"/>
              <c:showVal val="1"/>
              <c:showCatName val="0"/>
              <c:showSerName val="0"/>
              <c:showPercent val="0"/>
              <c:showBubbleSize val="0"/>
            </c:dLbl>
            <c:dLbl>
              <c:idx val="13"/>
              <c:tx>
                <c:rich>
                  <a:bodyPr/>
                  <a:lstStyle/>
                  <a:p>
                    <a:r>
                      <a:t>176.28</a:t>
                    </a:r>
                  </a:p>
                </c:rich>
              </c:tx>
              <c:dLblPos val="t"/>
              <c:showLegendKey val="0"/>
              <c:showVal val="1"/>
              <c:showCatName val="0"/>
              <c:showSerName val="0"/>
              <c:showPercent val="0"/>
              <c:showBubbleSize val="0"/>
            </c:dLbl>
            <c:dLbl>
              <c:idx val="14"/>
              <c:tx>
                <c:rich>
                  <a:bodyPr/>
                  <a:lstStyle/>
                  <a:p>
                    <a:r>
                      <a:t>67.49</a:t>
                    </a:r>
                  </a:p>
                </c:rich>
              </c:tx>
              <c:dLblPos val="t"/>
              <c:showLegendKey val="0"/>
              <c:showVal val="1"/>
              <c:showCatName val="0"/>
              <c:showSerName val="0"/>
              <c:showPercent val="0"/>
              <c:showBubbleSize val="0"/>
            </c:dLbl>
            <c:dLbl>
              <c:idx val="15"/>
              <c:tx>
                <c:rich>
                  <a:bodyPr/>
                  <a:lstStyle/>
                  <a:p>
                    <a:r>
                      <a:t>42.13</a:t>
                    </a:r>
                  </a:p>
                </c:rich>
              </c:tx>
              <c:dLblPos val="t"/>
              <c:showLegendKey val="0"/>
              <c:showVal val="1"/>
              <c:showCatName val="0"/>
              <c:showSerName val="0"/>
              <c:showPercent val="0"/>
              <c:showBubbleSize val="0"/>
            </c:dLbl>
            <c:dLbl>
              <c:idx val="16"/>
              <c:tx>
                <c:rich>
                  <a:bodyPr/>
                  <a:lstStyle/>
                  <a:p>
                    <a:r>
                      <a:t>39.94</a:t>
                    </a:r>
                  </a:p>
                </c:rich>
              </c:tx>
              <c:dLblPos val="t"/>
              <c:showLegendKey val="0"/>
              <c:showVal val="1"/>
              <c:showCatName val="0"/>
              <c:showSerName val="0"/>
              <c:showPercent val="0"/>
              <c:showBubbleSize val="0"/>
            </c:dLbl>
            <c:dLbl>
              <c:idx val="17"/>
              <c:tx>
                <c:rich>
                  <a:bodyPr/>
                  <a:lstStyle/>
                  <a:p>
                    <a:r>
                      <a:t>49.07</a:t>
                    </a:r>
                  </a:p>
                </c:rich>
              </c:tx>
              <c:dLblPos val="t"/>
              <c:showLegendKey val="0"/>
              <c:showVal val="1"/>
              <c:showCatName val="0"/>
              <c:showSerName val="0"/>
              <c:showPercent val="0"/>
              <c:showBubbleSize val="0"/>
            </c:dLbl>
            <c:dLbl>
              <c:idx val="18"/>
              <c:tx>
                <c:rich>
                  <a:bodyPr/>
                  <a:lstStyle/>
                  <a:p>
                    <a:r>
                      <a:t>54.5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ffervescents Sans Alcool</c:v>
                </c:pt>
                <c:pt idx="1">
                  <c:v>Mousseux Autres</c:v>
                </c:pt>
                <c:pt idx="2">
                  <c:v>Aromatises</c:v>
                </c:pt>
                <c:pt idx="3">
                  <c:v>Mousseux Val De Loire</c:v>
                </c:pt>
                <c:pt idx="4">
                  <c:v>Mousseux Bourgogne</c:v>
                </c:pt>
                <c:pt idx="5">
                  <c:v>Mousseux Italiens</c:v>
                </c:pt>
                <c:pt idx="6">
                  <c:v>Mousseux Alsace</c:v>
                </c:pt>
                <c:pt idx="7">
                  <c:v>Mousseux Espagnols</c:v>
                </c:pt>
                <c:pt idx="8">
                  <c:v>Bruts</c:v>
                </c:pt>
                <c:pt idx="9">
                  <c:v>Demi-Secs</c:v>
                </c:pt>
                <c:pt idx="10">
                  <c:v>Rosés</c:v>
                </c:pt>
                <c:pt idx="11">
                  <c:v>Mousseux Etrangers</c:v>
                </c:pt>
                <c:pt idx="12">
                  <c:v>Mousseux Bordelais</c:v>
                </c:pt>
                <c:pt idx="13">
                  <c:v>Millesimes</c:v>
                </c:pt>
                <c:pt idx="14">
                  <c:v>Blanc De Blancs</c:v>
                </c:pt>
                <c:pt idx="15">
                  <c:v>Extra Brut</c:v>
                </c:pt>
                <c:pt idx="16">
                  <c:v>Crus</c:v>
                </c:pt>
                <c:pt idx="17">
                  <c:v>Blanc De Noirs</c:v>
                </c:pt>
                <c:pt idx="18">
                  <c:v>Brut Nature</c:v>
                </c:pt>
              </c:strCache>
            </c:strRef>
          </c:cat>
          <c:val>
            <c:numRef>
              <c:f>Sheet1!$C$2:$C$20</c:f>
              <c:numCache>
                <c:formatCode>General</c:formatCode>
                <c:ptCount val="19"/>
                <c:pt idx="0">
                  <c:v>5.1375</c:v>
                </c:pt>
                <c:pt idx="1">
                  <c:v>2.94</c:v>
                </c:pt>
                <c:pt idx="2">
                  <c:v>6.5133</c:v>
                </c:pt>
                <c:pt idx="3">
                  <c:v>7.1753</c:v>
                </c:pt>
                <c:pt idx="4">
                  <c:v>9.4804</c:v>
                </c:pt>
                <c:pt idx="5">
                  <c:v>8.228</c:v>
                </c:pt>
                <c:pt idx="6">
                  <c:v>6.9306</c:v>
                </c:pt>
                <c:pt idx="7">
                  <c:v>6.5126</c:v>
                </c:pt>
                <c:pt idx="8">
                  <c:v>26.3617</c:v>
                </c:pt>
                <c:pt idx="9">
                  <c:v>30.8415</c:v>
                </c:pt>
                <c:pt idx="10">
                  <c:v>41.9837</c:v>
                </c:pt>
                <c:pt idx="11">
                  <c:v>6.6229</c:v>
                </c:pt>
                <c:pt idx="12">
                  <c:v>7.5561</c:v>
                </c:pt>
                <c:pt idx="13">
                  <c:v>176.2807</c:v>
                </c:pt>
                <c:pt idx="14">
                  <c:v>67.4872</c:v>
                </c:pt>
                <c:pt idx="15">
                  <c:v>42.1276</c:v>
                </c:pt>
                <c:pt idx="16">
                  <c:v>39.9367</c:v>
                </c:pt>
                <c:pt idx="17">
                  <c:v>49.0653</c:v>
                </c:pt>
                <c:pt idx="18">
                  <c:v>54.567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23</a:t>
                    </a:r>
                  </a:p>
                </c:rich>
              </c:tx>
              <c:dLblPos val="ctr"/>
              <c:showLegendKey val="0"/>
              <c:showVal val="1"/>
              <c:showCatName val="0"/>
              <c:showSerName val="0"/>
              <c:showPercent val="0"/>
              <c:showBubbleSize val="0"/>
            </c:dLbl>
            <c:dLbl>
              <c:idx val="1"/>
              <c:tx>
                <c:rich>
                  <a:bodyPr/>
                  <a:lstStyle/>
                  <a:p>
                    <a:r>
                      <a:t>104</a:t>
                    </a:r>
                  </a:p>
                </c:rich>
              </c:tx>
              <c:dLblPos val="ctr"/>
              <c:showLegendKey val="0"/>
              <c:showVal val="1"/>
              <c:showCatName val="0"/>
              <c:showSerName val="0"/>
              <c:showPercent val="0"/>
              <c:showBubbleSize val="0"/>
            </c:dLbl>
            <c:dLbl>
              <c:idx val="2"/>
              <c:tx>
                <c:rich>
                  <a:bodyPr/>
                  <a:lstStyle/>
                  <a:p>
                    <a:r>
                      <a:t>102</a:t>
                    </a:r>
                  </a:p>
                </c:rich>
              </c:tx>
              <c:dLblPos val="ctr"/>
              <c:showLegendKey val="0"/>
              <c:showVal val="1"/>
              <c:showCatName val="0"/>
              <c:showSerName val="0"/>
              <c:showPercent val="0"/>
              <c:showBubbleSize val="0"/>
            </c:dLbl>
            <c:dLbl>
              <c:idx val="3"/>
              <c:tx>
                <c:rich>
                  <a:bodyPr/>
                  <a:lstStyle/>
                  <a:p>
                    <a:r>
                      <a:t>109</a:t>
                    </a:r>
                  </a:p>
                </c:rich>
              </c:tx>
              <c:dLblPos val="ctr"/>
              <c:showLegendKey val="0"/>
              <c:showVal val="1"/>
              <c:showCatName val="0"/>
              <c:showSerName val="0"/>
              <c:showPercent val="0"/>
              <c:showBubbleSize val="0"/>
            </c:dLbl>
            <c:dLbl>
              <c:idx val="4"/>
              <c:tx>
                <c:rich>
                  <a:bodyPr/>
                  <a:lstStyle/>
                  <a:p>
                    <a:r>
                      <a:t>111</a:t>
                    </a:r>
                  </a:p>
                </c:rich>
              </c:tx>
              <c:dLblPos val="ctr"/>
              <c:showLegendKey val="0"/>
              <c:showVal val="1"/>
              <c:showCatName val="0"/>
              <c:showSerName val="0"/>
              <c:showPercent val="0"/>
              <c:showBubbleSize val="0"/>
            </c:dLbl>
            <c:dLbl>
              <c:idx val="5"/>
              <c:tx>
                <c:rich>
                  <a:bodyPr/>
                  <a:lstStyle/>
                  <a:p>
                    <a:r>
                      <a:t>118</a:t>
                    </a:r>
                  </a:p>
                </c:rich>
              </c:tx>
              <c:dLblPos val="ctr"/>
              <c:showLegendKey val="0"/>
              <c:showVal val="1"/>
              <c:showCatName val="0"/>
              <c:showSerName val="0"/>
              <c:showPercent val="0"/>
              <c:showBubbleSize val="0"/>
            </c:dLbl>
            <c:dLbl>
              <c:idx val="6"/>
              <c:tx>
                <c:rich>
                  <a:bodyPr/>
                  <a:lstStyle/>
                  <a:p>
                    <a:r>
                      <a:t>107</a:t>
                    </a:r>
                  </a:p>
                </c:rich>
              </c:tx>
              <c:dLblPos val="ctr"/>
              <c:showLegendKey val="0"/>
              <c:showVal val="1"/>
              <c:showCatName val="0"/>
              <c:showSerName val="0"/>
              <c:showPercent val="0"/>
              <c:showBubbleSize val="0"/>
            </c:dLbl>
            <c:dLbl>
              <c:idx val="7"/>
              <c:tx>
                <c:rich>
                  <a:bodyPr/>
                  <a:lstStyle/>
                  <a:p>
                    <a:r>
                      <a:t>98</a:t>
                    </a:r>
                  </a:p>
                </c:rich>
              </c:tx>
              <c:dLblPos val="ctr"/>
              <c:showLegendKey val="0"/>
              <c:showVal val="1"/>
              <c:showCatName val="0"/>
              <c:showSerName val="0"/>
              <c:showPercent val="0"/>
              <c:showBubbleSize val="0"/>
            </c:dLbl>
            <c:dLbl>
              <c:idx val="8"/>
              <c:tx>
                <c:rich>
                  <a:bodyPr/>
                  <a:lstStyle/>
                  <a:p>
                    <a:r>
                      <a:t>105</a:t>
                    </a:r>
                  </a:p>
                </c:rich>
              </c:tx>
              <c:dLblPos val="ctr"/>
              <c:showLegendKey val="0"/>
              <c:showVal val="1"/>
              <c:showCatName val="0"/>
              <c:showSerName val="0"/>
              <c:showPercent val="0"/>
              <c:showBubbleSize val="0"/>
            </c:dLbl>
            <c:dLbl>
              <c:idx val="9"/>
              <c:tx>
                <c:rich>
                  <a:bodyPr/>
                  <a:lstStyle/>
                  <a:p>
                    <a:r>
                      <a:t>119</a:t>
                    </a:r>
                  </a:p>
                </c:rich>
              </c:tx>
              <c:dLblPos val="ctr"/>
              <c:showLegendKey val="0"/>
              <c:showVal val="1"/>
              <c:showCatName val="0"/>
              <c:showSerName val="0"/>
              <c:showPercent val="0"/>
              <c:showBubbleSize val="0"/>
            </c:dLbl>
            <c:dLbl>
              <c:idx val="10"/>
              <c:tx>
                <c:rich>
                  <a:bodyPr/>
                  <a:lstStyle/>
                  <a:p>
                    <a:r>
                      <a:t>100</a:t>
                    </a:r>
                  </a:p>
                </c:rich>
              </c:tx>
              <c:dLblPos val="ctr"/>
              <c:showLegendKey val="0"/>
              <c:showVal val="1"/>
              <c:showCatName val="0"/>
              <c:showSerName val="0"/>
              <c:showPercent val="0"/>
              <c:showBubbleSize val="0"/>
            </c:dLbl>
            <c:dLbl>
              <c:idx val="11"/>
              <c:tx>
                <c:rich>
                  <a:bodyPr/>
                  <a:lstStyle/>
                  <a:p>
                    <a:r>
                      <a:t>150</a:t>
                    </a:r>
                  </a:p>
                </c:rich>
              </c:tx>
              <c:dLblPos val="ctr"/>
              <c:showLegendKey val="0"/>
              <c:showVal val="1"/>
              <c:showCatName val="0"/>
              <c:showSerName val="0"/>
              <c:showPercent val="0"/>
              <c:showBubbleSize val="0"/>
            </c:dLbl>
            <c:dLbl>
              <c:idx val="12"/>
              <c:tx>
                <c:rich>
                  <a:bodyPr/>
                  <a:lstStyle/>
                  <a:p>
                    <a:r>
                      <a:t>120</a:t>
                    </a:r>
                  </a:p>
                </c:rich>
              </c:tx>
              <c:dLblPos val="ctr"/>
              <c:showLegendKey val="0"/>
              <c:showVal val="1"/>
              <c:showCatName val="0"/>
              <c:showSerName val="0"/>
              <c:showPercent val="0"/>
              <c:showBubbleSize val="0"/>
            </c:dLbl>
            <c:dLbl>
              <c:idx val="13"/>
              <c:tx>
                <c:rich>
                  <a:bodyPr/>
                  <a:lstStyle/>
                  <a:p>
                    <a:r>
                      <a:t>95</a:t>
                    </a:r>
                  </a:p>
                </c:rich>
              </c:tx>
              <c:dLblPos val="ctr"/>
              <c:showLegendKey val="0"/>
              <c:showVal val="1"/>
              <c:showCatName val="0"/>
              <c:showSerName val="0"/>
              <c:showPercent val="0"/>
              <c:showBubbleSize val="0"/>
            </c:dLbl>
            <c:dLbl>
              <c:idx val="14"/>
              <c:tx>
                <c:rich>
                  <a:bodyPr/>
                  <a:lstStyle/>
                  <a:p>
                    <a:r>
                      <a:t>105</a:t>
                    </a:r>
                  </a:p>
                </c:rich>
              </c:tx>
              <c:dLblPos val="ctr"/>
              <c:showLegendKey val="0"/>
              <c:showVal val="1"/>
              <c:showCatName val="0"/>
              <c:showSerName val="0"/>
              <c:showPercent val="0"/>
              <c:showBubbleSize val="0"/>
            </c:dLbl>
            <c:dLbl>
              <c:idx val="15"/>
              <c:tx>
                <c:rich>
                  <a:bodyPr/>
                  <a:lstStyle/>
                  <a:p>
                    <a:r>
                      <a:t>100</a:t>
                    </a:r>
                  </a:p>
                </c:rich>
              </c:tx>
              <c:dLblPos val="ctr"/>
              <c:showLegendKey val="0"/>
              <c:showVal val="1"/>
              <c:showCatName val="0"/>
              <c:showSerName val="0"/>
              <c:showPercent val="0"/>
              <c:showBubbleSize val="0"/>
            </c:dLbl>
            <c:dLbl>
              <c:idx val="16"/>
              <c:tx>
                <c:rich>
                  <a:bodyPr/>
                  <a:lstStyle/>
                  <a:p>
                    <a:r>
                      <a:t>92</a:t>
                    </a:r>
                  </a:p>
                </c:rich>
              </c:tx>
              <c:dLblPos val="ctr"/>
              <c:showLegendKey val="0"/>
              <c:showVal val="1"/>
              <c:showCatName val="0"/>
              <c:showSerName val="0"/>
              <c:showPercent val="0"/>
              <c:showBubbleSize val="0"/>
            </c:dLbl>
            <c:dLbl>
              <c:idx val="17"/>
              <c:tx>
                <c:rich>
                  <a:bodyPr/>
                  <a:lstStyle/>
                  <a:p>
                    <a:r>
                      <a:t>98</a:t>
                    </a:r>
                  </a:p>
                </c:rich>
              </c:tx>
              <c:dLblPos val="ctr"/>
              <c:showLegendKey val="0"/>
              <c:showVal val="1"/>
              <c:showCatName val="0"/>
              <c:showSerName val="0"/>
              <c:showPercent val="0"/>
              <c:showBubbleSize val="0"/>
            </c:dLbl>
            <c:dLbl>
              <c:idx val="18"/>
              <c:tx>
                <c:rich>
                  <a:bodyPr/>
                  <a:lstStyle/>
                  <a:p>
                    <a:r>
                      <a:t>7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ffervescents Sans Alcool</c:v>
                </c:pt>
                <c:pt idx="1">
                  <c:v>Mousseux Autres</c:v>
                </c:pt>
                <c:pt idx="2">
                  <c:v>Aromatises</c:v>
                </c:pt>
                <c:pt idx="3">
                  <c:v>Mousseux Val De Loire</c:v>
                </c:pt>
                <c:pt idx="4">
                  <c:v>Mousseux Bourgogne</c:v>
                </c:pt>
                <c:pt idx="5">
                  <c:v>Mousseux Italiens</c:v>
                </c:pt>
                <c:pt idx="6">
                  <c:v>Mousseux Alsace</c:v>
                </c:pt>
                <c:pt idx="7">
                  <c:v>Mousseux Espagnols</c:v>
                </c:pt>
                <c:pt idx="8">
                  <c:v>Bruts</c:v>
                </c:pt>
                <c:pt idx="9">
                  <c:v>Demi-Secs</c:v>
                </c:pt>
                <c:pt idx="10">
                  <c:v>Rosés</c:v>
                </c:pt>
                <c:pt idx="11">
                  <c:v>Mousseux Etrangers</c:v>
                </c:pt>
                <c:pt idx="12">
                  <c:v>Mousseux Bordelais</c:v>
                </c:pt>
                <c:pt idx="13">
                  <c:v>Millesimes</c:v>
                </c:pt>
                <c:pt idx="14">
                  <c:v>Blanc De Blancs</c:v>
                </c:pt>
                <c:pt idx="15">
                  <c:v>Extra Brut</c:v>
                </c:pt>
                <c:pt idx="16">
                  <c:v>Crus</c:v>
                </c:pt>
                <c:pt idx="17">
                  <c:v>Blanc De Noirs</c:v>
                </c:pt>
                <c:pt idx="18">
                  <c:v>Brut Nature</c:v>
                </c:pt>
              </c:strCache>
            </c:strRef>
          </c:cat>
          <c:val>
            <c:numRef>
              <c:f>Sheet1!$B$2:$B$20</c:f>
              <c:numCache>
                <c:formatCode>General</c:formatCode>
                <c:ptCount val="19"/>
                <c:pt idx="0">
                  <c:v>1.2283905355778855</c:v>
                </c:pt>
                <c:pt idx="1">
                  <c:v>1.0422842541901067</c:v>
                </c:pt>
                <c:pt idx="2">
                  <c:v>1.016084940468979</c:v>
                </c:pt>
                <c:pt idx="3">
                  <c:v>1.0863954892561904</c:v>
                </c:pt>
                <c:pt idx="4">
                  <c:v>1.1078585947145514</c:v>
                </c:pt>
                <c:pt idx="5">
                  <c:v>1.1806126211216847</c:v>
                </c:pt>
                <c:pt idx="6">
                  <c:v>1.0711159110370854</c:v>
                </c:pt>
                <c:pt idx="7">
                  <c:v>0.9791020058627369</c:v>
                </c:pt>
                <c:pt idx="8">
                  <c:v>1.0451774885245448</c:v>
                </c:pt>
                <c:pt idx="9">
                  <c:v>1.1918030848818073</c:v>
                </c:pt>
                <c:pt idx="10">
                  <c:v>0.9983118968556904</c:v>
                </c:pt>
                <c:pt idx="11">
                  <c:v>1.504996251443331</c:v>
                </c:pt>
                <c:pt idx="12">
                  <c:v>1.1963361132076478</c:v>
                </c:pt>
                <c:pt idx="13">
                  <c:v>0.9521829718723364</c:v>
                </c:pt>
                <c:pt idx="14">
                  <c:v>1.0484762595400452</c:v>
                </c:pt>
                <c:pt idx="15">
                  <c:v>0.9989591132334344</c:v>
                </c:pt>
                <c:pt idx="16">
                  <c:v>0.9182636308766409</c:v>
                </c:pt>
                <c:pt idx="17">
                  <c:v>0.9768511829167206</c:v>
                </c:pt>
                <c:pt idx="18">
                  <c:v>0.792747587740248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0.331996</c:v>
                </c:pt>
                <c:pt idx="1">
                  <c:v>0.181678</c:v>
                </c:pt>
                <c:pt idx="2">
                  <c:v>0.55944</c:v>
                </c:pt>
                <c:pt idx="3">
                  <c:v>0.231659</c:v>
                </c:pt>
                <c:pt idx="4">
                  <c:v>0.835276</c:v>
                </c:pt>
                <c:pt idx="5">
                  <c:v>0.212732</c:v>
                </c:pt>
                <c:pt idx="6">
                  <c:v>0.000295</c:v>
                </c:pt>
                <c:pt idx="7">
                  <c:v>18.780958</c:v>
                </c:pt>
                <c:pt idx="8">
                  <c:v>0.046746</c:v>
                </c:pt>
                <c:pt idx="9">
                  <c:v>1.811839</c:v>
                </c:pt>
                <c:pt idx="10">
                  <c:v>0.034974</c:v>
                </c:pt>
                <c:pt idx="11">
                  <c:v>0.906339</c:v>
                </c:pt>
                <c:pt idx="12">
                  <c:v>2.773327</c:v>
                </c:pt>
                <c:pt idx="13">
                  <c:v>1.059087</c:v>
                </c:pt>
                <c:pt idx="14">
                  <c:v>1.425828</c:v>
                </c:pt>
                <c:pt idx="15">
                  <c:v>0.164504</c:v>
                </c:pt>
                <c:pt idx="16">
                  <c:v>0.1180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02</a:t>
                    </a:r>
                  </a:p>
                </c:rich>
              </c:tx>
              <c:dLblPos val="t"/>
              <c:showLegendKey val="0"/>
              <c:showVal val="1"/>
              <c:showCatName val="0"/>
              <c:showSerName val="0"/>
              <c:showPercent val="0"/>
              <c:showBubbleSize val="0"/>
            </c:dLbl>
            <c:dLbl>
              <c:idx val="1"/>
              <c:tx>
                <c:rich>
                  <a:bodyPr/>
                  <a:lstStyle/>
                  <a:p>
                    <a:r>
                      <a:t>12.76</a:t>
                    </a:r>
                  </a:p>
                </c:rich>
              </c:tx>
              <c:dLblPos val="t"/>
              <c:showLegendKey val="0"/>
              <c:showVal val="1"/>
              <c:showCatName val="0"/>
              <c:showSerName val="0"/>
              <c:showPercent val="0"/>
              <c:showBubbleSize val="0"/>
            </c:dLbl>
            <c:dLbl>
              <c:idx val="2"/>
              <c:tx>
                <c:rich>
                  <a:bodyPr/>
                  <a:lstStyle/>
                  <a:p>
                    <a:r>
                      <a:t>15.57</a:t>
                    </a:r>
                  </a:p>
                </c:rich>
              </c:tx>
              <c:dLblPos val="t"/>
              <c:showLegendKey val="0"/>
              <c:showVal val="1"/>
              <c:showCatName val="0"/>
              <c:showSerName val="0"/>
              <c:showPercent val="0"/>
              <c:showBubbleSize val="0"/>
            </c:dLbl>
            <c:dLbl>
              <c:idx val="3"/>
              <c:tx>
                <c:rich>
                  <a:bodyPr/>
                  <a:lstStyle/>
                  <a:p>
                    <a:r>
                      <a:t>17.01</a:t>
                    </a:r>
                  </a:p>
                </c:rich>
              </c:tx>
              <c:dLblPos val="t"/>
              <c:showLegendKey val="0"/>
              <c:showVal val="1"/>
              <c:showCatName val="0"/>
              <c:showSerName val="0"/>
              <c:showPercent val="0"/>
              <c:showBubbleSize val="0"/>
            </c:dLbl>
            <c:dLbl>
              <c:idx val="4"/>
              <c:tx>
                <c:rich>
                  <a:bodyPr/>
                  <a:lstStyle/>
                  <a:p>
                    <a:r>
                      <a:t>11.97</a:t>
                    </a:r>
                  </a:p>
                </c:rich>
              </c:tx>
              <c:dLblPos val="t"/>
              <c:showLegendKey val="0"/>
              <c:showVal val="1"/>
              <c:showCatName val="0"/>
              <c:showSerName val="0"/>
              <c:showPercent val="0"/>
              <c:showBubbleSize val="0"/>
            </c:dLbl>
            <c:dLbl>
              <c:idx val="5"/>
              <c:tx>
                <c:rich>
                  <a:bodyPr/>
                  <a:lstStyle/>
                  <a:p>
                    <a:r>
                      <a:t>20.83</a:t>
                    </a:r>
                  </a:p>
                </c:rich>
              </c:tx>
              <c:dLblPos val="t"/>
              <c:showLegendKey val="0"/>
              <c:showVal val="1"/>
              <c:showCatName val="0"/>
              <c:showSerName val="0"/>
              <c:showPercent val="0"/>
              <c:showBubbleSize val="0"/>
            </c:dLbl>
            <c:dLbl>
              <c:idx val="6"/>
              <c:tx>
                <c:rich>
                  <a:bodyPr/>
                  <a:lstStyle/>
                  <a:p>
                    <a:r>
                      <a:t>12.83</a:t>
                    </a:r>
                  </a:p>
                </c:rich>
              </c:tx>
              <c:dLblPos val="t"/>
              <c:showLegendKey val="0"/>
              <c:showVal val="1"/>
              <c:showCatName val="0"/>
              <c:showSerName val="0"/>
              <c:showPercent val="0"/>
              <c:showBubbleSize val="0"/>
            </c:dLbl>
            <c:dLbl>
              <c:idx val="7"/>
              <c:tx>
                <c:rich>
                  <a:bodyPr/>
                  <a:lstStyle/>
                  <a:p>
                    <a:r>
                      <a:t>52.07</a:t>
                    </a:r>
                  </a:p>
                </c:rich>
              </c:tx>
              <c:dLblPos val="t"/>
              <c:showLegendKey val="0"/>
              <c:showVal val="1"/>
              <c:showCatName val="0"/>
              <c:showSerName val="0"/>
              <c:showPercent val="0"/>
              <c:showBubbleSize val="0"/>
            </c:dLbl>
            <c:dLbl>
              <c:idx val="8"/>
              <c:tx>
                <c:rich>
                  <a:bodyPr/>
                  <a:lstStyle/>
                  <a:p>
                    <a:r>
                      <a:t>46.61</a:t>
                    </a:r>
                  </a:p>
                </c:rich>
              </c:tx>
              <c:dLblPos val="t"/>
              <c:showLegendKey val="0"/>
              <c:showVal val="1"/>
              <c:showCatName val="0"/>
              <c:showSerName val="0"/>
              <c:showPercent val="0"/>
              <c:showBubbleSize val="0"/>
            </c:dLbl>
            <c:dLbl>
              <c:idx val="9"/>
              <c:tx>
                <c:rich>
                  <a:bodyPr/>
                  <a:lstStyle/>
                  <a:p>
                    <a:r>
                      <a:t>74.97</a:t>
                    </a:r>
                  </a:p>
                </c:rich>
              </c:tx>
              <c:dLblPos val="t"/>
              <c:showLegendKey val="0"/>
              <c:showVal val="1"/>
              <c:showCatName val="0"/>
              <c:showSerName val="0"/>
              <c:showPercent val="0"/>
              <c:showBubbleSize val="0"/>
            </c:dLbl>
            <c:dLbl>
              <c:idx val="10"/>
              <c:tx>
                <c:rich>
                  <a:bodyPr/>
                  <a:lstStyle/>
                  <a:p>
                    <a:r>
                      <a:t>14.11</a:t>
                    </a:r>
                  </a:p>
                </c:rich>
              </c:tx>
              <c:dLblPos val="t"/>
              <c:showLegendKey val="0"/>
              <c:showVal val="1"/>
              <c:showCatName val="0"/>
              <c:showSerName val="0"/>
              <c:showPercent val="0"/>
              <c:showBubbleSize val="0"/>
            </c:dLbl>
            <c:dLbl>
              <c:idx val="11"/>
              <c:tx>
                <c:rich>
                  <a:bodyPr/>
                  <a:lstStyle/>
                  <a:p>
                    <a:r>
                      <a:t>162.98</a:t>
                    </a:r>
                  </a:p>
                </c:rich>
              </c:tx>
              <c:dLblPos val="t"/>
              <c:showLegendKey val="0"/>
              <c:showVal val="1"/>
              <c:showCatName val="0"/>
              <c:showSerName val="0"/>
              <c:showPercent val="0"/>
              <c:showBubbleSize val="0"/>
            </c:dLbl>
            <c:dLbl>
              <c:idx val="12"/>
              <c:tx>
                <c:rich>
                  <a:bodyPr/>
                  <a:lstStyle/>
                  <a:p>
                    <a:r>
                      <a:t>93.41</a:t>
                    </a:r>
                  </a:p>
                </c:rich>
              </c:tx>
              <c:dLblPos val="t"/>
              <c:showLegendKey val="0"/>
              <c:showVal val="1"/>
              <c:showCatName val="0"/>
              <c:showSerName val="0"/>
              <c:showPercent val="0"/>
              <c:showBubbleSize val="0"/>
            </c:dLbl>
            <c:dLbl>
              <c:idx val="13"/>
              <c:tx>
                <c:rich>
                  <a:bodyPr/>
                  <a:lstStyle/>
                  <a:p>
                    <a:r>
                      <a:t>44.26</a:t>
                    </a:r>
                  </a:p>
                </c:rich>
              </c:tx>
              <c:dLblPos val="t"/>
              <c:showLegendKey val="0"/>
              <c:showVal val="1"/>
              <c:showCatName val="0"/>
              <c:showSerName val="0"/>
              <c:showPercent val="0"/>
              <c:showBubbleSize val="0"/>
            </c:dLbl>
            <c:dLbl>
              <c:idx val="14"/>
              <c:tx>
                <c:rich>
                  <a:bodyPr/>
                  <a:lstStyle/>
                  <a:p>
                    <a:r>
                      <a:t>40.03</a:t>
                    </a:r>
                  </a:p>
                </c:rich>
              </c:tx>
              <c:dLblPos val="t"/>
              <c:showLegendKey val="0"/>
              <c:showVal val="1"/>
              <c:showCatName val="0"/>
              <c:showSerName val="0"/>
              <c:showPercent val="0"/>
              <c:showBubbleSize val="0"/>
            </c:dLbl>
            <c:dLbl>
              <c:idx val="15"/>
              <c:tx>
                <c:rich>
                  <a:bodyPr/>
                  <a:lstStyle/>
                  <a:p>
                    <a:r>
                      <a:t>47.92</a:t>
                    </a:r>
                  </a:p>
                </c:rich>
              </c:tx>
              <c:dLblPos val="t"/>
              <c:showLegendKey val="0"/>
              <c:showVal val="1"/>
              <c:showCatName val="0"/>
              <c:showSerName val="0"/>
              <c:showPercent val="0"/>
              <c:showBubbleSize val="0"/>
            </c:dLbl>
            <c:dLbl>
              <c:idx val="16"/>
              <c:tx>
                <c:rich>
                  <a:bodyPr/>
                  <a:lstStyle/>
                  <a:p>
                    <a:r>
                      <a:t>59.3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C$2:$C$18</c:f>
              <c:numCache>
                <c:formatCode>General</c:formatCode>
                <c:ptCount val="17"/>
                <c:pt idx="0">
                  <c:v>23.0249</c:v>
                </c:pt>
                <c:pt idx="1">
                  <c:v>12.7565</c:v>
                </c:pt>
                <c:pt idx="2">
                  <c:v>15.5694</c:v>
                </c:pt>
                <c:pt idx="3">
                  <c:v>17.0125</c:v>
                </c:pt>
                <c:pt idx="4">
                  <c:v>11.9715</c:v>
                </c:pt>
                <c:pt idx="5">
                  <c:v>20.8316</c:v>
                </c:pt>
                <c:pt idx="6">
                  <c:v>12.8261</c:v>
                </c:pt>
                <c:pt idx="7">
                  <c:v>52.0747</c:v>
                </c:pt>
                <c:pt idx="8">
                  <c:v>46.6062</c:v>
                </c:pt>
                <c:pt idx="9">
                  <c:v>74.9685</c:v>
                </c:pt>
                <c:pt idx="10">
                  <c:v>14.1081</c:v>
                </c:pt>
                <c:pt idx="11">
                  <c:v>162.9813</c:v>
                </c:pt>
                <c:pt idx="12">
                  <c:v>93.4063</c:v>
                </c:pt>
                <c:pt idx="13">
                  <c:v>44.2559</c:v>
                </c:pt>
                <c:pt idx="14">
                  <c:v>40.0255</c:v>
                </c:pt>
                <c:pt idx="15">
                  <c:v>47.9184</c:v>
                </c:pt>
                <c:pt idx="16">
                  <c:v>59.35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87</a:t>
                    </a:r>
                  </a:p>
                </c:rich>
              </c:tx>
              <c:dLblPos val="ctr"/>
              <c:showLegendKey val="0"/>
              <c:showVal val="1"/>
              <c:showCatName val="0"/>
              <c:showSerName val="0"/>
              <c:showPercent val="0"/>
              <c:showBubbleSize val="0"/>
            </c:dLbl>
            <c:dLbl>
              <c:idx val="1"/>
              <c:tx>
                <c:rich>
                  <a:bodyPr/>
                  <a:lstStyle/>
                  <a:p>
                    <a:r>
                      <a:t>105</a:t>
                    </a:r>
                  </a:p>
                </c:rich>
              </c:tx>
              <c:dLblPos val="ctr"/>
              <c:showLegendKey val="0"/>
              <c:showVal val="1"/>
              <c:showCatName val="0"/>
              <c:showSerName val="0"/>
              <c:showPercent val="0"/>
              <c:showBubbleSize val="0"/>
            </c:dLbl>
            <c:dLbl>
              <c:idx val="2"/>
              <c:tx>
                <c:rich>
                  <a:bodyPr/>
                  <a:lstStyle/>
                  <a:p>
                    <a:r>
                      <a:t>101</a:t>
                    </a:r>
                  </a:p>
                </c:rich>
              </c:tx>
              <c:dLblPos val="ctr"/>
              <c:showLegendKey val="0"/>
              <c:showVal val="1"/>
              <c:showCatName val="0"/>
              <c:showSerName val="0"/>
              <c:showPercent val="0"/>
              <c:showBubbleSize val="0"/>
            </c:dLbl>
            <c:dLbl>
              <c:idx val="3"/>
              <c:tx>
                <c:rich>
                  <a:bodyPr/>
                  <a:lstStyle/>
                  <a:p>
                    <a:r>
                      <a:t>86</a:t>
                    </a:r>
                  </a:p>
                </c:rich>
              </c:tx>
              <c:dLblPos val="ctr"/>
              <c:showLegendKey val="0"/>
              <c:showVal val="1"/>
              <c:showCatName val="0"/>
              <c:showSerName val="0"/>
              <c:showPercent val="0"/>
              <c:showBubbleSize val="0"/>
            </c:dLbl>
            <c:dLbl>
              <c:idx val="4"/>
              <c:tx>
                <c:rich>
                  <a:bodyPr/>
                  <a:lstStyle/>
                  <a:p>
                    <a:r>
                      <a:t>89</a:t>
                    </a:r>
                  </a:p>
                </c:rich>
              </c:tx>
              <c:dLblPos val="ctr"/>
              <c:showLegendKey val="0"/>
              <c:showVal val="1"/>
              <c:showCatName val="0"/>
              <c:showSerName val="0"/>
              <c:showPercent val="0"/>
              <c:showBubbleSize val="0"/>
            </c:dLbl>
            <c:dLbl>
              <c:idx val="5"/>
              <c:tx>
                <c:rich>
                  <a:bodyPr/>
                  <a:lstStyle/>
                  <a:p>
                    <a:r>
                      <a:t>94</a:t>
                    </a:r>
                  </a:p>
                </c:rich>
              </c:tx>
              <c:dLblPos val="ctr"/>
              <c:showLegendKey val="0"/>
              <c:showVal val="1"/>
              <c:showCatName val="0"/>
              <c:showSerName val="0"/>
              <c:showPercent val="0"/>
              <c:showBubbleSize val="0"/>
            </c:dLbl>
            <c:dLbl>
              <c:idx val="6"/>
              <c:tx>
                <c:rich>
                  <a:bodyPr/>
                  <a:lstStyle/>
                  <a:p>
                    <a:r>
                      <a:t>201</a:t>
                    </a:r>
                  </a:p>
                </c:rich>
              </c:tx>
              <c:dLblPos val="ctr"/>
              <c:showLegendKey val="0"/>
              <c:showVal val="1"/>
              <c:showCatName val="0"/>
              <c:showSerName val="0"/>
              <c:showPercent val="0"/>
              <c:showBubbleSize val="0"/>
            </c:dLbl>
            <c:dLbl>
              <c:idx val="7"/>
              <c:tx>
                <c:rich>
                  <a:bodyPr/>
                  <a:lstStyle/>
                  <a:p>
                    <a:r>
                      <a:t>87</a:t>
                    </a:r>
                  </a:p>
                </c:rich>
              </c:tx>
              <c:dLblPos val="ctr"/>
              <c:showLegendKey val="0"/>
              <c:showVal val="1"/>
              <c:showCatName val="0"/>
              <c:showSerName val="0"/>
              <c:showPercent val="0"/>
              <c:showBubbleSize val="0"/>
            </c:dLbl>
            <c:dLbl>
              <c:idx val="8"/>
              <c:tx>
                <c:rich>
                  <a:bodyPr/>
                  <a:lstStyle/>
                  <a:p>
                    <a:r>
                      <a:t>76</a:t>
                    </a:r>
                  </a:p>
                </c:rich>
              </c:tx>
              <c:dLblPos val="ctr"/>
              <c:showLegendKey val="0"/>
              <c:showVal val="1"/>
              <c:showCatName val="0"/>
              <c:showSerName val="0"/>
              <c:showPercent val="0"/>
              <c:showBubbleSize val="0"/>
            </c:dLbl>
            <c:dLbl>
              <c:idx val="9"/>
              <c:tx>
                <c:rich>
                  <a:bodyPr/>
                  <a:lstStyle/>
                  <a:p>
                    <a:r>
                      <a:t>80</a:t>
                    </a:r>
                  </a:p>
                </c:rich>
              </c:tx>
              <c:dLblPos val="ctr"/>
              <c:showLegendKey val="0"/>
              <c:showVal val="1"/>
              <c:showCatName val="0"/>
              <c:showSerName val="0"/>
              <c:showPercent val="0"/>
              <c:showBubbleSize val="0"/>
            </c:dLbl>
            <c:dLbl>
              <c:idx val="10"/>
              <c:tx>
                <c:rich>
                  <a:bodyPr/>
                  <a:lstStyle/>
                  <a:p>
                    <a:r>
                      <a:t>44</a:t>
                    </a:r>
                  </a:p>
                </c:rich>
              </c:tx>
              <c:dLblPos val="ctr"/>
              <c:showLegendKey val="0"/>
              <c:showVal val="1"/>
              <c:showCatName val="0"/>
              <c:showSerName val="0"/>
              <c:showPercent val="0"/>
              <c:showBubbleSize val="0"/>
            </c:dLbl>
            <c:dLbl>
              <c:idx val="11"/>
              <c:tx>
                <c:rich>
                  <a:bodyPr/>
                  <a:lstStyle/>
                  <a:p>
                    <a:r>
                      <a:t>89</a:t>
                    </a:r>
                  </a:p>
                </c:rich>
              </c:tx>
              <c:dLblPos val="ctr"/>
              <c:showLegendKey val="0"/>
              <c:showVal val="1"/>
              <c:showCatName val="0"/>
              <c:showSerName val="0"/>
              <c:showPercent val="0"/>
              <c:showBubbleSize val="0"/>
            </c:dLbl>
            <c:dLbl>
              <c:idx val="12"/>
              <c:tx>
                <c:rich>
                  <a:bodyPr/>
                  <a:lstStyle/>
                  <a:p>
                    <a:r>
                      <a:t>76</a:t>
                    </a:r>
                  </a:p>
                </c:rich>
              </c:tx>
              <c:dLblPos val="ctr"/>
              <c:showLegendKey val="0"/>
              <c:showVal val="1"/>
              <c:showCatName val="0"/>
              <c:showSerName val="0"/>
              <c:showPercent val="0"/>
              <c:showBubbleSize val="0"/>
            </c:dLbl>
            <c:dLbl>
              <c:idx val="13"/>
              <c:tx>
                <c:rich>
                  <a:bodyPr/>
                  <a:lstStyle/>
                  <a:p>
                    <a:r>
                      <a:t>99</a:t>
                    </a:r>
                  </a:p>
                </c:rich>
              </c:tx>
              <c:dLblPos val="ctr"/>
              <c:showLegendKey val="0"/>
              <c:showVal val="1"/>
              <c:showCatName val="0"/>
              <c:showSerName val="0"/>
              <c:showPercent val="0"/>
              <c:showBubbleSize val="0"/>
            </c:dLbl>
            <c:dLbl>
              <c:idx val="14"/>
              <c:tx>
                <c:rich>
                  <a:bodyPr/>
                  <a:lstStyle/>
                  <a:p>
                    <a:r>
                      <a:t>85</a:t>
                    </a:r>
                  </a:p>
                </c:rich>
              </c:tx>
              <c:dLblPos val="ctr"/>
              <c:showLegendKey val="0"/>
              <c:showVal val="1"/>
              <c:showCatName val="0"/>
              <c:showSerName val="0"/>
              <c:showPercent val="0"/>
              <c:showBubbleSize val="0"/>
            </c:dLbl>
            <c:dLbl>
              <c:idx val="15"/>
              <c:tx>
                <c:rich>
                  <a:bodyPr/>
                  <a:lstStyle/>
                  <a:p>
                    <a:r>
                      <a:t>97</a:t>
                    </a:r>
                  </a:p>
                </c:rich>
              </c:tx>
              <c:dLblPos val="ctr"/>
              <c:showLegendKey val="0"/>
              <c:showVal val="1"/>
              <c:showCatName val="0"/>
              <c:showSerName val="0"/>
              <c:showPercent val="0"/>
              <c:showBubbleSize val="0"/>
            </c:dLbl>
            <c:dLbl>
              <c:idx val="16"/>
              <c:tx>
                <c:rich>
                  <a:bodyPr/>
                  <a:lstStyle/>
                  <a:p>
                    <a:r>
                      <a:t>91</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1.8748362322114298</c:v>
                </c:pt>
                <c:pt idx="1">
                  <c:v>1.0546915364832778</c:v>
                </c:pt>
                <c:pt idx="2">
                  <c:v>1.00772764117806</c:v>
                </c:pt>
                <c:pt idx="3">
                  <c:v>0.8583364518531418</c:v>
                </c:pt>
                <c:pt idx="4">
                  <c:v>0.8927990422950715</c:v>
                </c:pt>
                <c:pt idx="5">
                  <c:v>0.9400815763773195</c:v>
                </c:pt>
                <c:pt idx="6">
                  <c:v>2.006802721088435</c:v>
                </c:pt>
                <c:pt idx="7">
                  <c:v>0.8686684676202538</c:v>
                </c:pt>
                <c:pt idx="8">
                  <c:v>0.7561019005256773</c:v>
                </c:pt>
                <c:pt idx="9">
                  <c:v>0.7950093373631427</c:v>
                </c:pt>
                <c:pt idx="10">
                  <c:v>0.437985272754596</c:v>
                </c:pt>
                <c:pt idx="11">
                  <c:v>0.8883542678474288</c:v>
                </c:pt>
                <c:pt idx="12">
                  <c:v>0.7553466545193573</c:v>
                </c:pt>
                <c:pt idx="13">
                  <c:v>0.9912553934277397</c:v>
                </c:pt>
                <c:pt idx="14">
                  <c:v>0.8490811428843658</c:v>
                </c:pt>
                <c:pt idx="15">
                  <c:v>0.9727057710501419</c:v>
                </c:pt>
                <c:pt idx="16">
                  <c:v>0.910182642766791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0.331996</c:v>
                </c:pt>
                <c:pt idx="1">
                  <c:v>0.181678</c:v>
                </c:pt>
                <c:pt idx="2">
                  <c:v>0.55944</c:v>
                </c:pt>
                <c:pt idx="3">
                  <c:v>0.231659</c:v>
                </c:pt>
                <c:pt idx="4">
                  <c:v>0.835276</c:v>
                </c:pt>
                <c:pt idx="5">
                  <c:v>0.212732</c:v>
                </c:pt>
                <c:pt idx="6">
                  <c:v>0.000295</c:v>
                </c:pt>
                <c:pt idx="7">
                  <c:v>18.780958</c:v>
                </c:pt>
                <c:pt idx="8">
                  <c:v>0.046746</c:v>
                </c:pt>
                <c:pt idx="9">
                  <c:v>1.811839</c:v>
                </c:pt>
                <c:pt idx="10">
                  <c:v>0.034974</c:v>
                </c:pt>
                <c:pt idx="11">
                  <c:v>0.906339</c:v>
                </c:pt>
                <c:pt idx="12">
                  <c:v>2.773327</c:v>
                </c:pt>
                <c:pt idx="13">
                  <c:v>1.059087</c:v>
                </c:pt>
                <c:pt idx="14">
                  <c:v>1.425828</c:v>
                </c:pt>
                <c:pt idx="15">
                  <c:v>0.164504</c:v>
                </c:pt>
                <c:pt idx="16">
                  <c:v>0.1180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02</a:t>
                    </a:r>
                  </a:p>
                </c:rich>
              </c:tx>
              <c:dLblPos val="t"/>
              <c:showLegendKey val="0"/>
              <c:showVal val="1"/>
              <c:showCatName val="0"/>
              <c:showSerName val="0"/>
              <c:showPercent val="0"/>
              <c:showBubbleSize val="0"/>
            </c:dLbl>
            <c:dLbl>
              <c:idx val="1"/>
              <c:tx>
                <c:rich>
                  <a:bodyPr/>
                  <a:lstStyle/>
                  <a:p>
                    <a:r>
                      <a:t>12.76</a:t>
                    </a:r>
                  </a:p>
                </c:rich>
              </c:tx>
              <c:dLblPos val="t"/>
              <c:showLegendKey val="0"/>
              <c:showVal val="1"/>
              <c:showCatName val="0"/>
              <c:showSerName val="0"/>
              <c:showPercent val="0"/>
              <c:showBubbleSize val="0"/>
            </c:dLbl>
            <c:dLbl>
              <c:idx val="2"/>
              <c:tx>
                <c:rich>
                  <a:bodyPr/>
                  <a:lstStyle/>
                  <a:p>
                    <a:r>
                      <a:t>15.57</a:t>
                    </a:r>
                  </a:p>
                </c:rich>
              </c:tx>
              <c:dLblPos val="t"/>
              <c:showLegendKey val="0"/>
              <c:showVal val="1"/>
              <c:showCatName val="0"/>
              <c:showSerName val="0"/>
              <c:showPercent val="0"/>
              <c:showBubbleSize val="0"/>
            </c:dLbl>
            <c:dLbl>
              <c:idx val="3"/>
              <c:tx>
                <c:rich>
                  <a:bodyPr/>
                  <a:lstStyle/>
                  <a:p>
                    <a:r>
                      <a:t>17.01</a:t>
                    </a:r>
                  </a:p>
                </c:rich>
              </c:tx>
              <c:dLblPos val="t"/>
              <c:showLegendKey val="0"/>
              <c:showVal val="1"/>
              <c:showCatName val="0"/>
              <c:showSerName val="0"/>
              <c:showPercent val="0"/>
              <c:showBubbleSize val="0"/>
            </c:dLbl>
            <c:dLbl>
              <c:idx val="4"/>
              <c:tx>
                <c:rich>
                  <a:bodyPr/>
                  <a:lstStyle/>
                  <a:p>
                    <a:r>
                      <a:t>11.97</a:t>
                    </a:r>
                  </a:p>
                </c:rich>
              </c:tx>
              <c:dLblPos val="t"/>
              <c:showLegendKey val="0"/>
              <c:showVal val="1"/>
              <c:showCatName val="0"/>
              <c:showSerName val="0"/>
              <c:showPercent val="0"/>
              <c:showBubbleSize val="0"/>
            </c:dLbl>
            <c:dLbl>
              <c:idx val="5"/>
              <c:tx>
                <c:rich>
                  <a:bodyPr/>
                  <a:lstStyle/>
                  <a:p>
                    <a:r>
                      <a:t>20.83</a:t>
                    </a:r>
                  </a:p>
                </c:rich>
              </c:tx>
              <c:dLblPos val="t"/>
              <c:showLegendKey val="0"/>
              <c:showVal val="1"/>
              <c:showCatName val="0"/>
              <c:showSerName val="0"/>
              <c:showPercent val="0"/>
              <c:showBubbleSize val="0"/>
            </c:dLbl>
            <c:dLbl>
              <c:idx val="6"/>
              <c:tx>
                <c:rich>
                  <a:bodyPr/>
                  <a:lstStyle/>
                  <a:p>
                    <a:r>
                      <a:t>12.83</a:t>
                    </a:r>
                  </a:p>
                </c:rich>
              </c:tx>
              <c:dLblPos val="t"/>
              <c:showLegendKey val="0"/>
              <c:showVal val="1"/>
              <c:showCatName val="0"/>
              <c:showSerName val="0"/>
              <c:showPercent val="0"/>
              <c:showBubbleSize val="0"/>
            </c:dLbl>
            <c:dLbl>
              <c:idx val="7"/>
              <c:tx>
                <c:rich>
                  <a:bodyPr/>
                  <a:lstStyle/>
                  <a:p>
                    <a:r>
                      <a:t>52.07</a:t>
                    </a:r>
                  </a:p>
                </c:rich>
              </c:tx>
              <c:dLblPos val="t"/>
              <c:showLegendKey val="0"/>
              <c:showVal val="1"/>
              <c:showCatName val="0"/>
              <c:showSerName val="0"/>
              <c:showPercent val="0"/>
              <c:showBubbleSize val="0"/>
            </c:dLbl>
            <c:dLbl>
              <c:idx val="8"/>
              <c:tx>
                <c:rich>
                  <a:bodyPr/>
                  <a:lstStyle/>
                  <a:p>
                    <a:r>
                      <a:t>46.61</a:t>
                    </a:r>
                  </a:p>
                </c:rich>
              </c:tx>
              <c:dLblPos val="t"/>
              <c:showLegendKey val="0"/>
              <c:showVal val="1"/>
              <c:showCatName val="0"/>
              <c:showSerName val="0"/>
              <c:showPercent val="0"/>
              <c:showBubbleSize val="0"/>
            </c:dLbl>
            <c:dLbl>
              <c:idx val="9"/>
              <c:tx>
                <c:rich>
                  <a:bodyPr/>
                  <a:lstStyle/>
                  <a:p>
                    <a:r>
                      <a:t>74.97</a:t>
                    </a:r>
                  </a:p>
                </c:rich>
              </c:tx>
              <c:dLblPos val="t"/>
              <c:showLegendKey val="0"/>
              <c:showVal val="1"/>
              <c:showCatName val="0"/>
              <c:showSerName val="0"/>
              <c:showPercent val="0"/>
              <c:showBubbleSize val="0"/>
            </c:dLbl>
            <c:dLbl>
              <c:idx val="10"/>
              <c:tx>
                <c:rich>
                  <a:bodyPr/>
                  <a:lstStyle/>
                  <a:p>
                    <a:r>
                      <a:t>14.11</a:t>
                    </a:r>
                  </a:p>
                </c:rich>
              </c:tx>
              <c:dLblPos val="t"/>
              <c:showLegendKey val="0"/>
              <c:showVal val="1"/>
              <c:showCatName val="0"/>
              <c:showSerName val="0"/>
              <c:showPercent val="0"/>
              <c:showBubbleSize val="0"/>
            </c:dLbl>
            <c:dLbl>
              <c:idx val="11"/>
              <c:tx>
                <c:rich>
                  <a:bodyPr/>
                  <a:lstStyle/>
                  <a:p>
                    <a:r>
                      <a:t>162.98</a:t>
                    </a:r>
                  </a:p>
                </c:rich>
              </c:tx>
              <c:dLblPos val="t"/>
              <c:showLegendKey val="0"/>
              <c:showVal val="1"/>
              <c:showCatName val="0"/>
              <c:showSerName val="0"/>
              <c:showPercent val="0"/>
              <c:showBubbleSize val="0"/>
            </c:dLbl>
            <c:dLbl>
              <c:idx val="12"/>
              <c:tx>
                <c:rich>
                  <a:bodyPr/>
                  <a:lstStyle/>
                  <a:p>
                    <a:r>
                      <a:t>93.41</a:t>
                    </a:r>
                  </a:p>
                </c:rich>
              </c:tx>
              <c:dLblPos val="t"/>
              <c:showLegendKey val="0"/>
              <c:showVal val="1"/>
              <c:showCatName val="0"/>
              <c:showSerName val="0"/>
              <c:showPercent val="0"/>
              <c:showBubbleSize val="0"/>
            </c:dLbl>
            <c:dLbl>
              <c:idx val="13"/>
              <c:tx>
                <c:rich>
                  <a:bodyPr/>
                  <a:lstStyle/>
                  <a:p>
                    <a:r>
                      <a:t>44.26</a:t>
                    </a:r>
                  </a:p>
                </c:rich>
              </c:tx>
              <c:dLblPos val="t"/>
              <c:showLegendKey val="0"/>
              <c:showVal val="1"/>
              <c:showCatName val="0"/>
              <c:showSerName val="0"/>
              <c:showPercent val="0"/>
              <c:showBubbleSize val="0"/>
            </c:dLbl>
            <c:dLbl>
              <c:idx val="14"/>
              <c:tx>
                <c:rich>
                  <a:bodyPr/>
                  <a:lstStyle/>
                  <a:p>
                    <a:r>
                      <a:t>40.03</a:t>
                    </a:r>
                  </a:p>
                </c:rich>
              </c:tx>
              <c:dLblPos val="t"/>
              <c:showLegendKey val="0"/>
              <c:showVal val="1"/>
              <c:showCatName val="0"/>
              <c:showSerName val="0"/>
              <c:showPercent val="0"/>
              <c:showBubbleSize val="0"/>
            </c:dLbl>
            <c:dLbl>
              <c:idx val="15"/>
              <c:tx>
                <c:rich>
                  <a:bodyPr/>
                  <a:lstStyle/>
                  <a:p>
                    <a:r>
                      <a:t>47.92</a:t>
                    </a:r>
                  </a:p>
                </c:rich>
              </c:tx>
              <c:dLblPos val="t"/>
              <c:showLegendKey val="0"/>
              <c:showVal val="1"/>
              <c:showCatName val="0"/>
              <c:showSerName val="0"/>
              <c:showPercent val="0"/>
              <c:showBubbleSize val="0"/>
            </c:dLbl>
            <c:dLbl>
              <c:idx val="16"/>
              <c:tx>
                <c:rich>
                  <a:bodyPr/>
                  <a:lstStyle/>
                  <a:p>
                    <a:r>
                      <a:t>59.3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C$2:$C$18</c:f>
              <c:numCache>
                <c:formatCode>General</c:formatCode>
                <c:ptCount val="17"/>
                <c:pt idx="0">
                  <c:v>23.0249</c:v>
                </c:pt>
                <c:pt idx="1">
                  <c:v>12.7565</c:v>
                </c:pt>
                <c:pt idx="2">
                  <c:v>15.5694</c:v>
                </c:pt>
                <c:pt idx="3">
                  <c:v>17.0125</c:v>
                </c:pt>
                <c:pt idx="4">
                  <c:v>11.9715</c:v>
                </c:pt>
                <c:pt idx="5">
                  <c:v>20.8316</c:v>
                </c:pt>
                <c:pt idx="6">
                  <c:v>12.8261</c:v>
                </c:pt>
                <c:pt idx="7">
                  <c:v>52.0747</c:v>
                </c:pt>
                <c:pt idx="8">
                  <c:v>46.6062</c:v>
                </c:pt>
                <c:pt idx="9">
                  <c:v>74.9685</c:v>
                </c:pt>
                <c:pt idx="10">
                  <c:v>14.1081</c:v>
                </c:pt>
                <c:pt idx="11">
                  <c:v>162.9813</c:v>
                </c:pt>
                <c:pt idx="12">
                  <c:v>93.4063</c:v>
                </c:pt>
                <c:pt idx="13">
                  <c:v>44.2559</c:v>
                </c:pt>
                <c:pt idx="14">
                  <c:v>40.0255</c:v>
                </c:pt>
                <c:pt idx="15">
                  <c:v>47.9184</c:v>
                </c:pt>
                <c:pt idx="16">
                  <c:v>59.35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87</a:t>
                    </a:r>
                  </a:p>
                </c:rich>
              </c:tx>
              <c:dLblPos val="ctr"/>
              <c:showLegendKey val="0"/>
              <c:showVal val="1"/>
              <c:showCatName val="0"/>
              <c:showSerName val="0"/>
              <c:showPercent val="0"/>
              <c:showBubbleSize val="0"/>
            </c:dLbl>
            <c:dLbl>
              <c:idx val="1"/>
              <c:tx>
                <c:rich>
                  <a:bodyPr/>
                  <a:lstStyle/>
                  <a:p>
                    <a:r>
                      <a:t>105</a:t>
                    </a:r>
                  </a:p>
                </c:rich>
              </c:tx>
              <c:dLblPos val="ctr"/>
              <c:showLegendKey val="0"/>
              <c:showVal val="1"/>
              <c:showCatName val="0"/>
              <c:showSerName val="0"/>
              <c:showPercent val="0"/>
              <c:showBubbleSize val="0"/>
            </c:dLbl>
            <c:dLbl>
              <c:idx val="2"/>
              <c:tx>
                <c:rich>
                  <a:bodyPr/>
                  <a:lstStyle/>
                  <a:p>
                    <a:r>
                      <a:t>101</a:t>
                    </a:r>
                  </a:p>
                </c:rich>
              </c:tx>
              <c:dLblPos val="ctr"/>
              <c:showLegendKey val="0"/>
              <c:showVal val="1"/>
              <c:showCatName val="0"/>
              <c:showSerName val="0"/>
              <c:showPercent val="0"/>
              <c:showBubbleSize val="0"/>
            </c:dLbl>
            <c:dLbl>
              <c:idx val="3"/>
              <c:tx>
                <c:rich>
                  <a:bodyPr/>
                  <a:lstStyle/>
                  <a:p>
                    <a:r>
                      <a:t>86</a:t>
                    </a:r>
                  </a:p>
                </c:rich>
              </c:tx>
              <c:dLblPos val="ctr"/>
              <c:showLegendKey val="0"/>
              <c:showVal val="1"/>
              <c:showCatName val="0"/>
              <c:showSerName val="0"/>
              <c:showPercent val="0"/>
              <c:showBubbleSize val="0"/>
            </c:dLbl>
            <c:dLbl>
              <c:idx val="4"/>
              <c:tx>
                <c:rich>
                  <a:bodyPr/>
                  <a:lstStyle/>
                  <a:p>
                    <a:r>
                      <a:t>89</a:t>
                    </a:r>
                  </a:p>
                </c:rich>
              </c:tx>
              <c:dLblPos val="ctr"/>
              <c:showLegendKey val="0"/>
              <c:showVal val="1"/>
              <c:showCatName val="0"/>
              <c:showSerName val="0"/>
              <c:showPercent val="0"/>
              <c:showBubbleSize val="0"/>
            </c:dLbl>
            <c:dLbl>
              <c:idx val="5"/>
              <c:tx>
                <c:rich>
                  <a:bodyPr/>
                  <a:lstStyle/>
                  <a:p>
                    <a:r>
                      <a:t>94</a:t>
                    </a:r>
                  </a:p>
                </c:rich>
              </c:tx>
              <c:dLblPos val="ctr"/>
              <c:showLegendKey val="0"/>
              <c:showVal val="1"/>
              <c:showCatName val="0"/>
              <c:showSerName val="0"/>
              <c:showPercent val="0"/>
              <c:showBubbleSize val="0"/>
            </c:dLbl>
            <c:dLbl>
              <c:idx val="6"/>
              <c:tx>
                <c:rich>
                  <a:bodyPr/>
                  <a:lstStyle/>
                  <a:p>
                    <a:r>
                      <a:t>201</a:t>
                    </a:r>
                  </a:p>
                </c:rich>
              </c:tx>
              <c:dLblPos val="ctr"/>
              <c:showLegendKey val="0"/>
              <c:showVal val="1"/>
              <c:showCatName val="0"/>
              <c:showSerName val="0"/>
              <c:showPercent val="0"/>
              <c:showBubbleSize val="0"/>
            </c:dLbl>
            <c:dLbl>
              <c:idx val="7"/>
              <c:tx>
                <c:rich>
                  <a:bodyPr/>
                  <a:lstStyle/>
                  <a:p>
                    <a:r>
                      <a:t>87</a:t>
                    </a:r>
                  </a:p>
                </c:rich>
              </c:tx>
              <c:dLblPos val="ctr"/>
              <c:showLegendKey val="0"/>
              <c:showVal val="1"/>
              <c:showCatName val="0"/>
              <c:showSerName val="0"/>
              <c:showPercent val="0"/>
              <c:showBubbleSize val="0"/>
            </c:dLbl>
            <c:dLbl>
              <c:idx val="8"/>
              <c:tx>
                <c:rich>
                  <a:bodyPr/>
                  <a:lstStyle/>
                  <a:p>
                    <a:r>
                      <a:t>76</a:t>
                    </a:r>
                  </a:p>
                </c:rich>
              </c:tx>
              <c:dLblPos val="ctr"/>
              <c:showLegendKey val="0"/>
              <c:showVal val="1"/>
              <c:showCatName val="0"/>
              <c:showSerName val="0"/>
              <c:showPercent val="0"/>
              <c:showBubbleSize val="0"/>
            </c:dLbl>
            <c:dLbl>
              <c:idx val="9"/>
              <c:tx>
                <c:rich>
                  <a:bodyPr/>
                  <a:lstStyle/>
                  <a:p>
                    <a:r>
                      <a:t>80</a:t>
                    </a:r>
                  </a:p>
                </c:rich>
              </c:tx>
              <c:dLblPos val="ctr"/>
              <c:showLegendKey val="0"/>
              <c:showVal val="1"/>
              <c:showCatName val="0"/>
              <c:showSerName val="0"/>
              <c:showPercent val="0"/>
              <c:showBubbleSize val="0"/>
            </c:dLbl>
            <c:dLbl>
              <c:idx val="10"/>
              <c:tx>
                <c:rich>
                  <a:bodyPr/>
                  <a:lstStyle/>
                  <a:p>
                    <a:r>
                      <a:t>44</a:t>
                    </a:r>
                  </a:p>
                </c:rich>
              </c:tx>
              <c:dLblPos val="ctr"/>
              <c:showLegendKey val="0"/>
              <c:showVal val="1"/>
              <c:showCatName val="0"/>
              <c:showSerName val="0"/>
              <c:showPercent val="0"/>
              <c:showBubbleSize val="0"/>
            </c:dLbl>
            <c:dLbl>
              <c:idx val="11"/>
              <c:tx>
                <c:rich>
                  <a:bodyPr/>
                  <a:lstStyle/>
                  <a:p>
                    <a:r>
                      <a:t>89</a:t>
                    </a:r>
                  </a:p>
                </c:rich>
              </c:tx>
              <c:dLblPos val="ctr"/>
              <c:showLegendKey val="0"/>
              <c:showVal val="1"/>
              <c:showCatName val="0"/>
              <c:showSerName val="0"/>
              <c:showPercent val="0"/>
              <c:showBubbleSize val="0"/>
            </c:dLbl>
            <c:dLbl>
              <c:idx val="12"/>
              <c:tx>
                <c:rich>
                  <a:bodyPr/>
                  <a:lstStyle/>
                  <a:p>
                    <a:r>
                      <a:t>76</a:t>
                    </a:r>
                  </a:p>
                </c:rich>
              </c:tx>
              <c:dLblPos val="ctr"/>
              <c:showLegendKey val="0"/>
              <c:showVal val="1"/>
              <c:showCatName val="0"/>
              <c:showSerName val="0"/>
              <c:showPercent val="0"/>
              <c:showBubbleSize val="0"/>
            </c:dLbl>
            <c:dLbl>
              <c:idx val="13"/>
              <c:tx>
                <c:rich>
                  <a:bodyPr/>
                  <a:lstStyle/>
                  <a:p>
                    <a:r>
                      <a:t>99</a:t>
                    </a:r>
                  </a:p>
                </c:rich>
              </c:tx>
              <c:dLblPos val="ctr"/>
              <c:showLegendKey val="0"/>
              <c:showVal val="1"/>
              <c:showCatName val="0"/>
              <c:showSerName val="0"/>
              <c:showPercent val="0"/>
              <c:showBubbleSize val="0"/>
            </c:dLbl>
            <c:dLbl>
              <c:idx val="14"/>
              <c:tx>
                <c:rich>
                  <a:bodyPr/>
                  <a:lstStyle/>
                  <a:p>
                    <a:r>
                      <a:t>85</a:t>
                    </a:r>
                  </a:p>
                </c:rich>
              </c:tx>
              <c:dLblPos val="ctr"/>
              <c:showLegendKey val="0"/>
              <c:showVal val="1"/>
              <c:showCatName val="0"/>
              <c:showSerName val="0"/>
              <c:showPercent val="0"/>
              <c:showBubbleSize val="0"/>
            </c:dLbl>
            <c:dLbl>
              <c:idx val="15"/>
              <c:tx>
                <c:rich>
                  <a:bodyPr/>
                  <a:lstStyle/>
                  <a:p>
                    <a:r>
                      <a:t>97</a:t>
                    </a:r>
                  </a:p>
                </c:rich>
              </c:tx>
              <c:dLblPos val="ctr"/>
              <c:showLegendKey val="0"/>
              <c:showVal val="1"/>
              <c:showCatName val="0"/>
              <c:showSerName val="0"/>
              <c:showPercent val="0"/>
              <c:showBubbleSize val="0"/>
            </c:dLbl>
            <c:dLbl>
              <c:idx val="16"/>
              <c:tx>
                <c:rich>
                  <a:bodyPr/>
                  <a:lstStyle/>
                  <a:p>
                    <a:r>
                      <a:t>91</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1.8748362322114298</c:v>
                </c:pt>
                <c:pt idx="1">
                  <c:v>1.0546915364832778</c:v>
                </c:pt>
                <c:pt idx="2">
                  <c:v>1.00772764117806</c:v>
                </c:pt>
                <c:pt idx="3">
                  <c:v>0.8583364518531418</c:v>
                </c:pt>
                <c:pt idx="4">
                  <c:v>0.8927990422950715</c:v>
                </c:pt>
                <c:pt idx="5">
                  <c:v>0.9400815763773195</c:v>
                </c:pt>
                <c:pt idx="6">
                  <c:v>2.006802721088435</c:v>
                </c:pt>
                <c:pt idx="7">
                  <c:v>0.8686684676202538</c:v>
                </c:pt>
                <c:pt idx="8">
                  <c:v>0.7561019005256773</c:v>
                </c:pt>
                <c:pt idx="9">
                  <c:v>0.7950093373631427</c:v>
                </c:pt>
                <c:pt idx="10">
                  <c:v>0.437985272754596</c:v>
                </c:pt>
                <c:pt idx="11">
                  <c:v>0.8883542678474288</c:v>
                </c:pt>
                <c:pt idx="12">
                  <c:v>0.7553466545193573</c:v>
                </c:pt>
                <c:pt idx="13">
                  <c:v>0.9912553934277397</c:v>
                </c:pt>
                <c:pt idx="14">
                  <c:v>0.8490811428843658</c:v>
                </c:pt>
                <c:pt idx="15">
                  <c:v>0.9727057710501419</c:v>
                </c:pt>
                <c:pt idx="16">
                  <c:v>0.910182642766791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ffervescents Sans Alcool</c:v>
                </c:pt>
                <c:pt idx="1">
                  <c:v>Mousseux Autres</c:v>
                </c:pt>
                <c:pt idx="2">
                  <c:v>Mousseux Val De Loire</c:v>
                </c:pt>
                <c:pt idx="3">
                  <c:v>Mousseux Bourgogne</c:v>
                </c:pt>
                <c:pt idx="4">
                  <c:v>Mousseux Italiens</c:v>
                </c:pt>
                <c:pt idx="5">
                  <c:v>Mousseux Alsace</c:v>
                </c:pt>
                <c:pt idx="6">
                  <c:v>Bruts</c:v>
                </c:pt>
                <c:pt idx="7">
                  <c:v>Demi-Secs</c:v>
                </c:pt>
                <c:pt idx="8">
                  <c:v>Rosés</c:v>
                </c:pt>
                <c:pt idx="9">
                  <c:v>Mousseux Bordelais</c:v>
                </c:pt>
                <c:pt idx="10">
                  <c:v>Millesimes</c:v>
                </c:pt>
                <c:pt idx="11">
                  <c:v>Blanc De Blancs</c:v>
                </c:pt>
                <c:pt idx="12">
                  <c:v>Extra Brut</c:v>
                </c:pt>
                <c:pt idx="13">
                  <c:v>Crus</c:v>
                </c:pt>
                <c:pt idx="14">
                  <c:v>Blanc De Noirs</c:v>
                </c:pt>
                <c:pt idx="15">
                  <c:v>Brut Nature</c:v>
                </c:pt>
              </c:strCache>
            </c:strRef>
          </c:cat>
          <c:val>
            <c:numRef>
              <c:f>Sheet1!$B$2:$B$17</c:f>
              <c:numCache>
                <c:formatCode>General</c:formatCode>
                <c:ptCount val="16"/>
                <c:pt idx="0">
                  <c:v>0.013036</c:v>
                </c:pt>
                <c:pt idx="1">
                  <c:v>0.017933</c:v>
                </c:pt>
                <c:pt idx="2">
                  <c:v>0.012451</c:v>
                </c:pt>
                <c:pt idx="3">
                  <c:v>0.009355</c:v>
                </c:pt>
                <c:pt idx="4">
                  <c:v>0.040775</c:v>
                </c:pt>
                <c:pt idx="5">
                  <c:v>0.021953</c:v>
                </c:pt>
                <c:pt idx="6">
                  <c:v>0.682318</c:v>
                </c:pt>
                <c:pt idx="7">
                  <c:v>0.004659</c:v>
                </c:pt>
                <c:pt idx="8">
                  <c:v>0.091766</c:v>
                </c:pt>
                <c:pt idx="9">
                  <c:v>0.000638</c:v>
                </c:pt>
                <c:pt idx="10">
                  <c:v>0.058681</c:v>
                </c:pt>
                <c:pt idx="11">
                  <c:v>0.192695</c:v>
                </c:pt>
                <c:pt idx="12">
                  <c:v>0.034303</c:v>
                </c:pt>
                <c:pt idx="13">
                  <c:v>0.032974</c:v>
                </c:pt>
                <c:pt idx="14">
                  <c:v>0.006721</c:v>
                </c:pt>
                <c:pt idx="15">
                  <c:v>0.00273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2</a:t>
                    </a:r>
                  </a:p>
                </c:rich>
              </c:tx>
              <c:dLblPos val="t"/>
              <c:showLegendKey val="0"/>
              <c:showVal val="1"/>
              <c:showCatName val="0"/>
              <c:showSerName val="0"/>
              <c:showPercent val="0"/>
              <c:showBubbleSize val="0"/>
            </c:dLbl>
            <c:dLbl>
              <c:idx val="1"/>
              <c:tx>
                <c:rich>
                  <a:bodyPr/>
                  <a:lstStyle/>
                  <a:p>
                    <a:r>
                      <a:t>14.50</a:t>
                    </a:r>
                  </a:p>
                </c:rich>
              </c:tx>
              <c:dLblPos val="t"/>
              <c:showLegendKey val="0"/>
              <c:showVal val="1"/>
              <c:showCatName val="0"/>
              <c:showSerName val="0"/>
              <c:showPercent val="0"/>
              <c:showBubbleSize val="0"/>
            </c:dLbl>
            <c:dLbl>
              <c:idx val="2"/>
              <c:tx>
                <c:rich>
                  <a:bodyPr/>
                  <a:lstStyle/>
                  <a:p>
                    <a:r>
                      <a:t>15.88</a:t>
                    </a:r>
                  </a:p>
                </c:rich>
              </c:tx>
              <c:dLblPos val="t"/>
              <c:showLegendKey val="0"/>
              <c:showVal val="1"/>
              <c:showCatName val="0"/>
              <c:showSerName val="0"/>
              <c:showPercent val="0"/>
              <c:showBubbleSize val="0"/>
            </c:dLbl>
            <c:dLbl>
              <c:idx val="3"/>
              <c:tx>
                <c:rich>
                  <a:bodyPr/>
                  <a:lstStyle/>
                  <a:p>
                    <a:r>
                      <a:t>17.04</a:t>
                    </a:r>
                  </a:p>
                </c:rich>
              </c:tx>
              <c:dLblPos val="t"/>
              <c:showLegendKey val="0"/>
              <c:showVal val="1"/>
              <c:showCatName val="0"/>
              <c:showSerName val="0"/>
              <c:showPercent val="0"/>
              <c:showBubbleSize val="0"/>
            </c:dLbl>
            <c:dLbl>
              <c:idx val="4"/>
              <c:tx>
                <c:rich>
                  <a:bodyPr/>
                  <a:lstStyle/>
                  <a:p>
                    <a:r>
                      <a:t>11.21</a:t>
                    </a:r>
                  </a:p>
                </c:rich>
              </c:tx>
              <c:dLblPos val="t"/>
              <c:showLegendKey val="0"/>
              <c:showVal val="1"/>
              <c:showCatName val="0"/>
              <c:showSerName val="0"/>
              <c:showPercent val="0"/>
              <c:showBubbleSize val="0"/>
            </c:dLbl>
            <c:dLbl>
              <c:idx val="5"/>
              <c:tx>
                <c:rich>
                  <a:bodyPr/>
                  <a:lstStyle/>
                  <a:p>
                    <a:r>
                      <a:t>16.77</a:t>
                    </a:r>
                  </a:p>
                </c:rich>
              </c:tx>
              <c:dLblPos val="t"/>
              <c:showLegendKey val="0"/>
              <c:showVal val="1"/>
              <c:showCatName val="0"/>
              <c:showSerName val="0"/>
              <c:showPercent val="0"/>
              <c:showBubbleSize val="0"/>
            </c:dLbl>
            <c:dLbl>
              <c:idx val="6"/>
              <c:tx>
                <c:rich>
                  <a:bodyPr/>
                  <a:lstStyle/>
                  <a:p>
                    <a:r>
                      <a:t>54.44</a:t>
                    </a:r>
                  </a:p>
                </c:rich>
              </c:tx>
              <c:dLblPos val="t"/>
              <c:showLegendKey val="0"/>
              <c:showVal val="1"/>
              <c:showCatName val="0"/>
              <c:showSerName val="0"/>
              <c:showPercent val="0"/>
              <c:showBubbleSize val="0"/>
            </c:dLbl>
            <c:dLbl>
              <c:idx val="7"/>
              <c:tx>
                <c:rich>
                  <a:bodyPr/>
                  <a:lstStyle/>
                  <a:p>
                    <a:r>
                      <a:t>45.68</a:t>
                    </a:r>
                  </a:p>
                </c:rich>
              </c:tx>
              <c:dLblPos val="t"/>
              <c:showLegendKey val="0"/>
              <c:showVal val="1"/>
              <c:showCatName val="0"/>
              <c:showSerName val="0"/>
              <c:showPercent val="0"/>
              <c:showBubbleSize val="0"/>
            </c:dLbl>
            <c:dLbl>
              <c:idx val="8"/>
              <c:tx>
                <c:rich>
                  <a:bodyPr/>
                  <a:lstStyle/>
                  <a:p>
                    <a:r>
                      <a:t>79.11</a:t>
                    </a:r>
                  </a:p>
                </c:rich>
              </c:tx>
              <c:dLblPos val="t"/>
              <c:showLegendKey val="0"/>
              <c:showVal val="1"/>
              <c:showCatName val="0"/>
              <c:showSerName val="0"/>
              <c:showPercent val="0"/>
              <c:showBubbleSize val="0"/>
            </c:dLbl>
            <c:dLbl>
              <c:idx val="9"/>
              <c:tx>
                <c:rich>
                  <a:bodyPr/>
                  <a:lstStyle/>
                  <a:p>
                    <a:r>
                      <a:t>13.57</a:t>
                    </a:r>
                  </a:p>
                </c:rich>
              </c:tx>
              <c:dLblPos val="t"/>
              <c:showLegendKey val="0"/>
              <c:showVal val="1"/>
              <c:showCatName val="0"/>
              <c:showSerName val="0"/>
              <c:showPercent val="0"/>
              <c:showBubbleSize val="0"/>
            </c:dLbl>
            <c:dLbl>
              <c:idx val="10"/>
              <c:tx>
                <c:rich>
                  <a:bodyPr/>
                  <a:lstStyle/>
                  <a:p>
                    <a:r>
                      <a:t>215.74</a:t>
                    </a:r>
                  </a:p>
                </c:rich>
              </c:tx>
              <c:dLblPos val="t"/>
              <c:showLegendKey val="0"/>
              <c:showVal val="1"/>
              <c:showCatName val="0"/>
              <c:showSerName val="0"/>
              <c:showPercent val="0"/>
              <c:showBubbleSize val="0"/>
            </c:dLbl>
            <c:dLbl>
              <c:idx val="11"/>
              <c:tx>
                <c:rich>
                  <a:bodyPr/>
                  <a:lstStyle/>
                  <a:p>
                    <a:r>
                      <a:t>101.37</a:t>
                    </a:r>
                  </a:p>
                </c:rich>
              </c:tx>
              <c:dLblPos val="t"/>
              <c:showLegendKey val="0"/>
              <c:showVal val="1"/>
              <c:showCatName val="0"/>
              <c:showSerName val="0"/>
              <c:showPercent val="0"/>
              <c:showBubbleSize val="0"/>
            </c:dLbl>
            <c:dLbl>
              <c:idx val="12"/>
              <c:tx>
                <c:rich>
                  <a:bodyPr/>
                  <a:lstStyle/>
                  <a:p>
                    <a:r>
                      <a:t>44.61</a:t>
                    </a:r>
                  </a:p>
                </c:rich>
              </c:tx>
              <c:dLblPos val="t"/>
              <c:showLegendKey val="0"/>
              <c:showVal val="1"/>
              <c:showCatName val="0"/>
              <c:showSerName val="0"/>
              <c:showPercent val="0"/>
              <c:showBubbleSize val="0"/>
            </c:dLbl>
            <c:dLbl>
              <c:idx val="13"/>
              <c:tx>
                <c:rich>
                  <a:bodyPr/>
                  <a:lstStyle/>
                  <a:p>
                    <a:r>
                      <a:t>39.78</a:t>
                    </a:r>
                  </a:p>
                </c:rich>
              </c:tx>
              <c:dLblPos val="t"/>
              <c:showLegendKey val="0"/>
              <c:showVal val="1"/>
              <c:showCatName val="0"/>
              <c:showSerName val="0"/>
              <c:showPercent val="0"/>
              <c:showBubbleSize val="0"/>
            </c:dLbl>
            <c:dLbl>
              <c:idx val="14"/>
              <c:tx>
                <c:rich>
                  <a:bodyPr/>
                  <a:lstStyle/>
                  <a:p>
                    <a:r>
                      <a:t>48.70</a:t>
                    </a:r>
                  </a:p>
                </c:rich>
              </c:tx>
              <c:dLblPos val="t"/>
              <c:showLegendKey val="0"/>
              <c:showVal val="1"/>
              <c:showCatName val="0"/>
              <c:showSerName val="0"/>
              <c:showPercent val="0"/>
              <c:showBubbleSize val="0"/>
            </c:dLbl>
            <c:dLbl>
              <c:idx val="15"/>
              <c:tx>
                <c:rich>
                  <a:bodyPr/>
                  <a:lstStyle/>
                  <a:p>
                    <a:r>
                      <a:t>55.78</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ffervescents Sans Alcool</c:v>
                </c:pt>
                <c:pt idx="1">
                  <c:v>Mousseux Autres</c:v>
                </c:pt>
                <c:pt idx="2">
                  <c:v>Mousseux Val De Loire</c:v>
                </c:pt>
                <c:pt idx="3">
                  <c:v>Mousseux Bourgogne</c:v>
                </c:pt>
                <c:pt idx="4">
                  <c:v>Mousseux Italiens</c:v>
                </c:pt>
                <c:pt idx="5">
                  <c:v>Mousseux Alsace</c:v>
                </c:pt>
                <c:pt idx="6">
                  <c:v>Bruts</c:v>
                </c:pt>
                <c:pt idx="7">
                  <c:v>Demi-Secs</c:v>
                </c:pt>
                <c:pt idx="8">
                  <c:v>Rosés</c:v>
                </c:pt>
                <c:pt idx="9">
                  <c:v>Mousseux Bordelais</c:v>
                </c:pt>
                <c:pt idx="10">
                  <c:v>Millesimes</c:v>
                </c:pt>
                <c:pt idx="11">
                  <c:v>Blanc De Blancs</c:v>
                </c:pt>
                <c:pt idx="12">
                  <c:v>Extra Brut</c:v>
                </c:pt>
                <c:pt idx="13">
                  <c:v>Crus</c:v>
                </c:pt>
                <c:pt idx="14">
                  <c:v>Blanc De Noirs</c:v>
                </c:pt>
                <c:pt idx="15">
                  <c:v>Brut Nature</c:v>
                </c:pt>
              </c:strCache>
            </c:strRef>
          </c:cat>
          <c:val>
            <c:numRef>
              <c:f>Sheet1!$C$2:$C$17</c:f>
              <c:numCache>
                <c:formatCode>General</c:formatCode>
                <c:ptCount val="16"/>
                <c:pt idx="0">
                  <c:v>25.0211</c:v>
                </c:pt>
                <c:pt idx="1">
                  <c:v>14.4972</c:v>
                </c:pt>
                <c:pt idx="2">
                  <c:v>15.8814</c:v>
                </c:pt>
                <c:pt idx="3">
                  <c:v>17.0401</c:v>
                </c:pt>
                <c:pt idx="4">
                  <c:v>11.205</c:v>
                </c:pt>
                <c:pt idx="5">
                  <c:v>16.7708</c:v>
                </c:pt>
                <c:pt idx="6">
                  <c:v>54.4374</c:v>
                </c:pt>
                <c:pt idx="7">
                  <c:v>45.6765</c:v>
                </c:pt>
                <c:pt idx="8">
                  <c:v>79.1086</c:v>
                </c:pt>
                <c:pt idx="9">
                  <c:v>13.5745</c:v>
                </c:pt>
                <c:pt idx="10">
                  <c:v>215.739</c:v>
                </c:pt>
                <c:pt idx="11">
                  <c:v>101.3651</c:v>
                </c:pt>
                <c:pt idx="12">
                  <c:v>44.6073</c:v>
                </c:pt>
                <c:pt idx="13">
                  <c:v>39.7756</c:v>
                </c:pt>
                <c:pt idx="14">
                  <c:v>48.7029</c:v>
                </c:pt>
                <c:pt idx="15">
                  <c:v>55.77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06</a:t>
                    </a:r>
                  </a:p>
                </c:rich>
              </c:tx>
              <c:dLblPos val="ctr"/>
              <c:showLegendKey val="0"/>
              <c:showVal val="1"/>
              <c:showCatName val="0"/>
              <c:showSerName val="0"/>
              <c:showPercent val="0"/>
              <c:showBubbleSize val="0"/>
            </c:dLbl>
            <c:dLbl>
              <c:idx val="1"/>
              <c:tx>
                <c:rich>
                  <a:bodyPr/>
                  <a:lstStyle/>
                  <a:p>
                    <a:r>
                      <a:t>68</a:t>
                    </a:r>
                  </a:p>
                </c:rich>
              </c:tx>
              <c:dLblPos val="ctr"/>
              <c:showLegendKey val="0"/>
              <c:showVal val="1"/>
              <c:showCatName val="0"/>
              <c:showSerName val="0"/>
              <c:showPercent val="0"/>
              <c:showBubbleSize val="0"/>
            </c:dLbl>
            <c:dLbl>
              <c:idx val="2"/>
              <c:tx>
                <c:rich>
                  <a:bodyPr/>
                  <a:lstStyle/>
                  <a:p>
                    <a:r>
                      <a:t>77</a:t>
                    </a:r>
                  </a:p>
                </c:rich>
              </c:tx>
              <c:dLblPos val="ctr"/>
              <c:showLegendKey val="0"/>
              <c:showVal val="1"/>
              <c:showCatName val="0"/>
              <c:showSerName val="0"/>
              <c:showPercent val="0"/>
              <c:showBubbleSize val="0"/>
            </c:dLbl>
            <c:dLbl>
              <c:idx val="3"/>
              <c:tx>
                <c:rich>
                  <a:bodyPr/>
                  <a:lstStyle/>
                  <a:p>
                    <a:r>
                      <a:t>97</a:t>
                    </a:r>
                  </a:p>
                </c:rich>
              </c:tx>
              <c:dLblPos val="ctr"/>
              <c:showLegendKey val="0"/>
              <c:showVal val="1"/>
              <c:showCatName val="0"/>
              <c:showSerName val="0"/>
              <c:showPercent val="0"/>
              <c:showBubbleSize val="0"/>
            </c:dLbl>
            <c:dLbl>
              <c:idx val="4"/>
              <c:tx>
                <c:rich>
                  <a:bodyPr/>
                  <a:lstStyle/>
                  <a:p>
                    <a:r>
                      <a:t>84</a:t>
                    </a:r>
                  </a:p>
                </c:rich>
              </c:tx>
              <c:dLblPos val="ctr"/>
              <c:showLegendKey val="0"/>
              <c:showVal val="1"/>
              <c:showCatName val="0"/>
              <c:showSerName val="0"/>
              <c:showPercent val="0"/>
              <c:showBubbleSize val="0"/>
            </c:dLbl>
            <c:dLbl>
              <c:idx val="5"/>
              <c:tx>
                <c:rich>
                  <a:bodyPr/>
                  <a:lstStyle/>
                  <a:p>
                    <a:r>
                      <a:t>89</a:t>
                    </a:r>
                  </a:p>
                </c:rich>
              </c:tx>
              <c:dLblPos val="ctr"/>
              <c:showLegendKey val="0"/>
              <c:showVal val="1"/>
              <c:showCatName val="0"/>
              <c:showSerName val="0"/>
              <c:showPercent val="0"/>
              <c:showBubbleSize val="0"/>
            </c:dLbl>
            <c:dLbl>
              <c:idx val="6"/>
              <c:tx>
                <c:rich>
                  <a:bodyPr/>
                  <a:lstStyle/>
                  <a:p>
                    <a:r>
                      <a:t>87</a:t>
                    </a:r>
                  </a:p>
                </c:rich>
              </c:tx>
              <c:dLblPos val="ctr"/>
              <c:showLegendKey val="0"/>
              <c:showVal val="1"/>
              <c:showCatName val="0"/>
              <c:showSerName val="0"/>
              <c:showPercent val="0"/>
              <c:showBubbleSize val="0"/>
            </c:dLbl>
            <c:dLbl>
              <c:idx val="7"/>
              <c:tx>
                <c:rich>
                  <a:bodyPr/>
                  <a:lstStyle/>
                  <a:p>
                    <a:r>
                      <a:t>76</a:t>
                    </a:r>
                  </a:p>
                </c:rich>
              </c:tx>
              <c:dLblPos val="ctr"/>
              <c:showLegendKey val="0"/>
              <c:showVal val="1"/>
              <c:showCatName val="0"/>
              <c:showSerName val="0"/>
              <c:showPercent val="0"/>
              <c:showBubbleSize val="0"/>
            </c:dLbl>
            <c:dLbl>
              <c:idx val="8"/>
              <c:tx>
                <c:rich>
                  <a:bodyPr/>
                  <a:lstStyle/>
                  <a:p>
                    <a:r>
                      <a:t>84</a:t>
                    </a:r>
                  </a:p>
                </c:rich>
              </c:tx>
              <c:dLblPos val="ctr"/>
              <c:showLegendKey val="0"/>
              <c:showVal val="1"/>
              <c:showCatName val="0"/>
              <c:showSerName val="0"/>
              <c:showPercent val="0"/>
              <c:showBubbleSize val="0"/>
            </c:dLbl>
            <c:dLbl>
              <c:idx val="9"/>
              <c:tx>
                <c:rich>
                  <a:bodyPr/>
                  <a:lstStyle/>
                  <a:p>
                    <a:r>
                      <a:t>29</a:t>
                    </a:r>
                  </a:p>
                </c:rich>
              </c:tx>
              <c:dLblPos val="ctr"/>
              <c:showLegendKey val="0"/>
              <c:showVal val="1"/>
              <c:showCatName val="0"/>
              <c:showSerName val="0"/>
              <c:showPercent val="0"/>
              <c:showBubbleSize val="0"/>
            </c:dLbl>
            <c:dLbl>
              <c:idx val="10"/>
              <c:tx>
                <c:rich>
                  <a:bodyPr/>
                  <a:lstStyle/>
                  <a:p>
                    <a:r>
                      <a:t>82</a:t>
                    </a:r>
                  </a:p>
                </c:rich>
              </c:tx>
              <c:dLblPos val="ctr"/>
              <c:showLegendKey val="0"/>
              <c:showVal val="1"/>
              <c:showCatName val="0"/>
              <c:showSerName val="0"/>
              <c:showPercent val="0"/>
              <c:showBubbleSize val="0"/>
            </c:dLbl>
            <c:dLbl>
              <c:idx val="11"/>
              <c:tx>
                <c:rich>
                  <a:bodyPr/>
                  <a:lstStyle/>
                  <a:p>
                    <a:r>
                      <a:t>85</a:t>
                    </a:r>
                  </a:p>
                </c:rich>
              </c:tx>
              <c:dLblPos val="ctr"/>
              <c:showLegendKey val="0"/>
              <c:showVal val="1"/>
              <c:showCatName val="0"/>
              <c:showSerName val="0"/>
              <c:showPercent val="0"/>
              <c:showBubbleSize val="0"/>
            </c:dLbl>
            <c:dLbl>
              <c:idx val="12"/>
              <c:tx>
                <c:rich>
                  <a:bodyPr/>
                  <a:lstStyle/>
                  <a:p>
                    <a:r>
                      <a:t>101</a:t>
                    </a:r>
                  </a:p>
                </c:rich>
              </c:tx>
              <c:dLblPos val="ctr"/>
              <c:showLegendKey val="0"/>
              <c:showVal val="1"/>
              <c:showCatName val="0"/>
              <c:showSerName val="0"/>
              <c:showPercent val="0"/>
              <c:showBubbleSize val="0"/>
            </c:dLbl>
            <c:dLbl>
              <c:idx val="13"/>
              <c:tx>
                <c:rich>
                  <a:bodyPr/>
                  <a:lstStyle/>
                  <a:p>
                    <a:r>
                      <a:t>92</a:t>
                    </a:r>
                  </a:p>
                </c:rich>
              </c:tx>
              <c:dLblPos val="ctr"/>
              <c:showLegendKey val="0"/>
              <c:showVal val="1"/>
              <c:showCatName val="0"/>
              <c:showSerName val="0"/>
              <c:showPercent val="0"/>
              <c:showBubbleSize val="0"/>
            </c:dLbl>
            <c:dLbl>
              <c:idx val="14"/>
              <c:tx>
                <c:rich>
                  <a:bodyPr/>
                  <a:lstStyle/>
                  <a:p>
                    <a:r>
                      <a:t>71</a:t>
                    </a:r>
                  </a:p>
                </c:rich>
              </c:tx>
              <c:dLblPos val="ctr"/>
              <c:showLegendKey val="0"/>
              <c:showVal val="1"/>
              <c:showCatName val="0"/>
              <c:showSerName val="0"/>
              <c:showPercent val="0"/>
              <c:showBubbleSize val="0"/>
            </c:dLbl>
            <c:dLbl>
              <c:idx val="15"/>
              <c:tx>
                <c:rich>
                  <a:bodyPr/>
                  <a:lstStyle/>
                  <a:p>
                    <a:r>
                      <a:t>111</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ffervescents Sans Alcool</c:v>
                </c:pt>
                <c:pt idx="1">
                  <c:v>Mousseux Autres</c:v>
                </c:pt>
                <c:pt idx="2">
                  <c:v>Mousseux Val De Loire</c:v>
                </c:pt>
                <c:pt idx="3">
                  <c:v>Mousseux Bourgogne</c:v>
                </c:pt>
                <c:pt idx="4">
                  <c:v>Mousseux Italiens</c:v>
                </c:pt>
                <c:pt idx="5">
                  <c:v>Mousseux Alsace</c:v>
                </c:pt>
                <c:pt idx="6">
                  <c:v>Bruts</c:v>
                </c:pt>
                <c:pt idx="7">
                  <c:v>Demi-Secs</c:v>
                </c:pt>
                <c:pt idx="8">
                  <c:v>Rosés</c:v>
                </c:pt>
                <c:pt idx="9">
                  <c:v>Mousseux Bordelais</c:v>
                </c:pt>
                <c:pt idx="10">
                  <c:v>Millesimes</c:v>
                </c:pt>
                <c:pt idx="11">
                  <c:v>Blanc De Blancs</c:v>
                </c:pt>
                <c:pt idx="12">
                  <c:v>Extra Brut</c:v>
                </c:pt>
                <c:pt idx="13">
                  <c:v>Crus</c:v>
                </c:pt>
                <c:pt idx="14">
                  <c:v>Blanc De Noirs</c:v>
                </c:pt>
                <c:pt idx="15">
                  <c:v>Brut Nature</c:v>
                </c:pt>
              </c:strCache>
            </c:strRef>
          </c:cat>
          <c:val>
            <c:numRef>
              <c:f>Sheet1!$B$2:$B$17</c:f>
              <c:numCache>
                <c:formatCode>General</c:formatCode>
                <c:ptCount val="16"/>
                <c:pt idx="0">
                  <c:v>2.057449494949495</c:v>
                </c:pt>
                <c:pt idx="1">
                  <c:v>0.6828497448785317</c:v>
                </c:pt>
                <c:pt idx="2">
                  <c:v>0.7729699528184752</c:v>
                </c:pt>
                <c:pt idx="3">
                  <c:v>0.9677252508534189</c:v>
                </c:pt>
                <c:pt idx="4">
                  <c:v>0.8418846654140771</c:v>
                </c:pt>
                <c:pt idx="5">
                  <c:v>0.894106626481489</c:v>
                </c:pt>
                <c:pt idx="6">
                  <c:v>0.8670928945499</c:v>
                </c:pt>
                <c:pt idx="7">
                  <c:v>0.7605288932419196</c:v>
                </c:pt>
                <c:pt idx="8">
                  <c:v>0.8432747355749349</c:v>
                </c:pt>
                <c:pt idx="9">
                  <c:v>0.29119123687813786</c:v>
                </c:pt>
                <c:pt idx="10">
                  <c:v>0.8206099931477157</c:v>
                </c:pt>
                <c:pt idx="11">
                  <c:v>0.847868174418093</c:v>
                </c:pt>
                <c:pt idx="12">
                  <c:v>1.0097433180266102</c:v>
                </c:pt>
                <c:pt idx="13">
                  <c:v>0.9201105003208974</c:v>
                </c:pt>
                <c:pt idx="14">
                  <c:v>0.7085925144965736</c:v>
                </c:pt>
                <c:pt idx="15">
                  <c:v>1.110073111291632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ffervescents Sans Alcool</c:v>
                </c:pt>
                <c:pt idx="1">
                  <c:v>Mousseux Autres</c:v>
                </c:pt>
                <c:pt idx="2">
                  <c:v>Mousseux Val De Loire</c:v>
                </c:pt>
                <c:pt idx="3">
                  <c:v>Mousseux Bourgogne</c:v>
                </c:pt>
                <c:pt idx="4">
                  <c:v>Mousseux Italiens</c:v>
                </c:pt>
                <c:pt idx="5">
                  <c:v>Mousseux Alsace</c:v>
                </c:pt>
                <c:pt idx="6">
                  <c:v>Bruts</c:v>
                </c:pt>
                <c:pt idx="7">
                  <c:v>Demi-Secs</c:v>
                </c:pt>
                <c:pt idx="8">
                  <c:v>Rosés</c:v>
                </c:pt>
                <c:pt idx="9">
                  <c:v>Mousseux Bordelais</c:v>
                </c:pt>
                <c:pt idx="10">
                  <c:v>Millesimes</c:v>
                </c:pt>
                <c:pt idx="11">
                  <c:v>Blanc De Blancs</c:v>
                </c:pt>
                <c:pt idx="12">
                  <c:v>Extra Brut</c:v>
                </c:pt>
                <c:pt idx="13">
                  <c:v>Crus</c:v>
                </c:pt>
                <c:pt idx="14">
                  <c:v>Blanc De Noirs</c:v>
                </c:pt>
                <c:pt idx="15">
                  <c:v>Brut Nature</c:v>
                </c:pt>
              </c:strCache>
            </c:strRef>
          </c:cat>
          <c:val>
            <c:numRef>
              <c:f>Sheet1!$B$2:$B$17</c:f>
              <c:numCache>
                <c:formatCode>General</c:formatCode>
                <c:ptCount val="16"/>
                <c:pt idx="0">
                  <c:v>0.013036</c:v>
                </c:pt>
                <c:pt idx="1">
                  <c:v>0.017933</c:v>
                </c:pt>
                <c:pt idx="2">
                  <c:v>0.012451</c:v>
                </c:pt>
                <c:pt idx="3">
                  <c:v>0.009355</c:v>
                </c:pt>
                <c:pt idx="4">
                  <c:v>0.040775</c:v>
                </c:pt>
                <c:pt idx="5">
                  <c:v>0.021953</c:v>
                </c:pt>
                <c:pt idx="6">
                  <c:v>0.682318</c:v>
                </c:pt>
                <c:pt idx="7">
                  <c:v>0.004659</c:v>
                </c:pt>
                <c:pt idx="8">
                  <c:v>0.091766</c:v>
                </c:pt>
                <c:pt idx="9">
                  <c:v>0.000638</c:v>
                </c:pt>
                <c:pt idx="10">
                  <c:v>0.058681</c:v>
                </c:pt>
                <c:pt idx="11">
                  <c:v>0.192695</c:v>
                </c:pt>
                <c:pt idx="12">
                  <c:v>0.034303</c:v>
                </c:pt>
                <c:pt idx="13">
                  <c:v>0.032974</c:v>
                </c:pt>
                <c:pt idx="14">
                  <c:v>0.006721</c:v>
                </c:pt>
                <c:pt idx="15">
                  <c:v>0.00273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2</a:t>
                    </a:r>
                  </a:p>
                </c:rich>
              </c:tx>
              <c:dLblPos val="t"/>
              <c:showLegendKey val="0"/>
              <c:showVal val="1"/>
              <c:showCatName val="0"/>
              <c:showSerName val="0"/>
              <c:showPercent val="0"/>
              <c:showBubbleSize val="0"/>
            </c:dLbl>
            <c:dLbl>
              <c:idx val="1"/>
              <c:tx>
                <c:rich>
                  <a:bodyPr/>
                  <a:lstStyle/>
                  <a:p>
                    <a:r>
                      <a:t>14.50</a:t>
                    </a:r>
                  </a:p>
                </c:rich>
              </c:tx>
              <c:dLblPos val="t"/>
              <c:showLegendKey val="0"/>
              <c:showVal val="1"/>
              <c:showCatName val="0"/>
              <c:showSerName val="0"/>
              <c:showPercent val="0"/>
              <c:showBubbleSize val="0"/>
            </c:dLbl>
            <c:dLbl>
              <c:idx val="2"/>
              <c:tx>
                <c:rich>
                  <a:bodyPr/>
                  <a:lstStyle/>
                  <a:p>
                    <a:r>
                      <a:t>15.88</a:t>
                    </a:r>
                  </a:p>
                </c:rich>
              </c:tx>
              <c:dLblPos val="t"/>
              <c:showLegendKey val="0"/>
              <c:showVal val="1"/>
              <c:showCatName val="0"/>
              <c:showSerName val="0"/>
              <c:showPercent val="0"/>
              <c:showBubbleSize val="0"/>
            </c:dLbl>
            <c:dLbl>
              <c:idx val="3"/>
              <c:tx>
                <c:rich>
                  <a:bodyPr/>
                  <a:lstStyle/>
                  <a:p>
                    <a:r>
                      <a:t>17.04</a:t>
                    </a:r>
                  </a:p>
                </c:rich>
              </c:tx>
              <c:dLblPos val="t"/>
              <c:showLegendKey val="0"/>
              <c:showVal val="1"/>
              <c:showCatName val="0"/>
              <c:showSerName val="0"/>
              <c:showPercent val="0"/>
              <c:showBubbleSize val="0"/>
            </c:dLbl>
            <c:dLbl>
              <c:idx val="4"/>
              <c:tx>
                <c:rich>
                  <a:bodyPr/>
                  <a:lstStyle/>
                  <a:p>
                    <a:r>
                      <a:t>11.21</a:t>
                    </a:r>
                  </a:p>
                </c:rich>
              </c:tx>
              <c:dLblPos val="t"/>
              <c:showLegendKey val="0"/>
              <c:showVal val="1"/>
              <c:showCatName val="0"/>
              <c:showSerName val="0"/>
              <c:showPercent val="0"/>
              <c:showBubbleSize val="0"/>
            </c:dLbl>
            <c:dLbl>
              <c:idx val="5"/>
              <c:tx>
                <c:rich>
                  <a:bodyPr/>
                  <a:lstStyle/>
                  <a:p>
                    <a:r>
                      <a:t>16.77</a:t>
                    </a:r>
                  </a:p>
                </c:rich>
              </c:tx>
              <c:dLblPos val="t"/>
              <c:showLegendKey val="0"/>
              <c:showVal val="1"/>
              <c:showCatName val="0"/>
              <c:showSerName val="0"/>
              <c:showPercent val="0"/>
              <c:showBubbleSize val="0"/>
            </c:dLbl>
            <c:dLbl>
              <c:idx val="6"/>
              <c:tx>
                <c:rich>
                  <a:bodyPr/>
                  <a:lstStyle/>
                  <a:p>
                    <a:r>
                      <a:t>54.44</a:t>
                    </a:r>
                  </a:p>
                </c:rich>
              </c:tx>
              <c:dLblPos val="t"/>
              <c:showLegendKey val="0"/>
              <c:showVal val="1"/>
              <c:showCatName val="0"/>
              <c:showSerName val="0"/>
              <c:showPercent val="0"/>
              <c:showBubbleSize val="0"/>
            </c:dLbl>
            <c:dLbl>
              <c:idx val="7"/>
              <c:tx>
                <c:rich>
                  <a:bodyPr/>
                  <a:lstStyle/>
                  <a:p>
                    <a:r>
                      <a:t>45.68</a:t>
                    </a:r>
                  </a:p>
                </c:rich>
              </c:tx>
              <c:dLblPos val="t"/>
              <c:showLegendKey val="0"/>
              <c:showVal val="1"/>
              <c:showCatName val="0"/>
              <c:showSerName val="0"/>
              <c:showPercent val="0"/>
              <c:showBubbleSize val="0"/>
            </c:dLbl>
            <c:dLbl>
              <c:idx val="8"/>
              <c:tx>
                <c:rich>
                  <a:bodyPr/>
                  <a:lstStyle/>
                  <a:p>
                    <a:r>
                      <a:t>79.11</a:t>
                    </a:r>
                  </a:p>
                </c:rich>
              </c:tx>
              <c:dLblPos val="t"/>
              <c:showLegendKey val="0"/>
              <c:showVal val="1"/>
              <c:showCatName val="0"/>
              <c:showSerName val="0"/>
              <c:showPercent val="0"/>
              <c:showBubbleSize val="0"/>
            </c:dLbl>
            <c:dLbl>
              <c:idx val="9"/>
              <c:tx>
                <c:rich>
                  <a:bodyPr/>
                  <a:lstStyle/>
                  <a:p>
                    <a:r>
                      <a:t>13.57</a:t>
                    </a:r>
                  </a:p>
                </c:rich>
              </c:tx>
              <c:dLblPos val="t"/>
              <c:showLegendKey val="0"/>
              <c:showVal val="1"/>
              <c:showCatName val="0"/>
              <c:showSerName val="0"/>
              <c:showPercent val="0"/>
              <c:showBubbleSize val="0"/>
            </c:dLbl>
            <c:dLbl>
              <c:idx val="10"/>
              <c:tx>
                <c:rich>
                  <a:bodyPr/>
                  <a:lstStyle/>
                  <a:p>
                    <a:r>
                      <a:t>215.74</a:t>
                    </a:r>
                  </a:p>
                </c:rich>
              </c:tx>
              <c:dLblPos val="t"/>
              <c:showLegendKey val="0"/>
              <c:showVal val="1"/>
              <c:showCatName val="0"/>
              <c:showSerName val="0"/>
              <c:showPercent val="0"/>
              <c:showBubbleSize val="0"/>
            </c:dLbl>
            <c:dLbl>
              <c:idx val="11"/>
              <c:tx>
                <c:rich>
                  <a:bodyPr/>
                  <a:lstStyle/>
                  <a:p>
                    <a:r>
                      <a:t>101.37</a:t>
                    </a:r>
                  </a:p>
                </c:rich>
              </c:tx>
              <c:dLblPos val="t"/>
              <c:showLegendKey val="0"/>
              <c:showVal val="1"/>
              <c:showCatName val="0"/>
              <c:showSerName val="0"/>
              <c:showPercent val="0"/>
              <c:showBubbleSize val="0"/>
            </c:dLbl>
            <c:dLbl>
              <c:idx val="12"/>
              <c:tx>
                <c:rich>
                  <a:bodyPr/>
                  <a:lstStyle/>
                  <a:p>
                    <a:r>
                      <a:t>44.61</a:t>
                    </a:r>
                  </a:p>
                </c:rich>
              </c:tx>
              <c:dLblPos val="t"/>
              <c:showLegendKey val="0"/>
              <c:showVal val="1"/>
              <c:showCatName val="0"/>
              <c:showSerName val="0"/>
              <c:showPercent val="0"/>
              <c:showBubbleSize val="0"/>
            </c:dLbl>
            <c:dLbl>
              <c:idx val="13"/>
              <c:tx>
                <c:rich>
                  <a:bodyPr/>
                  <a:lstStyle/>
                  <a:p>
                    <a:r>
                      <a:t>39.78</a:t>
                    </a:r>
                  </a:p>
                </c:rich>
              </c:tx>
              <c:dLblPos val="t"/>
              <c:showLegendKey val="0"/>
              <c:showVal val="1"/>
              <c:showCatName val="0"/>
              <c:showSerName val="0"/>
              <c:showPercent val="0"/>
              <c:showBubbleSize val="0"/>
            </c:dLbl>
            <c:dLbl>
              <c:idx val="14"/>
              <c:tx>
                <c:rich>
                  <a:bodyPr/>
                  <a:lstStyle/>
                  <a:p>
                    <a:r>
                      <a:t>48.70</a:t>
                    </a:r>
                  </a:p>
                </c:rich>
              </c:tx>
              <c:dLblPos val="t"/>
              <c:showLegendKey val="0"/>
              <c:showVal val="1"/>
              <c:showCatName val="0"/>
              <c:showSerName val="0"/>
              <c:showPercent val="0"/>
              <c:showBubbleSize val="0"/>
            </c:dLbl>
            <c:dLbl>
              <c:idx val="15"/>
              <c:tx>
                <c:rich>
                  <a:bodyPr/>
                  <a:lstStyle/>
                  <a:p>
                    <a:r>
                      <a:t>55.78</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ffervescents Sans Alcool</c:v>
                </c:pt>
                <c:pt idx="1">
                  <c:v>Mousseux Autres</c:v>
                </c:pt>
                <c:pt idx="2">
                  <c:v>Mousseux Val De Loire</c:v>
                </c:pt>
                <c:pt idx="3">
                  <c:v>Mousseux Bourgogne</c:v>
                </c:pt>
                <c:pt idx="4">
                  <c:v>Mousseux Italiens</c:v>
                </c:pt>
                <c:pt idx="5">
                  <c:v>Mousseux Alsace</c:v>
                </c:pt>
                <c:pt idx="6">
                  <c:v>Bruts</c:v>
                </c:pt>
                <c:pt idx="7">
                  <c:v>Demi-Secs</c:v>
                </c:pt>
                <c:pt idx="8">
                  <c:v>Rosés</c:v>
                </c:pt>
                <c:pt idx="9">
                  <c:v>Mousseux Bordelais</c:v>
                </c:pt>
                <c:pt idx="10">
                  <c:v>Millesimes</c:v>
                </c:pt>
                <c:pt idx="11">
                  <c:v>Blanc De Blancs</c:v>
                </c:pt>
                <c:pt idx="12">
                  <c:v>Extra Brut</c:v>
                </c:pt>
                <c:pt idx="13">
                  <c:v>Crus</c:v>
                </c:pt>
                <c:pt idx="14">
                  <c:v>Blanc De Noirs</c:v>
                </c:pt>
                <c:pt idx="15">
                  <c:v>Brut Nature</c:v>
                </c:pt>
              </c:strCache>
            </c:strRef>
          </c:cat>
          <c:val>
            <c:numRef>
              <c:f>Sheet1!$C$2:$C$17</c:f>
              <c:numCache>
                <c:formatCode>General</c:formatCode>
                <c:ptCount val="16"/>
                <c:pt idx="0">
                  <c:v>25.0211</c:v>
                </c:pt>
                <c:pt idx="1">
                  <c:v>14.4972</c:v>
                </c:pt>
                <c:pt idx="2">
                  <c:v>15.8814</c:v>
                </c:pt>
                <c:pt idx="3">
                  <c:v>17.0401</c:v>
                </c:pt>
                <c:pt idx="4">
                  <c:v>11.205</c:v>
                </c:pt>
                <c:pt idx="5">
                  <c:v>16.7708</c:v>
                </c:pt>
                <c:pt idx="6">
                  <c:v>54.4374</c:v>
                </c:pt>
                <c:pt idx="7">
                  <c:v>45.6765</c:v>
                </c:pt>
                <c:pt idx="8">
                  <c:v>79.1086</c:v>
                </c:pt>
                <c:pt idx="9">
                  <c:v>13.5745</c:v>
                </c:pt>
                <c:pt idx="10">
                  <c:v>215.739</c:v>
                </c:pt>
                <c:pt idx="11">
                  <c:v>101.3651</c:v>
                </c:pt>
                <c:pt idx="12">
                  <c:v>44.6073</c:v>
                </c:pt>
                <c:pt idx="13">
                  <c:v>39.7756</c:v>
                </c:pt>
                <c:pt idx="14">
                  <c:v>48.7029</c:v>
                </c:pt>
                <c:pt idx="15">
                  <c:v>55.77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06</a:t>
                    </a:r>
                  </a:p>
                </c:rich>
              </c:tx>
              <c:dLblPos val="ctr"/>
              <c:showLegendKey val="0"/>
              <c:showVal val="1"/>
              <c:showCatName val="0"/>
              <c:showSerName val="0"/>
              <c:showPercent val="0"/>
              <c:showBubbleSize val="0"/>
            </c:dLbl>
            <c:dLbl>
              <c:idx val="1"/>
              <c:tx>
                <c:rich>
                  <a:bodyPr/>
                  <a:lstStyle/>
                  <a:p>
                    <a:r>
                      <a:t>68</a:t>
                    </a:r>
                  </a:p>
                </c:rich>
              </c:tx>
              <c:dLblPos val="ctr"/>
              <c:showLegendKey val="0"/>
              <c:showVal val="1"/>
              <c:showCatName val="0"/>
              <c:showSerName val="0"/>
              <c:showPercent val="0"/>
              <c:showBubbleSize val="0"/>
            </c:dLbl>
            <c:dLbl>
              <c:idx val="2"/>
              <c:tx>
                <c:rich>
                  <a:bodyPr/>
                  <a:lstStyle/>
                  <a:p>
                    <a:r>
                      <a:t>77</a:t>
                    </a:r>
                  </a:p>
                </c:rich>
              </c:tx>
              <c:dLblPos val="ctr"/>
              <c:showLegendKey val="0"/>
              <c:showVal val="1"/>
              <c:showCatName val="0"/>
              <c:showSerName val="0"/>
              <c:showPercent val="0"/>
              <c:showBubbleSize val="0"/>
            </c:dLbl>
            <c:dLbl>
              <c:idx val="3"/>
              <c:tx>
                <c:rich>
                  <a:bodyPr/>
                  <a:lstStyle/>
                  <a:p>
                    <a:r>
                      <a:t>97</a:t>
                    </a:r>
                  </a:p>
                </c:rich>
              </c:tx>
              <c:dLblPos val="ctr"/>
              <c:showLegendKey val="0"/>
              <c:showVal val="1"/>
              <c:showCatName val="0"/>
              <c:showSerName val="0"/>
              <c:showPercent val="0"/>
              <c:showBubbleSize val="0"/>
            </c:dLbl>
            <c:dLbl>
              <c:idx val="4"/>
              <c:tx>
                <c:rich>
                  <a:bodyPr/>
                  <a:lstStyle/>
                  <a:p>
                    <a:r>
                      <a:t>84</a:t>
                    </a:r>
                  </a:p>
                </c:rich>
              </c:tx>
              <c:dLblPos val="ctr"/>
              <c:showLegendKey val="0"/>
              <c:showVal val="1"/>
              <c:showCatName val="0"/>
              <c:showSerName val="0"/>
              <c:showPercent val="0"/>
              <c:showBubbleSize val="0"/>
            </c:dLbl>
            <c:dLbl>
              <c:idx val="5"/>
              <c:tx>
                <c:rich>
                  <a:bodyPr/>
                  <a:lstStyle/>
                  <a:p>
                    <a:r>
                      <a:t>89</a:t>
                    </a:r>
                  </a:p>
                </c:rich>
              </c:tx>
              <c:dLblPos val="ctr"/>
              <c:showLegendKey val="0"/>
              <c:showVal val="1"/>
              <c:showCatName val="0"/>
              <c:showSerName val="0"/>
              <c:showPercent val="0"/>
              <c:showBubbleSize val="0"/>
            </c:dLbl>
            <c:dLbl>
              <c:idx val="6"/>
              <c:tx>
                <c:rich>
                  <a:bodyPr/>
                  <a:lstStyle/>
                  <a:p>
                    <a:r>
                      <a:t>87</a:t>
                    </a:r>
                  </a:p>
                </c:rich>
              </c:tx>
              <c:dLblPos val="ctr"/>
              <c:showLegendKey val="0"/>
              <c:showVal val="1"/>
              <c:showCatName val="0"/>
              <c:showSerName val="0"/>
              <c:showPercent val="0"/>
              <c:showBubbleSize val="0"/>
            </c:dLbl>
            <c:dLbl>
              <c:idx val="7"/>
              <c:tx>
                <c:rich>
                  <a:bodyPr/>
                  <a:lstStyle/>
                  <a:p>
                    <a:r>
                      <a:t>76</a:t>
                    </a:r>
                  </a:p>
                </c:rich>
              </c:tx>
              <c:dLblPos val="ctr"/>
              <c:showLegendKey val="0"/>
              <c:showVal val="1"/>
              <c:showCatName val="0"/>
              <c:showSerName val="0"/>
              <c:showPercent val="0"/>
              <c:showBubbleSize val="0"/>
            </c:dLbl>
            <c:dLbl>
              <c:idx val="8"/>
              <c:tx>
                <c:rich>
                  <a:bodyPr/>
                  <a:lstStyle/>
                  <a:p>
                    <a:r>
                      <a:t>84</a:t>
                    </a:r>
                  </a:p>
                </c:rich>
              </c:tx>
              <c:dLblPos val="ctr"/>
              <c:showLegendKey val="0"/>
              <c:showVal val="1"/>
              <c:showCatName val="0"/>
              <c:showSerName val="0"/>
              <c:showPercent val="0"/>
              <c:showBubbleSize val="0"/>
            </c:dLbl>
            <c:dLbl>
              <c:idx val="9"/>
              <c:tx>
                <c:rich>
                  <a:bodyPr/>
                  <a:lstStyle/>
                  <a:p>
                    <a:r>
                      <a:t>29</a:t>
                    </a:r>
                  </a:p>
                </c:rich>
              </c:tx>
              <c:dLblPos val="ctr"/>
              <c:showLegendKey val="0"/>
              <c:showVal val="1"/>
              <c:showCatName val="0"/>
              <c:showSerName val="0"/>
              <c:showPercent val="0"/>
              <c:showBubbleSize val="0"/>
            </c:dLbl>
            <c:dLbl>
              <c:idx val="10"/>
              <c:tx>
                <c:rich>
                  <a:bodyPr/>
                  <a:lstStyle/>
                  <a:p>
                    <a:r>
                      <a:t>82</a:t>
                    </a:r>
                  </a:p>
                </c:rich>
              </c:tx>
              <c:dLblPos val="ctr"/>
              <c:showLegendKey val="0"/>
              <c:showVal val="1"/>
              <c:showCatName val="0"/>
              <c:showSerName val="0"/>
              <c:showPercent val="0"/>
              <c:showBubbleSize val="0"/>
            </c:dLbl>
            <c:dLbl>
              <c:idx val="11"/>
              <c:tx>
                <c:rich>
                  <a:bodyPr/>
                  <a:lstStyle/>
                  <a:p>
                    <a:r>
                      <a:t>85</a:t>
                    </a:r>
                  </a:p>
                </c:rich>
              </c:tx>
              <c:dLblPos val="ctr"/>
              <c:showLegendKey val="0"/>
              <c:showVal val="1"/>
              <c:showCatName val="0"/>
              <c:showSerName val="0"/>
              <c:showPercent val="0"/>
              <c:showBubbleSize val="0"/>
            </c:dLbl>
            <c:dLbl>
              <c:idx val="12"/>
              <c:tx>
                <c:rich>
                  <a:bodyPr/>
                  <a:lstStyle/>
                  <a:p>
                    <a:r>
                      <a:t>101</a:t>
                    </a:r>
                  </a:p>
                </c:rich>
              </c:tx>
              <c:dLblPos val="ctr"/>
              <c:showLegendKey val="0"/>
              <c:showVal val="1"/>
              <c:showCatName val="0"/>
              <c:showSerName val="0"/>
              <c:showPercent val="0"/>
              <c:showBubbleSize val="0"/>
            </c:dLbl>
            <c:dLbl>
              <c:idx val="13"/>
              <c:tx>
                <c:rich>
                  <a:bodyPr/>
                  <a:lstStyle/>
                  <a:p>
                    <a:r>
                      <a:t>92</a:t>
                    </a:r>
                  </a:p>
                </c:rich>
              </c:tx>
              <c:dLblPos val="ctr"/>
              <c:showLegendKey val="0"/>
              <c:showVal val="1"/>
              <c:showCatName val="0"/>
              <c:showSerName val="0"/>
              <c:showPercent val="0"/>
              <c:showBubbleSize val="0"/>
            </c:dLbl>
            <c:dLbl>
              <c:idx val="14"/>
              <c:tx>
                <c:rich>
                  <a:bodyPr/>
                  <a:lstStyle/>
                  <a:p>
                    <a:r>
                      <a:t>71</a:t>
                    </a:r>
                  </a:p>
                </c:rich>
              </c:tx>
              <c:dLblPos val="ctr"/>
              <c:showLegendKey val="0"/>
              <c:showVal val="1"/>
              <c:showCatName val="0"/>
              <c:showSerName val="0"/>
              <c:showPercent val="0"/>
              <c:showBubbleSize val="0"/>
            </c:dLbl>
            <c:dLbl>
              <c:idx val="15"/>
              <c:tx>
                <c:rich>
                  <a:bodyPr/>
                  <a:lstStyle/>
                  <a:p>
                    <a:r>
                      <a:t>111</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ffervescents Sans Alcool</c:v>
                </c:pt>
                <c:pt idx="1">
                  <c:v>Mousseux Autres</c:v>
                </c:pt>
                <c:pt idx="2">
                  <c:v>Mousseux Val De Loire</c:v>
                </c:pt>
                <c:pt idx="3">
                  <c:v>Mousseux Bourgogne</c:v>
                </c:pt>
                <c:pt idx="4">
                  <c:v>Mousseux Italiens</c:v>
                </c:pt>
                <c:pt idx="5">
                  <c:v>Mousseux Alsace</c:v>
                </c:pt>
                <c:pt idx="6">
                  <c:v>Bruts</c:v>
                </c:pt>
                <c:pt idx="7">
                  <c:v>Demi-Secs</c:v>
                </c:pt>
                <c:pt idx="8">
                  <c:v>Rosés</c:v>
                </c:pt>
                <c:pt idx="9">
                  <c:v>Mousseux Bordelais</c:v>
                </c:pt>
                <c:pt idx="10">
                  <c:v>Millesimes</c:v>
                </c:pt>
                <c:pt idx="11">
                  <c:v>Blanc De Blancs</c:v>
                </c:pt>
                <c:pt idx="12">
                  <c:v>Extra Brut</c:v>
                </c:pt>
                <c:pt idx="13">
                  <c:v>Crus</c:v>
                </c:pt>
                <c:pt idx="14">
                  <c:v>Blanc De Noirs</c:v>
                </c:pt>
                <c:pt idx="15">
                  <c:v>Brut Nature</c:v>
                </c:pt>
              </c:strCache>
            </c:strRef>
          </c:cat>
          <c:val>
            <c:numRef>
              <c:f>Sheet1!$B$2:$B$17</c:f>
              <c:numCache>
                <c:formatCode>General</c:formatCode>
                <c:ptCount val="16"/>
                <c:pt idx="0">
                  <c:v>2.057449494949495</c:v>
                </c:pt>
                <c:pt idx="1">
                  <c:v>0.6828497448785317</c:v>
                </c:pt>
                <c:pt idx="2">
                  <c:v>0.7729699528184752</c:v>
                </c:pt>
                <c:pt idx="3">
                  <c:v>0.9677252508534189</c:v>
                </c:pt>
                <c:pt idx="4">
                  <c:v>0.8418846654140771</c:v>
                </c:pt>
                <c:pt idx="5">
                  <c:v>0.894106626481489</c:v>
                </c:pt>
                <c:pt idx="6">
                  <c:v>0.8670928945499</c:v>
                </c:pt>
                <c:pt idx="7">
                  <c:v>0.7605288932419196</c:v>
                </c:pt>
                <c:pt idx="8">
                  <c:v>0.8432747355749349</c:v>
                </c:pt>
                <c:pt idx="9">
                  <c:v>0.29119123687813786</c:v>
                </c:pt>
                <c:pt idx="10">
                  <c:v>0.8206099931477157</c:v>
                </c:pt>
                <c:pt idx="11">
                  <c:v>0.847868174418093</c:v>
                </c:pt>
                <c:pt idx="12">
                  <c:v>1.0097433180266102</c:v>
                </c:pt>
                <c:pt idx="13">
                  <c:v>0.9201105003208974</c:v>
                </c:pt>
                <c:pt idx="14">
                  <c:v>0.7085925144965736</c:v>
                </c:pt>
                <c:pt idx="15">
                  <c:v>1.110073111291632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0.039218</c:v>
                </c:pt>
                <c:pt idx="1">
                  <c:v>0.091519</c:v>
                </c:pt>
                <c:pt idx="2">
                  <c:v>0.028752</c:v>
                </c:pt>
                <c:pt idx="3">
                  <c:v>0.033731</c:v>
                </c:pt>
                <c:pt idx="4">
                  <c:v>0.129346</c:v>
                </c:pt>
                <c:pt idx="5">
                  <c:v>0.013997</c:v>
                </c:pt>
                <c:pt idx="6">
                  <c:v>4e-05</c:v>
                </c:pt>
                <c:pt idx="7">
                  <c:v>2.362997</c:v>
                </c:pt>
                <c:pt idx="8">
                  <c:v>0.01288</c:v>
                </c:pt>
                <c:pt idx="9">
                  <c:v>0.239411</c:v>
                </c:pt>
                <c:pt idx="10">
                  <c:v>0.002857</c:v>
                </c:pt>
                <c:pt idx="11">
                  <c:v>0.152485</c:v>
                </c:pt>
                <c:pt idx="12">
                  <c:v>0.43951</c:v>
                </c:pt>
                <c:pt idx="13">
                  <c:v>0.105193</c:v>
                </c:pt>
                <c:pt idx="14">
                  <c:v>0.143268</c:v>
                </c:pt>
                <c:pt idx="15">
                  <c:v>0.019697</c:v>
                </c:pt>
                <c:pt idx="16">
                  <c:v>0.01474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0</a:t>
                    </a:r>
                  </a:p>
                </c:rich>
              </c:tx>
              <c:dLblPos val="t"/>
              <c:showLegendKey val="0"/>
              <c:showVal val="1"/>
              <c:showCatName val="0"/>
              <c:showSerName val="0"/>
              <c:showPercent val="0"/>
              <c:showBubbleSize val="0"/>
            </c:dLbl>
            <c:dLbl>
              <c:idx val="1"/>
              <c:tx>
                <c:rich>
                  <a:bodyPr/>
                  <a:lstStyle/>
                  <a:p>
                    <a:r>
                      <a:t>15.16</a:t>
                    </a:r>
                  </a:p>
                </c:rich>
              </c:tx>
              <c:dLblPos val="t"/>
              <c:showLegendKey val="0"/>
              <c:showVal val="1"/>
              <c:showCatName val="0"/>
              <c:showSerName val="0"/>
              <c:showPercent val="0"/>
              <c:showBubbleSize val="0"/>
            </c:dLbl>
            <c:dLbl>
              <c:idx val="2"/>
              <c:tx>
                <c:rich>
                  <a:bodyPr/>
                  <a:lstStyle/>
                  <a:p>
                    <a:r>
                      <a:t>15.72</a:t>
                    </a:r>
                  </a:p>
                </c:rich>
              </c:tx>
              <c:dLblPos val="t"/>
              <c:showLegendKey val="0"/>
              <c:showVal val="1"/>
              <c:showCatName val="0"/>
              <c:showSerName val="0"/>
              <c:showPercent val="0"/>
              <c:showBubbleSize val="0"/>
            </c:dLbl>
            <c:dLbl>
              <c:idx val="3"/>
              <c:tx>
                <c:rich>
                  <a:bodyPr/>
                  <a:lstStyle/>
                  <a:p>
                    <a:r>
                      <a:t>16.86</a:t>
                    </a:r>
                  </a:p>
                </c:rich>
              </c:tx>
              <c:dLblPos val="t"/>
              <c:showLegendKey val="0"/>
              <c:showVal val="1"/>
              <c:showCatName val="0"/>
              <c:showSerName val="0"/>
              <c:showPercent val="0"/>
              <c:showBubbleSize val="0"/>
            </c:dLbl>
            <c:dLbl>
              <c:idx val="4"/>
              <c:tx>
                <c:rich>
                  <a:bodyPr/>
                  <a:lstStyle/>
                  <a:p>
                    <a:r>
                      <a:t>11.50</a:t>
                    </a:r>
                  </a:p>
                </c:rich>
              </c:tx>
              <c:dLblPos val="t"/>
              <c:showLegendKey val="0"/>
              <c:showVal val="1"/>
              <c:showCatName val="0"/>
              <c:showSerName val="0"/>
              <c:showPercent val="0"/>
              <c:showBubbleSize val="0"/>
            </c:dLbl>
            <c:dLbl>
              <c:idx val="5"/>
              <c:tx>
                <c:rich>
                  <a:bodyPr/>
                  <a:lstStyle/>
                  <a:p>
                    <a:r>
                      <a:t>23.25</a:t>
                    </a:r>
                  </a:p>
                </c:rich>
              </c:tx>
              <c:dLblPos val="t"/>
              <c:showLegendKey val="0"/>
              <c:showVal val="1"/>
              <c:showCatName val="0"/>
              <c:showSerName val="0"/>
              <c:showPercent val="0"/>
              <c:showBubbleSize val="0"/>
            </c:dLbl>
            <c:dLbl>
              <c:idx val="6"/>
              <c:tx>
                <c:rich>
                  <a:bodyPr/>
                  <a:lstStyle/>
                  <a:p>
                    <a:r>
                      <a:t>13.33</a:t>
                    </a:r>
                  </a:p>
                </c:rich>
              </c:tx>
              <c:dLblPos val="t"/>
              <c:showLegendKey val="0"/>
              <c:showVal val="1"/>
              <c:showCatName val="0"/>
              <c:showSerName val="0"/>
              <c:showPercent val="0"/>
              <c:showBubbleSize val="0"/>
            </c:dLbl>
            <c:dLbl>
              <c:idx val="7"/>
              <c:tx>
                <c:rich>
                  <a:bodyPr/>
                  <a:lstStyle/>
                  <a:p>
                    <a:r>
                      <a:t>53.69</a:t>
                    </a:r>
                  </a:p>
                </c:rich>
              </c:tx>
              <c:dLblPos val="t"/>
              <c:showLegendKey val="0"/>
              <c:showVal val="1"/>
              <c:showCatName val="0"/>
              <c:showSerName val="0"/>
              <c:showPercent val="0"/>
              <c:showBubbleSize val="0"/>
            </c:dLbl>
            <c:dLbl>
              <c:idx val="8"/>
              <c:tx>
                <c:rich>
                  <a:bodyPr/>
                  <a:lstStyle/>
                  <a:p>
                    <a:r>
                      <a:t>47.35</a:t>
                    </a:r>
                  </a:p>
                </c:rich>
              </c:tx>
              <c:dLblPos val="t"/>
              <c:showLegendKey val="0"/>
              <c:showVal val="1"/>
              <c:showCatName val="0"/>
              <c:showSerName val="0"/>
              <c:showPercent val="0"/>
              <c:showBubbleSize val="0"/>
            </c:dLbl>
            <c:dLbl>
              <c:idx val="9"/>
              <c:tx>
                <c:rich>
                  <a:bodyPr/>
                  <a:lstStyle/>
                  <a:p>
                    <a:r>
                      <a:t>73.64</a:t>
                    </a:r>
                  </a:p>
                </c:rich>
              </c:tx>
              <c:dLblPos val="t"/>
              <c:showLegendKey val="0"/>
              <c:showVal val="1"/>
              <c:showCatName val="0"/>
              <c:showSerName val="0"/>
              <c:showPercent val="0"/>
              <c:showBubbleSize val="0"/>
            </c:dLbl>
            <c:dLbl>
              <c:idx val="10"/>
              <c:tx>
                <c:rich>
                  <a:bodyPr/>
                  <a:lstStyle/>
                  <a:p>
                    <a:r>
                      <a:t>14.07</a:t>
                    </a:r>
                  </a:p>
                </c:rich>
              </c:tx>
              <c:dLblPos val="t"/>
              <c:showLegendKey val="0"/>
              <c:showVal val="1"/>
              <c:showCatName val="0"/>
              <c:showSerName val="0"/>
              <c:showPercent val="0"/>
              <c:showBubbleSize val="0"/>
            </c:dLbl>
            <c:dLbl>
              <c:idx val="11"/>
              <c:tx>
                <c:rich>
                  <a:bodyPr/>
                  <a:lstStyle/>
                  <a:p>
                    <a:r>
                      <a:t>187.10</a:t>
                    </a:r>
                  </a:p>
                </c:rich>
              </c:tx>
              <c:dLblPos val="t"/>
              <c:showLegendKey val="0"/>
              <c:showVal val="1"/>
              <c:showCatName val="0"/>
              <c:showSerName val="0"/>
              <c:showPercent val="0"/>
              <c:showBubbleSize val="0"/>
            </c:dLbl>
            <c:dLbl>
              <c:idx val="12"/>
              <c:tx>
                <c:rich>
                  <a:bodyPr/>
                  <a:lstStyle/>
                  <a:p>
                    <a:r>
                      <a:t>98.81</a:t>
                    </a:r>
                  </a:p>
                </c:rich>
              </c:tx>
              <c:dLblPos val="t"/>
              <c:showLegendKey val="0"/>
              <c:showVal val="1"/>
              <c:showCatName val="0"/>
              <c:showSerName val="0"/>
              <c:showPercent val="0"/>
              <c:showBubbleSize val="0"/>
            </c:dLbl>
            <c:dLbl>
              <c:idx val="13"/>
              <c:tx>
                <c:rich>
                  <a:bodyPr/>
                  <a:lstStyle/>
                  <a:p>
                    <a:r>
                      <a:t>44.31</a:t>
                    </a:r>
                  </a:p>
                </c:rich>
              </c:tx>
              <c:dLblPos val="t"/>
              <c:showLegendKey val="0"/>
              <c:showVal val="1"/>
              <c:showCatName val="0"/>
              <c:showSerName val="0"/>
              <c:showPercent val="0"/>
              <c:showBubbleSize val="0"/>
            </c:dLbl>
            <c:dLbl>
              <c:idx val="14"/>
              <c:tx>
                <c:rich>
                  <a:bodyPr/>
                  <a:lstStyle/>
                  <a:p>
                    <a:r>
                      <a:t>39.97</a:t>
                    </a:r>
                  </a:p>
                </c:rich>
              </c:tx>
              <c:dLblPos val="t"/>
              <c:showLegendKey val="0"/>
              <c:showVal val="1"/>
              <c:showCatName val="0"/>
              <c:showSerName val="0"/>
              <c:showPercent val="0"/>
              <c:showBubbleSize val="0"/>
            </c:dLbl>
            <c:dLbl>
              <c:idx val="15"/>
              <c:tx>
                <c:rich>
                  <a:bodyPr/>
                  <a:lstStyle/>
                  <a:p>
                    <a:r>
                      <a:t>49.00</a:t>
                    </a:r>
                  </a:p>
                </c:rich>
              </c:tx>
              <c:dLblPos val="t"/>
              <c:showLegendKey val="0"/>
              <c:showVal val="1"/>
              <c:showCatName val="0"/>
              <c:showSerName val="0"/>
              <c:showPercent val="0"/>
              <c:showBubbleSize val="0"/>
            </c:dLbl>
            <c:dLbl>
              <c:idx val="16"/>
              <c:tx>
                <c:rich>
                  <a:bodyPr/>
                  <a:lstStyle/>
                  <a:p>
                    <a:r>
                      <a:t>61.4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C$2:$C$18</c:f>
              <c:numCache>
                <c:formatCode>General</c:formatCode>
                <c:ptCount val="17"/>
                <c:pt idx="0">
                  <c:v>23.3024</c:v>
                </c:pt>
                <c:pt idx="1">
                  <c:v>15.1622</c:v>
                </c:pt>
                <c:pt idx="2">
                  <c:v>15.7201</c:v>
                </c:pt>
                <c:pt idx="3">
                  <c:v>16.8571</c:v>
                </c:pt>
                <c:pt idx="4">
                  <c:v>11.4984</c:v>
                </c:pt>
                <c:pt idx="5">
                  <c:v>23.2508</c:v>
                </c:pt>
                <c:pt idx="6">
                  <c:v>13.3333</c:v>
                </c:pt>
                <c:pt idx="7">
                  <c:v>53.6935</c:v>
                </c:pt>
                <c:pt idx="8">
                  <c:v>47.3529</c:v>
                </c:pt>
                <c:pt idx="9">
                  <c:v>73.6423</c:v>
                </c:pt>
                <c:pt idx="10">
                  <c:v>14.0739</c:v>
                </c:pt>
                <c:pt idx="11">
                  <c:v>187.0982</c:v>
                </c:pt>
                <c:pt idx="12">
                  <c:v>98.8107</c:v>
                </c:pt>
                <c:pt idx="13">
                  <c:v>44.3104</c:v>
                </c:pt>
                <c:pt idx="14">
                  <c:v>39.9743</c:v>
                </c:pt>
                <c:pt idx="15">
                  <c:v>48.9975</c:v>
                </c:pt>
                <c:pt idx="16">
                  <c:v>61.43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71</a:t>
                    </a:r>
                  </a:p>
                </c:rich>
              </c:tx>
              <c:dLblPos val="ctr"/>
              <c:showLegendKey val="0"/>
              <c:showVal val="1"/>
              <c:showCatName val="0"/>
              <c:showSerName val="0"/>
              <c:showPercent val="0"/>
              <c:showBubbleSize val="0"/>
            </c:dLbl>
            <c:dLbl>
              <c:idx val="1"/>
              <c:tx>
                <c:rich>
                  <a:bodyPr/>
                  <a:lstStyle/>
                  <a:p>
                    <a:r>
                      <a:t>79</a:t>
                    </a:r>
                  </a:p>
                </c:rich>
              </c:tx>
              <c:dLblPos val="ctr"/>
              <c:showLegendKey val="0"/>
              <c:showVal val="1"/>
              <c:showCatName val="0"/>
              <c:showSerName val="0"/>
              <c:showPercent val="0"/>
              <c:showBubbleSize val="0"/>
            </c:dLbl>
            <c:dLbl>
              <c:idx val="2"/>
              <c:tx>
                <c:rich>
                  <a:bodyPr/>
                  <a:lstStyle/>
                  <a:p>
                    <a:r>
                      <a:t>93</a:t>
                    </a:r>
                  </a:p>
                </c:rich>
              </c:tx>
              <c:dLblPos val="ctr"/>
              <c:showLegendKey val="0"/>
              <c:showVal val="1"/>
              <c:showCatName val="0"/>
              <c:showSerName val="0"/>
              <c:showPercent val="0"/>
              <c:showBubbleSize val="0"/>
            </c:dLbl>
            <c:dLbl>
              <c:idx val="3"/>
              <c:tx>
                <c:rich>
                  <a:bodyPr/>
                  <a:lstStyle/>
                  <a:p>
                    <a:r>
                      <a:t>85</a:t>
                    </a:r>
                  </a:p>
                </c:rich>
              </c:tx>
              <c:dLblPos val="ctr"/>
              <c:showLegendKey val="0"/>
              <c:showVal val="1"/>
              <c:showCatName val="0"/>
              <c:showSerName val="0"/>
              <c:showPercent val="0"/>
              <c:showBubbleSize val="0"/>
            </c:dLbl>
            <c:dLbl>
              <c:idx val="4"/>
              <c:tx>
                <c:rich>
                  <a:bodyPr/>
                  <a:lstStyle/>
                  <a:p>
                    <a:r>
                      <a:t>76</a:t>
                    </a:r>
                  </a:p>
                </c:rich>
              </c:tx>
              <c:dLblPos val="ctr"/>
              <c:showLegendKey val="0"/>
              <c:showVal val="1"/>
              <c:showCatName val="0"/>
              <c:showSerName val="0"/>
              <c:showPercent val="0"/>
              <c:showBubbleSize val="0"/>
            </c:dLbl>
            <c:dLbl>
              <c:idx val="5"/>
              <c:tx>
                <c:rich>
                  <a:bodyPr/>
                  <a:lstStyle/>
                  <a:p>
                    <a:r>
                      <a:t>82</a:t>
                    </a:r>
                  </a:p>
                </c:rich>
              </c:tx>
              <c:dLblPos val="ctr"/>
              <c:showLegendKey val="0"/>
              <c:showVal val="1"/>
              <c:showCatName val="0"/>
              <c:showSerName val="0"/>
              <c:showPercent val="0"/>
              <c:showBubbleSize val="0"/>
            </c:dLbl>
            <c:dLbl>
              <c:idx val="6"/>
              <c:tx>
                <c:rich>
                  <a:bodyPr/>
                  <a:lstStyle/>
                  <a:p>
                    <a:r>
                      <a:t>286</a:t>
                    </a:r>
                  </a:p>
                </c:rich>
              </c:tx>
              <c:dLblPos val="ctr"/>
              <c:showLegendKey val="0"/>
              <c:showVal val="1"/>
              <c:showCatName val="0"/>
              <c:showSerName val="0"/>
              <c:showPercent val="0"/>
              <c:showBubbleSize val="0"/>
            </c:dLbl>
            <c:dLbl>
              <c:idx val="7"/>
              <c:tx>
                <c:rich>
                  <a:bodyPr/>
                  <a:lstStyle/>
                  <a:p>
                    <a:r>
                      <a:t>88</a:t>
                    </a:r>
                  </a:p>
                </c:rich>
              </c:tx>
              <c:dLblPos val="ctr"/>
              <c:showLegendKey val="0"/>
              <c:showVal val="1"/>
              <c:showCatName val="0"/>
              <c:showSerName val="0"/>
              <c:showPercent val="0"/>
              <c:showBubbleSize val="0"/>
            </c:dLbl>
            <c:dLbl>
              <c:idx val="8"/>
              <c:tx>
                <c:rich>
                  <a:bodyPr/>
                  <a:lstStyle/>
                  <a:p>
                    <a:r>
                      <a:t>85</a:t>
                    </a:r>
                  </a:p>
                </c:rich>
              </c:tx>
              <c:dLblPos val="ctr"/>
              <c:showLegendKey val="0"/>
              <c:showVal val="1"/>
              <c:showCatName val="0"/>
              <c:showSerName val="0"/>
              <c:showPercent val="0"/>
              <c:showBubbleSize val="0"/>
            </c:dLbl>
            <c:dLbl>
              <c:idx val="9"/>
              <c:tx>
                <c:rich>
                  <a:bodyPr/>
                  <a:lstStyle/>
                  <a:p>
                    <a:r>
                      <a:t>74</a:t>
                    </a:r>
                  </a:p>
                </c:rich>
              </c:tx>
              <c:dLblPos val="ctr"/>
              <c:showLegendKey val="0"/>
              <c:showVal val="1"/>
              <c:showCatName val="0"/>
              <c:showSerName val="0"/>
              <c:showPercent val="0"/>
              <c:showBubbleSize val="0"/>
            </c:dLbl>
            <c:dLbl>
              <c:idx val="10"/>
              <c:tx>
                <c:rich>
                  <a:bodyPr/>
                  <a:lstStyle/>
                  <a:p>
                    <a:r>
                      <a:t>36</a:t>
                    </a:r>
                  </a:p>
                </c:rich>
              </c:tx>
              <c:dLblPos val="ctr"/>
              <c:showLegendKey val="0"/>
              <c:showVal val="1"/>
              <c:showCatName val="0"/>
              <c:showSerName val="0"/>
              <c:showPercent val="0"/>
              <c:showBubbleSize val="0"/>
            </c:dLbl>
            <c:dLbl>
              <c:idx val="11"/>
              <c:tx>
                <c:rich>
                  <a:bodyPr/>
                  <a:lstStyle/>
                  <a:p>
                    <a:r>
                      <a:t>89</a:t>
                    </a:r>
                  </a:p>
                </c:rich>
              </c:tx>
              <c:dLblPos val="ctr"/>
              <c:showLegendKey val="0"/>
              <c:showVal val="1"/>
              <c:showCatName val="0"/>
              <c:showSerName val="0"/>
              <c:showPercent val="0"/>
              <c:showBubbleSize val="0"/>
            </c:dLbl>
            <c:dLbl>
              <c:idx val="12"/>
              <c:tx>
                <c:rich>
                  <a:bodyPr/>
                  <a:lstStyle/>
                  <a:p>
                    <a:r>
                      <a:t>83</a:t>
                    </a:r>
                  </a:p>
                </c:rich>
              </c:tx>
              <c:dLblPos val="ctr"/>
              <c:showLegendKey val="0"/>
              <c:showVal val="1"/>
              <c:showCatName val="0"/>
              <c:showSerName val="0"/>
              <c:showPercent val="0"/>
              <c:showBubbleSize val="0"/>
            </c:dLbl>
            <c:dLbl>
              <c:idx val="13"/>
              <c:tx>
                <c:rich>
                  <a:bodyPr/>
                  <a:lstStyle/>
                  <a:p>
                    <a:r>
                      <a:t>95</a:t>
                    </a:r>
                  </a:p>
                </c:rich>
              </c:tx>
              <c:dLblPos val="ctr"/>
              <c:showLegendKey val="0"/>
              <c:showVal val="1"/>
              <c:showCatName val="0"/>
              <c:showSerName val="0"/>
              <c:showPercent val="0"/>
              <c:showBubbleSize val="0"/>
            </c:dLbl>
            <c:dLbl>
              <c:idx val="14"/>
              <c:tx>
                <c:rich>
                  <a:bodyPr/>
                  <a:lstStyle/>
                  <a:p>
                    <a:r>
                      <a:t>80</a:t>
                    </a:r>
                  </a:p>
                </c:rich>
              </c:tx>
              <c:dLblPos val="ctr"/>
              <c:showLegendKey val="0"/>
              <c:showVal val="1"/>
              <c:showCatName val="0"/>
              <c:showSerName val="0"/>
              <c:showPercent val="0"/>
              <c:showBubbleSize val="0"/>
            </c:dLbl>
            <c:dLbl>
              <c:idx val="15"/>
              <c:tx>
                <c:rich>
                  <a:bodyPr/>
                  <a:lstStyle/>
                  <a:p>
                    <a:r>
                      <a:t>84</a:t>
                    </a:r>
                  </a:p>
                </c:rich>
              </c:tx>
              <c:dLblPos val="ctr"/>
              <c:showLegendKey val="0"/>
              <c:showVal val="1"/>
              <c:showCatName val="0"/>
              <c:showSerName val="0"/>
              <c:showPercent val="0"/>
              <c:showBubbleSize val="0"/>
            </c:dLbl>
            <c:dLbl>
              <c:idx val="16"/>
              <c:tx>
                <c:rich>
                  <a:bodyPr/>
                  <a:lstStyle/>
                  <a:p>
                    <a:r>
                      <a:t>10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1.7055753674871705</c:v>
                </c:pt>
                <c:pt idx="1">
                  <c:v>0.7916663062377274</c:v>
                </c:pt>
                <c:pt idx="2">
                  <c:v>0.9332640872500649</c:v>
                </c:pt>
                <c:pt idx="3">
                  <c:v>0.846874215415516</c:v>
                </c:pt>
                <c:pt idx="4">
                  <c:v>0.7613917977878633</c:v>
                </c:pt>
                <c:pt idx="5">
                  <c:v>0.8229172790875419</c:v>
                </c:pt>
                <c:pt idx="6">
                  <c:v>2.857142857142857</c:v>
                </c:pt>
                <c:pt idx="7">
                  <c:v>0.8828260781849402</c:v>
                </c:pt>
                <c:pt idx="8">
                  <c:v>0.8504456916474084</c:v>
                </c:pt>
                <c:pt idx="9">
                  <c:v>0.7444395038541787</c:v>
                </c:pt>
                <c:pt idx="10">
                  <c:v>0.36348600508905854</c:v>
                </c:pt>
                <c:pt idx="11">
                  <c:v>0.8863088145543317</c:v>
                </c:pt>
                <c:pt idx="12">
                  <c:v>0.826996931055051</c:v>
                </c:pt>
                <c:pt idx="13">
                  <c:v>0.9549977303676804</c:v>
                </c:pt>
                <c:pt idx="14">
                  <c:v>0.8004559092204288</c:v>
                </c:pt>
                <c:pt idx="15">
                  <c:v>0.8380988852012594</c:v>
                </c:pt>
                <c:pt idx="16">
                  <c:v>1.069180565627266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0.039218</c:v>
                </c:pt>
                <c:pt idx="1">
                  <c:v>0.091519</c:v>
                </c:pt>
                <c:pt idx="2">
                  <c:v>0.028752</c:v>
                </c:pt>
                <c:pt idx="3">
                  <c:v>0.033731</c:v>
                </c:pt>
                <c:pt idx="4">
                  <c:v>0.129346</c:v>
                </c:pt>
                <c:pt idx="5">
                  <c:v>0.013997</c:v>
                </c:pt>
                <c:pt idx="6">
                  <c:v>4e-05</c:v>
                </c:pt>
                <c:pt idx="7">
                  <c:v>2.362997</c:v>
                </c:pt>
                <c:pt idx="8">
                  <c:v>0.01288</c:v>
                </c:pt>
                <c:pt idx="9">
                  <c:v>0.239411</c:v>
                </c:pt>
                <c:pt idx="10">
                  <c:v>0.002857</c:v>
                </c:pt>
                <c:pt idx="11">
                  <c:v>0.152485</c:v>
                </c:pt>
                <c:pt idx="12">
                  <c:v>0.43951</c:v>
                </c:pt>
                <c:pt idx="13">
                  <c:v>0.105193</c:v>
                </c:pt>
                <c:pt idx="14">
                  <c:v>0.143268</c:v>
                </c:pt>
                <c:pt idx="15">
                  <c:v>0.019697</c:v>
                </c:pt>
                <c:pt idx="16">
                  <c:v>0.01474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0</a:t>
                    </a:r>
                  </a:p>
                </c:rich>
              </c:tx>
              <c:dLblPos val="t"/>
              <c:showLegendKey val="0"/>
              <c:showVal val="1"/>
              <c:showCatName val="0"/>
              <c:showSerName val="0"/>
              <c:showPercent val="0"/>
              <c:showBubbleSize val="0"/>
            </c:dLbl>
            <c:dLbl>
              <c:idx val="1"/>
              <c:tx>
                <c:rich>
                  <a:bodyPr/>
                  <a:lstStyle/>
                  <a:p>
                    <a:r>
                      <a:t>15.16</a:t>
                    </a:r>
                  </a:p>
                </c:rich>
              </c:tx>
              <c:dLblPos val="t"/>
              <c:showLegendKey val="0"/>
              <c:showVal val="1"/>
              <c:showCatName val="0"/>
              <c:showSerName val="0"/>
              <c:showPercent val="0"/>
              <c:showBubbleSize val="0"/>
            </c:dLbl>
            <c:dLbl>
              <c:idx val="2"/>
              <c:tx>
                <c:rich>
                  <a:bodyPr/>
                  <a:lstStyle/>
                  <a:p>
                    <a:r>
                      <a:t>15.72</a:t>
                    </a:r>
                  </a:p>
                </c:rich>
              </c:tx>
              <c:dLblPos val="t"/>
              <c:showLegendKey val="0"/>
              <c:showVal val="1"/>
              <c:showCatName val="0"/>
              <c:showSerName val="0"/>
              <c:showPercent val="0"/>
              <c:showBubbleSize val="0"/>
            </c:dLbl>
            <c:dLbl>
              <c:idx val="3"/>
              <c:tx>
                <c:rich>
                  <a:bodyPr/>
                  <a:lstStyle/>
                  <a:p>
                    <a:r>
                      <a:t>16.86</a:t>
                    </a:r>
                  </a:p>
                </c:rich>
              </c:tx>
              <c:dLblPos val="t"/>
              <c:showLegendKey val="0"/>
              <c:showVal val="1"/>
              <c:showCatName val="0"/>
              <c:showSerName val="0"/>
              <c:showPercent val="0"/>
              <c:showBubbleSize val="0"/>
            </c:dLbl>
            <c:dLbl>
              <c:idx val="4"/>
              <c:tx>
                <c:rich>
                  <a:bodyPr/>
                  <a:lstStyle/>
                  <a:p>
                    <a:r>
                      <a:t>11.50</a:t>
                    </a:r>
                  </a:p>
                </c:rich>
              </c:tx>
              <c:dLblPos val="t"/>
              <c:showLegendKey val="0"/>
              <c:showVal val="1"/>
              <c:showCatName val="0"/>
              <c:showSerName val="0"/>
              <c:showPercent val="0"/>
              <c:showBubbleSize val="0"/>
            </c:dLbl>
            <c:dLbl>
              <c:idx val="5"/>
              <c:tx>
                <c:rich>
                  <a:bodyPr/>
                  <a:lstStyle/>
                  <a:p>
                    <a:r>
                      <a:t>23.25</a:t>
                    </a:r>
                  </a:p>
                </c:rich>
              </c:tx>
              <c:dLblPos val="t"/>
              <c:showLegendKey val="0"/>
              <c:showVal val="1"/>
              <c:showCatName val="0"/>
              <c:showSerName val="0"/>
              <c:showPercent val="0"/>
              <c:showBubbleSize val="0"/>
            </c:dLbl>
            <c:dLbl>
              <c:idx val="6"/>
              <c:tx>
                <c:rich>
                  <a:bodyPr/>
                  <a:lstStyle/>
                  <a:p>
                    <a:r>
                      <a:t>13.33</a:t>
                    </a:r>
                  </a:p>
                </c:rich>
              </c:tx>
              <c:dLblPos val="t"/>
              <c:showLegendKey val="0"/>
              <c:showVal val="1"/>
              <c:showCatName val="0"/>
              <c:showSerName val="0"/>
              <c:showPercent val="0"/>
              <c:showBubbleSize val="0"/>
            </c:dLbl>
            <c:dLbl>
              <c:idx val="7"/>
              <c:tx>
                <c:rich>
                  <a:bodyPr/>
                  <a:lstStyle/>
                  <a:p>
                    <a:r>
                      <a:t>53.69</a:t>
                    </a:r>
                  </a:p>
                </c:rich>
              </c:tx>
              <c:dLblPos val="t"/>
              <c:showLegendKey val="0"/>
              <c:showVal val="1"/>
              <c:showCatName val="0"/>
              <c:showSerName val="0"/>
              <c:showPercent val="0"/>
              <c:showBubbleSize val="0"/>
            </c:dLbl>
            <c:dLbl>
              <c:idx val="8"/>
              <c:tx>
                <c:rich>
                  <a:bodyPr/>
                  <a:lstStyle/>
                  <a:p>
                    <a:r>
                      <a:t>47.35</a:t>
                    </a:r>
                  </a:p>
                </c:rich>
              </c:tx>
              <c:dLblPos val="t"/>
              <c:showLegendKey val="0"/>
              <c:showVal val="1"/>
              <c:showCatName val="0"/>
              <c:showSerName val="0"/>
              <c:showPercent val="0"/>
              <c:showBubbleSize val="0"/>
            </c:dLbl>
            <c:dLbl>
              <c:idx val="9"/>
              <c:tx>
                <c:rich>
                  <a:bodyPr/>
                  <a:lstStyle/>
                  <a:p>
                    <a:r>
                      <a:t>73.64</a:t>
                    </a:r>
                  </a:p>
                </c:rich>
              </c:tx>
              <c:dLblPos val="t"/>
              <c:showLegendKey val="0"/>
              <c:showVal val="1"/>
              <c:showCatName val="0"/>
              <c:showSerName val="0"/>
              <c:showPercent val="0"/>
              <c:showBubbleSize val="0"/>
            </c:dLbl>
            <c:dLbl>
              <c:idx val="10"/>
              <c:tx>
                <c:rich>
                  <a:bodyPr/>
                  <a:lstStyle/>
                  <a:p>
                    <a:r>
                      <a:t>14.07</a:t>
                    </a:r>
                  </a:p>
                </c:rich>
              </c:tx>
              <c:dLblPos val="t"/>
              <c:showLegendKey val="0"/>
              <c:showVal val="1"/>
              <c:showCatName val="0"/>
              <c:showSerName val="0"/>
              <c:showPercent val="0"/>
              <c:showBubbleSize val="0"/>
            </c:dLbl>
            <c:dLbl>
              <c:idx val="11"/>
              <c:tx>
                <c:rich>
                  <a:bodyPr/>
                  <a:lstStyle/>
                  <a:p>
                    <a:r>
                      <a:t>187.10</a:t>
                    </a:r>
                  </a:p>
                </c:rich>
              </c:tx>
              <c:dLblPos val="t"/>
              <c:showLegendKey val="0"/>
              <c:showVal val="1"/>
              <c:showCatName val="0"/>
              <c:showSerName val="0"/>
              <c:showPercent val="0"/>
              <c:showBubbleSize val="0"/>
            </c:dLbl>
            <c:dLbl>
              <c:idx val="12"/>
              <c:tx>
                <c:rich>
                  <a:bodyPr/>
                  <a:lstStyle/>
                  <a:p>
                    <a:r>
                      <a:t>98.81</a:t>
                    </a:r>
                  </a:p>
                </c:rich>
              </c:tx>
              <c:dLblPos val="t"/>
              <c:showLegendKey val="0"/>
              <c:showVal val="1"/>
              <c:showCatName val="0"/>
              <c:showSerName val="0"/>
              <c:showPercent val="0"/>
              <c:showBubbleSize val="0"/>
            </c:dLbl>
            <c:dLbl>
              <c:idx val="13"/>
              <c:tx>
                <c:rich>
                  <a:bodyPr/>
                  <a:lstStyle/>
                  <a:p>
                    <a:r>
                      <a:t>44.31</a:t>
                    </a:r>
                  </a:p>
                </c:rich>
              </c:tx>
              <c:dLblPos val="t"/>
              <c:showLegendKey val="0"/>
              <c:showVal val="1"/>
              <c:showCatName val="0"/>
              <c:showSerName val="0"/>
              <c:showPercent val="0"/>
              <c:showBubbleSize val="0"/>
            </c:dLbl>
            <c:dLbl>
              <c:idx val="14"/>
              <c:tx>
                <c:rich>
                  <a:bodyPr/>
                  <a:lstStyle/>
                  <a:p>
                    <a:r>
                      <a:t>39.97</a:t>
                    </a:r>
                  </a:p>
                </c:rich>
              </c:tx>
              <c:dLblPos val="t"/>
              <c:showLegendKey val="0"/>
              <c:showVal val="1"/>
              <c:showCatName val="0"/>
              <c:showSerName val="0"/>
              <c:showPercent val="0"/>
              <c:showBubbleSize val="0"/>
            </c:dLbl>
            <c:dLbl>
              <c:idx val="15"/>
              <c:tx>
                <c:rich>
                  <a:bodyPr/>
                  <a:lstStyle/>
                  <a:p>
                    <a:r>
                      <a:t>49.00</a:t>
                    </a:r>
                  </a:p>
                </c:rich>
              </c:tx>
              <c:dLblPos val="t"/>
              <c:showLegendKey val="0"/>
              <c:showVal val="1"/>
              <c:showCatName val="0"/>
              <c:showSerName val="0"/>
              <c:showPercent val="0"/>
              <c:showBubbleSize val="0"/>
            </c:dLbl>
            <c:dLbl>
              <c:idx val="16"/>
              <c:tx>
                <c:rich>
                  <a:bodyPr/>
                  <a:lstStyle/>
                  <a:p>
                    <a:r>
                      <a:t>61.4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C$2:$C$18</c:f>
              <c:numCache>
                <c:formatCode>General</c:formatCode>
                <c:ptCount val="17"/>
                <c:pt idx="0">
                  <c:v>23.3024</c:v>
                </c:pt>
                <c:pt idx="1">
                  <c:v>15.1622</c:v>
                </c:pt>
                <c:pt idx="2">
                  <c:v>15.7201</c:v>
                </c:pt>
                <c:pt idx="3">
                  <c:v>16.8571</c:v>
                </c:pt>
                <c:pt idx="4">
                  <c:v>11.4984</c:v>
                </c:pt>
                <c:pt idx="5">
                  <c:v>23.2508</c:v>
                </c:pt>
                <c:pt idx="6">
                  <c:v>13.3333</c:v>
                </c:pt>
                <c:pt idx="7">
                  <c:v>53.6935</c:v>
                </c:pt>
                <c:pt idx="8">
                  <c:v>47.3529</c:v>
                </c:pt>
                <c:pt idx="9">
                  <c:v>73.6423</c:v>
                </c:pt>
                <c:pt idx="10">
                  <c:v>14.0739</c:v>
                </c:pt>
                <c:pt idx="11">
                  <c:v>187.0982</c:v>
                </c:pt>
                <c:pt idx="12">
                  <c:v>98.8107</c:v>
                </c:pt>
                <c:pt idx="13">
                  <c:v>44.3104</c:v>
                </c:pt>
                <c:pt idx="14">
                  <c:v>39.9743</c:v>
                </c:pt>
                <c:pt idx="15">
                  <c:v>48.9975</c:v>
                </c:pt>
                <c:pt idx="16">
                  <c:v>61.43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71</a:t>
                    </a:r>
                  </a:p>
                </c:rich>
              </c:tx>
              <c:dLblPos val="ctr"/>
              <c:showLegendKey val="0"/>
              <c:showVal val="1"/>
              <c:showCatName val="0"/>
              <c:showSerName val="0"/>
              <c:showPercent val="0"/>
              <c:showBubbleSize val="0"/>
            </c:dLbl>
            <c:dLbl>
              <c:idx val="1"/>
              <c:tx>
                <c:rich>
                  <a:bodyPr/>
                  <a:lstStyle/>
                  <a:p>
                    <a:r>
                      <a:t>79</a:t>
                    </a:r>
                  </a:p>
                </c:rich>
              </c:tx>
              <c:dLblPos val="ctr"/>
              <c:showLegendKey val="0"/>
              <c:showVal val="1"/>
              <c:showCatName val="0"/>
              <c:showSerName val="0"/>
              <c:showPercent val="0"/>
              <c:showBubbleSize val="0"/>
            </c:dLbl>
            <c:dLbl>
              <c:idx val="2"/>
              <c:tx>
                <c:rich>
                  <a:bodyPr/>
                  <a:lstStyle/>
                  <a:p>
                    <a:r>
                      <a:t>93</a:t>
                    </a:r>
                  </a:p>
                </c:rich>
              </c:tx>
              <c:dLblPos val="ctr"/>
              <c:showLegendKey val="0"/>
              <c:showVal val="1"/>
              <c:showCatName val="0"/>
              <c:showSerName val="0"/>
              <c:showPercent val="0"/>
              <c:showBubbleSize val="0"/>
            </c:dLbl>
            <c:dLbl>
              <c:idx val="3"/>
              <c:tx>
                <c:rich>
                  <a:bodyPr/>
                  <a:lstStyle/>
                  <a:p>
                    <a:r>
                      <a:t>85</a:t>
                    </a:r>
                  </a:p>
                </c:rich>
              </c:tx>
              <c:dLblPos val="ctr"/>
              <c:showLegendKey val="0"/>
              <c:showVal val="1"/>
              <c:showCatName val="0"/>
              <c:showSerName val="0"/>
              <c:showPercent val="0"/>
              <c:showBubbleSize val="0"/>
            </c:dLbl>
            <c:dLbl>
              <c:idx val="4"/>
              <c:tx>
                <c:rich>
                  <a:bodyPr/>
                  <a:lstStyle/>
                  <a:p>
                    <a:r>
                      <a:t>76</a:t>
                    </a:r>
                  </a:p>
                </c:rich>
              </c:tx>
              <c:dLblPos val="ctr"/>
              <c:showLegendKey val="0"/>
              <c:showVal val="1"/>
              <c:showCatName val="0"/>
              <c:showSerName val="0"/>
              <c:showPercent val="0"/>
              <c:showBubbleSize val="0"/>
            </c:dLbl>
            <c:dLbl>
              <c:idx val="5"/>
              <c:tx>
                <c:rich>
                  <a:bodyPr/>
                  <a:lstStyle/>
                  <a:p>
                    <a:r>
                      <a:t>82</a:t>
                    </a:r>
                  </a:p>
                </c:rich>
              </c:tx>
              <c:dLblPos val="ctr"/>
              <c:showLegendKey val="0"/>
              <c:showVal val="1"/>
              <c:showCatName val="0"/>
              <c:showSerName val="0"/>
              <c:showPercent val="0"/>
              <c:showBubbleSize val="0"/>
            </c:dLbl>
            <c:dLbl>
              <c:idx val="6"/>
              <c:tx>
                <c:rich>
                  <a:bodyPr/>
                  <a:lstStyle/>
                  <a:p>
                    <a:r>
                      <a:t>286</a:t>
                    </a:r>
                  </a:p>
                </c:rich>
              </c:tx>
              <c:dLblPos val="ctr"/>
              <c:showLegendKey val="0"/>
              <c:showVal val="1"/>
              <c:showCatName val="0"/>
              <c:showSerName val="0"/>
              <c:showPercent val="0"/>
              <c:showBubbleSize val="0"/>
            </c:dLbl>
            <c:dLbl>
              <c:idx val="7"/>
              <c:tx>
                <c:rich>
                  <a:bodyPr/>
                  <a:lstStyle/>
                  <a:p>
                    <a:r>
                      <a:t>88</a:t>
                    </a:r>
                  </a:p>
                </c:rich>
              </c:tx>
              <c:dLblPos val="ctr"/>
              <c:showLegendKey val="0"/>
              <c:showVal val="1"/>
              <c:showCatName val="0"/>
              <c:showSerName val="0"/>
              <c:showPercent val="0"/>
              <c:showBubbleSize val="0"/>
            </c:dLbl>
            <c:dLbl>
              <c:idx val="8"/>
              <c:tx>
                <c:rich>
                  <a:bodyPr/>
                  <a:lstStyle/>
                  <a:p>
                    <a:r>
                      <a:t>85</a:t>
                    </a:r>
                  </a:p>
                </c:rich>
              </c:tx>
              <c:dLblPos val="ctr"/>
              <c:showLegendKey val="0"/>
              <c:showVal val="1"/>
              <c:showCatName val="0"/>
              <c:showSerName val="0"/>
              <c:showPercent val="0"/>
              <c:showBubbleSize val="0"/>
            </c:dLbl>
            <c:dLbl>
              <c:idx val="9"/>
              <c:tx>
                <c:rich>
                  <a:bodyPr/>
                  <a:lstStyle/>
                  <a:p>
                    <a:r>
                      <a:t>74</a:t>
                    </a:r>
                  </a:p>
                </c:rich>
              </c:tx>
              <c:dLblPos val="ctr"/>
              <c:showLegendKey val="0"/>
              <c:showVal val="1"/>
              <c:showCatName val="0"/>
              <c:showSerName val="0"/>
              <c:showPercent val="0"/>
              <c:showBubbleSize val="0"/>
            </c:dLbl>
            <c:dLbl>
              <c:idx val="10"/>
              <c:tx>
                <c:rich>
                  <a:bodyPr/>
                  <a:lstStyle/>
                  <a:p>
                    <a:r>
                      <a:t>36</a:t>
                    </a:r>
                  </a:p>
                </c:rich>
              </c:tx>
              <c:dLblPos val="ctr"/>
              <c:showLegendKey val="0"/>
              <c:showVal val="1"/>
              <c:showCatName val="0"/>
              <c:showSerName val="0"/>
              <c:showPercent val="0"/>
              <c:showBubbleSize val="0"/>
            </c:dLbl>
            <c:dLbl>
              <c:idx val="11"/>
              <c:tx>
                <c:rich>
                  <a:bodyPr/>
                  <a:lstStyle/>
                  <a:p>
                    <a:r>
                      <a:t>89</a:t>
                    </a:r>
                  </a:p>
                </c:rich>
              </c:tx>
              <c:dLblPos val="ctr"/>
              <c:showLegendKey val="0"/>
              <c:showVal val="1"/>
              <c:showCatName val="0"/>
              <c:showSerName val="0"/>
              <c:showPercent val="0"/>
              <c:showBubbleSize val="0"/>
            </c:dLbl>
            <c:dLbl>
              <c:idx val="12"/>
              <c:tx>
                <c:rich>
                  <a:bodyPr/>
                  <a:lstStyle/>
                  <a:p>
                    <a:r>
                      <a:t>83</a:t>
                    </a:r>
                  </a:p>
                </c:rich>
              </c:tx>
              <c:dLblPos val="ctr"/>
              <c:showLegendKey val="0"/>
              <c:showVal val="1"/>
              <c:showCatName val="0"/>
              <c:showSerName val="0"/>
              <c:showPercent val="0"/>
              <c:showBubbleSize val="0"/>
            </c:dLbl>
            <c:dLbl>
              <c:idx val="13"/>
              <c:tx>
                <c:rich>
                  <a:bodyPr/>
                  <a:lstStyle/>
                  <a:p>
                    <a:r>
                      <a:t>95</a:t>
                    </a:r>
                  </a:p>
                </c:rich>
              </c:tx>
              <c:dLblPos val="ctr"/>
              <c:showLegendKey val="0"/>
              <c:showVal val="1"/>
              <c:showCatName val="0"/>
              <c:showSerName val="0"/>
              <c:showPercent val="0"/>
              <c:showBubbleSize val="0"/>
            </c:dLbl>
            <c:dLbl>
              <c:idx val="14"/>
              <c:tx>
                <c:rich>
                  <a:bodyPr/>
                  <a:lstStyle/>
                  <a:p>
                    <a:r>
                      <a:t>80</a:t>
                    </a:r>
                  </a:p>
                </c:rich>
              </c:tx>
              <c:dLblPos val="ctr"/>
              <c:showLegendKey val="0"/>
              <c:showVal val="1"/>
              <c:showCatName val="0"/>
              <c:showSerName val="0"/>
              <c:showPercent val="0"/>
              <c:showBubbleSize val="0"/>
            </c:dLbl>
            <c:dLbl>
              <c:idx val="15"/>
              <c:tx>
                <c:rich>
                  <a:bodyPr/>
                  <a:lstStyle/>
                  <a:p>
                    <a:r>
                      <a:t>84</a:t>
                    </a:r>
                  </a:p>
                </c:rich>
              </c:tx>
              <c:dLblPos val="ctr"/>
              <c:showLegendKey val="0"/>
              <c:showVal val="1"/>
              <c:showCatName val="0"/>
              <c:showSerName val="0"/>
              <c:showPercent val="0"/>
              <c:showBubbleSize val="0"/>
            </c:dLbl>
            <c:dLbl>
              <c:idx val="16"/>
              <c:tx>
                <c:rich>
                  <a:bodyPr/>
                  <a:lstStyle/>
                  <a:p>
                    <a:r>
                      <a:t>10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1.7055753674871705</c:v>
                </c:pt>
                <c:pt idx="1">
                  <c:v>0.7916663062377274</c:v>
                </c:pt>
                <c:pt idx="2">
                  <c:v>0.9332640872500649</c:v>
                </c:pt>
                <c:pt idx="3">
                  <c:v>0.846874215415516</c:v>
                </c:pt>
                <c:pt idx="4">
                  <c:v>0.7613917977878633</c:v>
                </c:pt>
                <c:pt idx="5">
                  <c:v>0.8229172790875419</c:v>
                </c:pt>
                <c:pt idx="6">
                  <c:v>2.857142857142857</c:v>
                </c:pt>
                <c:pt idx="7">
                  <c:v>0.8828260781849402</c:v>
                </c:pt>
                <c:pt idx="8">
                  <c:v>0.8504456916474084</c:v>
                </c:pt>
                <c:pt idx="9">
                  <c:v>0.7444395038541787</c:v>
                </c:pt>
                <c:pt idx="10">
                  <c:v>0.36348600508905854</c:v>
                </c:pt>
                <c:pt idx="11">
                  <c:v>0.8863088145543317</c:v>
                </c:pt>
                <c:pt idx="12">
                  <c:v>0.826996931055051</c:v>
                </c:pt>
                <c:pt idx="13">
                  <c:v>0.9549977303676804</c:v>
                </c:pt>
                <c:pt idx="14">
                  <c:v>0.8004559092204288</c:v>
                </c:pt>
                <c:pt idx="15">
                  <c:v>0.8380988852012594</c:v>
                </c:pt>
                <c:pt idx="16">
                  <c:v>1.069180565627266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4</c:v>
                </c:pt>
                <c:pt idx="1">
                  <c:v>0.000703</c:v>
                </c:pt>
                <c:pt idx="2">
                  <c:v>0.0002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07</c:v>
                </c:pt>
                <c:pt idx="1">
                  <c:v>0.000351</c:v>
                </c:pt>
                <c:pt idx="2">
                  <c:v>0.00013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6e-05</c:v>
                </c:pt>
                <c:pt idx="1">
                  <c:v>4.1e-05</c:v>
                </c:pt>
                <c:pt idx="2">
                  <c:v>5e-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8.9e-05</c:v>
                </c:pt>
                <c:pt idx="1">
                  <c:v>4.5e-05</c:v>
                </c:pt>
                <c:pt idx="2">
                  <c:v>1.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0.01592</c:v>
                </c:pt>
                <c:pt idx="1">
                  <c:v>0.03115</c:v>
                </c:pt>
                <c:pt idx="2">
                  <c:v>0.021201</c:v>
                </c:pt>
                <c:pt idx="3">
                  <c:v>0.010317</c:v>
                </c:pt>
                <c:pt idx="4">
                  <c:v>0.035992</c:v>
                </c:pt>
                <c:pt idx="5">
                  <c:v>0.005473</c:v>
                </c:pt>
                <c:pt idx="6">
                  <c:v>4e-05</c:v>
                </c:pt>
                <c:pt idx="7">
                  <c:v>1.080219</c:v>
                </c:pt>
                <c:pt idx="8">
                  <c:v>0.003022</c:v>
                </c:pt>
                <c:pt idx="9">
                  <c:v>0.096852</c:v>
                </c:pt>
                <c:pt idx="10">
                  <c:v>0.001927</c:v>
                </c:pt>
                <c:pt idx="11">
                  <c:v>0.055163</c:v>
                </c:pt>
                <c:pt idx="12">
                  <c:v>0.181793</c:v>
                </c:pt>
                <c:pt idx="13">
                  <c:v>0.049804</c:v>
                </c:pt>
                <c:pt idx="14">
                  <c:v>0.072617</c:v>
                </c:pt>
                <c:pt idx="15">
                  <c:v>0.010437</c:v>
                </c:pt>
                <c:pt idx="16">
                  <c:v>0.00453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8</a:t>
                    </a:r>
                  </a:p>
                </c:rich>
              </c:tx>
              <c:dLblPos val="t"/>
              <c:showLegendKey val="0"/>
              <c:showVal val="1"/>
              <c:showCatName val="0"/>
              <c:showSerName val="0"/>
              <c:showPercent val="0"/>
              <c:showBubbleSize val="0"/>
            </c:dLbl>
            <c:dLbl>
              <c:idx val="1"/>
              <c:tx>
                <c:rich>
                  <a:bodyPr/>
                  <a:lstStyle/>
                  <a:p>
                    <a:r>
                      <a:t>14.56</a:t>
                    </a:r>
                  </a:p>
                </c:rich>
              </c:tx>
              <c:dLblPos val="t"/>
              <c:showLegendKey val="0"/>
              <c:showVal val="1"/>
              <c:showCatName val="0"/>
              <c:showSerName val="0"/>
              <c:showPercent val="0"/>
              <c:showBubbleSize val="0"/>
            </c:dLbl>
            <c:dLbl>
              <c:idx val="2"/>
              <c:tx>
                <c:rich>
                  <a:bodyPr/>
                  <a:lstStyle/>
                  <a:p>
                    <a:r>
                      <a:t>15.60</a:t>
                    </a:r>
                  </a:p>
                </c:rich>
              </c:tx>
              <c:dLblPos val="t"/>
              <c:showLegendKey val="0"/>
              <c:showVal val="1"/>
              <c:showCatName val="0"/>
              <c:showSerName val="0"/>
              <c:showPercent val="0"/>
              <c:showBubbleSize val="0"/>
            </c:dLbl>
            <c:dLbl>
              <c:idx val="3"/>
              <c:tx>
                <c:rich>
                  <a:bodyPr/>
                  <a:lstStyle/>
                  <a:p>
                    <a:r>
                      <a:t>16.89</a:t>
                    </a:r>
                  </a:p>
                </c:rich>
              </c:tx>
              <c:dLblPos val="t"/>
              <c:showLegendKey val="0"/>
              <c:showVal val="1"/>
              <c:showCatName val="0"/>
              <c:showSerName val="0"/>
              <c:showPercent val="0"/>
              <c:showBubbleSize val="0"/>
            </c:dLbl>
            <c:dLbl>
              <c:idx val="4"/>
              <c:tx>
                <c:rich>
                  <a:bodyPr/>
                  <a:lstStyle/>
                  <a:p>
                    <a:r>
                      <a:t>11.11</a:t>
                    </a:r>
                  </a:p>
                </c:rich>
              </c:tx>
              <c:dLblPos val="t"/>
              <c:showLegendKey val="0"/>
              <c:showVal val="1"/>
              <c:showCatName val="0"/>
              <c:showSerName val="0"/>
              <c:showPercent val="0"/>
              <c:showBubbleSize val="0"/>
            </c:dLbl>
            <c:dLbl>
              <c:idx val="5"/>
              <c:tx>
                <c:rich>
                  <a:bodyPr/>
                  <a:lstStyle/>
                  <a:p>
                    <a:r>
                      <a:t>23.59</a:t>
                    </a:r>
                  </a:p>
                </c:rich>
              </c:tx>
              <c:dLblPos val="t"/>
              <c:showLegendKey val="0"/>
              <c:showVal val="1"/>
              <c:showCatName val="0"/>
              <c:showSerName val="0"/>
              <c:showPercent val="0"/>
              <c:showBubbleSize val="0"/>
            </c:dLbl>
            <c:dLbl>
              <c:idx val="6"/>
              <c:tx>
                <c:rich>
                  <a:bodyPr/>
                  <a:lstStyle/>
                  <a:p>
                    <a:r>
                      <a:t>13.33</a:t>
                    </a:r>
                  </a:p>
                </c:rich>
              </c:tx>
              <c:dLblPos val="t"/>
              <c:showLegendKey val="0"/>
              <c:showVal val="1"/>
              <c:showCatName val="0"/>
              <c:showSerName val="0"/>
              <c:showPercent val="0"/>
              <c:showBubbleSize val="0"/>
            </c:dLbl>
            <c:dLbl>
              <c:idx val="7"/>
              <c:tx>
                <c:rich>
                  <a:bodyPr/>
                  <a:lstStyle/>
                  <a:p>
                    <a:r>
                      <a:t>50.74</a:t>
                    </a:r>
                  </a:p>
                </c:rich>
              </c:tx>
              <c:dLblPos val="t"/>
              <c:showLegendKey val="0"/>
              <c:showVal val="1"/>
              <c:showCatName val="0"/>
              <c:showSerName val="0"/>
              <c:showPercent val="0"/>
              <c:showBubbleSize val="0"/>
            </c:dLbl>
            <c:dLbl>
              <c:idx val="8"/>
              <c:tx>
                <c:rich>
                  <a:bodyPr/>
                  <a:lstStyle/>
                  <a:p>
                    <a:r>
                      <a:t>43.80</a:t>
                    </a:r>
                  </a:p>
                </c:rich>
              </c:tx>
              <c:dLblPos val="t"/>
              <c:showLegendKey val="0"/>
              <c:showVal val="1"/>
              <c:showCatName val="0"/>
              <c:showSerName val="0"/>
              <c:showPercent val="0"/>
              <c:showBubbleSize val="0"/>
            </c:dLbl>
            <c:dLbl>
              <c:idx val="9"/>
              <c:tx>
                <c:rich>
                  <a:bodyPr/>
                  <a:lstStyle/>
                  <a:p>
                    <a:r>
                      <a:t>68.64</a:t>
                    </a:r>
                  </a:p>
                </c:rich>
              </c:tx>
              <c:dLblPos val="t"/>
              <c:showLegendKey val="0"/>
              <c:showVal val="1"/>
              <c:showCatName val="0"/>
              <c:showSerName val="0"/>
              <c:showPercent val="0"/>
              <c:showBubbleSize val="0"/>
            </c:dLbl>
            <c:dLbl>
              <c:idx val="10"/>
              <c:tx>
                <c:rich>
                  <a:bodyPr/>
                  <a:lstStyle/>
                  <a:p>
                    <a:r>
                      <a:t>13.38</a:t>
                    </a:r>
                  </a:p>
                </c:rich>
              </c:tx>
              <c:dLblPos val="t"/>
              <c:showLegendKey val="0"/>
              <c:showVal val="1"/>
              <c:showCatName val="0"/>
              <c:showSerName val="0"/>
              <c:showPercent val="0"/>
              <c:showBubbleSize val="0"/>
            </c:dLbl>
            <c:dLbl>
              <c:idx val="11"/>
              <c:tx>
                <c:rich>
                  <a:bodyPr/>
                  <a:lstStyle/>
                  <a:p>
                    <a:r>
                      <a:t>165.16</a:t>
                    </a:r>
                  </a:p>
                </c:rich>
              </c:tx>
              <c:dLblPos val="t"/>
              <c:showLegendKey val="0"/>
              <c:showVal val="1"/>
              <c:showCatName val="0"/>
              <c:showSerName val="0"/>
              <c:showPercent val="0"/>
              <c:showBubbleSize val="0"/>
            </c:dLbl>
            <c:dLbl>
              <c:idx val="12"/>
              <c:tx>
                <c:rich>
                  <a:bodyPr/>
                  <a:lstStyle/>
                  <a:p>
                    <a:r>
                      <a:t>94.14</a:t>
                    </a:r>
                  </a:p>
                </c:rich>
              </c:tx>
              <c:dLblPos val="t"/>
              <c:showLegendKey val="0"/>
              <c:showVal val="1"/>
              <c:showCatName val="0"/>
              <c:showSerName val="0"/>
              <c:showPercent val="0"/>
              <c:showBubbleSize val="0"/>
            </c:dLbl>
            <c:dLbl>
              <c:idx val="13"/>
              <c:tx>
                <c:rich>
                  <a:bodyPr/>
                  <a:lstStyle/>
                  <a:p>
                    <a:r>
                      <a:t>43.84</a:t>
                    </a:r>
                  </a:p>
                </c:rich>
              </c:tx>
              <c:dLblPos val="t"/>
              <c:showLegendKey val="0"/>
              <c:showVal val="1"/>
              <c:showCatName val="0"/>
              <c:showSerName val="0"/>
              <c:showPercent val="0"/>
              <c:showBubbleSize val="0"/>
            </c:dLbl>
            <c:dLbl>
              <c:idx val="14"/>
              <c:tx>
                <c:rich>
                  <a:bodyPr/>
                  <a:lstStyle/>
                  <a:p>
                    <a:r>
                      <a:t>39.57</a:t>
                    </a:r>
                  </a:p>
                </c:rich>
              </c:tx>
              <c:dLblPos val="t"/>
              <c:showLegendKey val="0"/>
              <c:showVal val="1"/>
              <c:showCatName val="0"/>
              <c:showSerName val="0"/>
              <c:showPercent val="0"/>
              <c:showBubbleSize val="0"/>
            </c:dLbl>
            <c:dLbl>
              <c:idx val="15"/>
              <c:tx>
                <c:rich>
                  <a:bodyPr/>
                  <a:lstStyle/>
                  <a:p>
                    <a:r>
                      <a:t>47.88</a:t>
                    </a:r>
                  </a:p>
                </c:rich>
              </c:tx>
              <c:dLblPos val="t"/>
              <c:showLegendKey val="0"/>
              <c:showVal val="1"/>
              <c:showCatName val="0"/>
              <c:showSerName val="0"/>
              <c:showPercent val="0"/>
              <c:showBubbleSize val="0"/>
            </c:dLbl>
            <c:dLbl>
              <c:idx val="16"/>
              <c:tx>
                <c:rich>
                  <a:bodyPr/>
                  <a:lstStyle/>
                  <a:p>
                    <a:r>
                      <a:t>60.4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C$2:$C$18</c:f>
              <c:numCache>
                <c:formatCode>General</c:formatCode>
                <c:ptCount val="17"/>
                <c:pt idx="0">
                  <c:v>21.4845</c:v>
                </c:pt>
                <c:pt idx="1">
                  <c:v>14.5561</c:v>
                </c:pt>
                <c:pt idx="2">
                  <c:v>15.6004</c:v>
                </c:pt>
                <c:pt idx="3">
                  <c:v>16.8854</c:v>
                </c:pt>
                <c:pt idx="4">
                  <c:v>11.1086</c:v>
                </c:pt>
                <c:pt idx="5">
                  <c:v>23.5905</c:v>
                </c:pt>
                <c:pt idx="6">
                  <c:v>13.3333</c:v>
                </c:pt>
                <c:pt idx="7">
                  <c:v>50.7431</c:v>
                </c:pt>
                <c:pt idx="8">
                  <c:v>43.7971</c:v>
                </c:pt>
                <c:pt idx="9">
                  <c:v>68.6407</c:v>
                </c:pt>
                <c:pt idx="10">
                  <c:v>13.3819</c:v>
                </c:pt>
                <c:pt idx="11">
                  <c:v>165.1587</c:v>
                </c:pt>
                <c:pt idx="12">
                  <c:v>94.1445</c:v>
                </c:pt>
                <c:pt idx="13">
                  <c:v>43.8415</c:v>
                </c:pt>
                <c:pt idx="14">
                  <c:v>39.5733</c:v>
                </c:pt>
                <c:pt idx="15">
                  <c:v>47.8761</c:v>
                </c:pt>
                <c:pt idx="16">
                  <c:v>60.466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34</a:t>
                    </a:r>
                  </a:p>
                </c:rich>
              </c:tx>
              <c:dLblPos val="ctr"/>
              <c:showLegendKey val="0"/>
              <c:showVal val="1"/>
              <c:showCatName val="0"/>
              <c:showSerName val="0"/>
              <c:showPercent val="0"/>
              <c:showBubbleSize val="0"/>
            </c:dLbl>
            <c:dLbl>
              <c:idx val="1"/>
              <c:tx>
                <c:rich>
                  <a:bodyPr/>
                  <a:lstStyle/>
                  <a:p>
                    <a:r>
                      <a:t>100</a:t>
                    </a:r>
                  </a:p>
                </c:rich>
              </c:tx>
              <c:dLblPos val="ctr"/>
              <c:showLegendKey val="0"/>
              <c:showVal val="1"/>
              <c:showCatName val="0"/>
              <c:showSerName val="0"/>
              <c:showPercent val="0"/>
              <c:showBubbleSize val="0"/>
            </c:dLbl>
            <c:dLbl>
              <c:idx val="2"/>
              <c:tx>
                <c:rich>
                  <a:bodyPr/>
                  <a:lstStyle/>
                  <a:p>
                    <a:r>
                      <a:t>114</a:t>
                    </a:r>
                  </a:p>
                </c:rich>
              </c:tx>
              <c:dLblPos val="ctr"/>
              <c:showLegendKey val="0"/>
              <c:showVal val="1"/>
              <c:showCatName val="0"/>
              <c:showSerName val="0"/>
              <c:showPercent val="0"/>
              <c:showBubbleSize val="0"/>
            </c:dLbl>
            <c:dLbl>
              <c:idx val="3"/>
              <c:tx>
                <c:rich>
                  <a:bodyPr/>
                  <a:lstStyle/>
                  <a:p>
                    <a:r>
                      <a:t>93</a:t>
                    </a:r>
                  </a:p>
                </c:rich>
              </c:tx>
              <c:dLblPos val="ctr"/>
              <c:showLegendKey val="0"/>
              <c:showVal val="1"/>
              <c:showCatName val="0"/>
              <c:showSerName val="0"/>
              <c:showPercent val="0"/>
              <c:showBubbleSize val="0"/>
            </c:dLbl>
            <c:dLbl>
              <c:idx val="4"/>
              <c:tx>
                <c:rich>
                  <a:bodyPr/>
                  <a:lstStyle/>
                  <a:p>
                    <a:r>
                      <a:t>95</a:t>
                    </a:r>
                  </a:p>
                </c:rich>
              </c:tx>
              <c:dLblPos val="ctr"/>
              <c:showLegendKey val="0"/>
              <c:showVal val="1"/>
              <c:showCatName val="0"/>
              <c:showSerName val="0"/>
              <c:showPercent val="0"/>
              <c:showBubbleSize val="0"/>
            </c:dLbl>
            <c:dLbl>
              <c:idx val="5"/>
              <c:tx>
                <c:rich>
                  <a:bodyPr/>
                  <a:lstStyle/>
                  <a:p>
                    <a:r>
                      <a:t>74</a:t>
                    </a:r>
                  </a:p>
                </c:rich>
              </c:tx>
              <c:dLblPos val="ctr"/>
              <c:showLegendKey val="0"/>
              <c:showVal val="1"/>
              <c:showCatName val="0"/>
              <c:showSerName val="0"/>
              <c:showPercent val="0"/>
              <c:showBubbleSize val="0"/>
            </c:dLbl>
            <c:dLbl>
              <c:idx val="6"/>
              <c:tx>
                <c:rich>
                  <a:bodyPr/>
                  <a:lstStyle/>
                  <a:p>
                    <a:r>
                      <a:t>125</a:t>
                    </a:r>
                  </a:p>
                </c:rich>
              </c:tx>
              <c:dLblPos val="ctr"/>
              <c:showLegendKey val="0"/>
              <c:showVal val="1"/>
              <c:showCatName val="0"/>
              <c:showSerName val="0"/>
              <c:showPercent val="0"/>
              <c:showBubbleSize val="0"/>
            </c:dLbl>
            <c:dLbl>
              <c:idx val="7"/>
              <c:tx>
                <c:rich>
                  <a:bodyPr/>
                  <a:lstStyle/>
                  <a:p>
                    <a:r>
                      <a:t>86</a:t>
                    </a:r>
                  </a:p>
                </c:rich>
              </c:tx>
              <c:dLblPos val="ctr"/>
              <c:showLegendKey val="0"/>
              <c:showVal val="1"/>
              <c:showCatName val="0"/>
              <c:showSerName val="0"/>
              <c:showPercent val="0"/>
              <c:showBubbleSize val="0"/>
            </c:dLbl>
            <c:dLbl>
              <c:idx val="8"/>
              <c:tx>
                <c:rich>
                  <a:bodyPr/>
                  <a:lstStyle/>
                  <a:p>
                    <a:r>
                      <a:t>63</a:t>
                    </a:r>
                  </a:p>
                </c:rich>
              </c:tx>
              <c:dLblPos val="ctr"/>
              <c:showLegendKey val="0"/>
              <c:showVal val="1"/>
              <c:showCatName val="0"/>
              <c:showSerName val="0"/>
              <c:showPercent val="0"/>
              <c:showBubbleSize val="0"/>
            </c:dLbl>
            <c:dLbl>
              <c:idx val="9"/>
              <c:tx>
                <c:rich>
                  <a:bodyPr/>
                  <a:lstStyle/>
                  <a:p>
                    <a:r>
                      <a:t>80</a:t>
                    </a:r>
                  </a:p>
                </c:rich>
              </c:tx>
              <c:dLblPos val="ctr"/>
              <c:showLegendKey val="0"/>
              <c:showVal val="1"/>
              <c:showCatName val="0"/>
              <c:showSerName val="0"/>
              <c:showPercent val="0"/>
              <c:showBubbleSize val="0"/>
            </c:dLbl>
            <c:dLbl>
              <c:idx val="10"/>
              <c:tx>
                <c:rich>
                  <a:bodyPr/>
                  <a:lstStyle/>
                  <a:p>
                    <a:r>
                      <a:t>64</a:t>
                    </a:r>
                  </a:p>
                </c:rich>
              </c:tx>
              <c:dLblPos val="ctr"/>
              <c:showLegendKey val="0"/>
              <c:showVal val="1"/>
              <c:showCatName val="0"/>
              <c:showSerName val="0"/>
              <c:showPercent val="0"/>
              <c:showBubbleSize val="0"/>
            </c:dLbl>
            <c:dLbl>
              <c:idx val="11"/>
              <c:tx>
                <c:rich>
                  <a:bodyPr/>
                  <a:lstStyle/>
                  <a:p>
                    <a:r>
                      <a:t>93</a:t>
                    </a:r>
                  </a:p>
                </c:rich>
              </c:tx>
              <c:dLblPos val="ctr"/>
              <c:showLegendKey val="0"/>
              <c:showVal val="1"/>
              <c:showCatName val="0"/>
              <c:showSerName val="0"/>
              <c:showPercent val="0"/>
              <c:showBubbleSize val="0"/>
            </c:dLbl>
            <c:dLbl>
              <c:idx val="12"/>
              <c:tx>
                <c:rich>
                  <a:bodyPr/>
                  <a:lstStyle/>
                  <a:p>
                    <a:r>
                      <a:t>86</a:t>
                    </a:r>
                  </a:p>
                </c:rich>
              </c:tx>
              <c:dLblPos val="ctr"/>
              <c:showLegendKey val="0"/>
              <c:showVal val="1"/>
              <c:showCatName val="0"/>
              <c:showSerName val="0"/>
              <c:showPercent val="0"/>
              <c:showBubbleSize val="0"/>
            </c:dLbl>
            <c:dLbl>
              <c:idx val="13"/>
              <c:tx>
                <c:rich>
                  <a:bodyPr/>
                  <a:lstStyle/>
                  <a:p>
                    <a:r>
                      <a:t>105</a:t>
                    </a:r>
                  </a:p>
                </c:rich>
              </c:tx>
              <c:dLblPos val="ctr"/>
              <c:showLegendKey val="0"/>
              <c:showVal val="1"/>
              <c:showCatName val="0"/>
              <c:showSerName val="0"/>
              <c:showPercent val="0"/>
              <c:showBubbleSize val="0"/>
            </c:dLbl>
            <c:dLbl>
              <c:idx val="14"/>
              <c:tx>
                <c:rich>
                  <a:bodyPr/>
                  <a:lstStyle/>
                  <a:p>
                    <a:r>
                      <a:t>93</a:t>
                    </a:r>
                  </a:p>
                </c:rich>
              </c:tx>
              <c:dLblPos val="ctr"/>
              <c:showLegendKey val="0"/>
              <c:showVal val="1"/>
              <c:showCatName val="0"/>
              <c:showSerName val="0"/>
              <c:showPercent val="0"/>
              <c:showBubbleSize val="0"/>
            </c:dLbl>
            <c:dLbl>
              <c:idx val="15"/>
              <c:tx>
                <c:rich>
                  <a:bodyPr/>
                  <a:lstStyle/>
                  <a:p>
                    <a:r>
                      <a:t>69</a:t>
                    </a:r>
                  </a:p>
                </c:rich>
              </c:tx>
              <c:dLblPos val="ctr"/>
              <c:showLegendKey val="0"/>
              <c:showVal val="1"/>
              <c:showCatName val="0"/>
              <c:showSerName val="0"/>
              <c:showPercent val="0"/>
              <c:showBubbleSize val="0"/>
            </c:dLbl>
            <c:dLbl>
              <c:idx val="16"/>
              <c:tx>
                <c:rich>
                  <a:bodyPr/>
                  <a:lstStyle/>
                  <a:p>
                    <a:r>
                      <a:t>8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1.3431198852611153</c:v>
                </c:pt>
                <c:pt idx="1">
                  <c:v>1.0000963174623558</c:v>
                </c:pt>
                <c:pt idx="2">
                  <c:v>1.1430959184773817</c:v>
                </c:pt>
                <c:pt idx="3">
                  <c:v>0.9324837310195228</c:v>
                </c:pt>
                <c:pt idx="4">
                  <c:v>0.953278949041212</c:v>
                </c:pt>
                <c:pt idx="5">
                  <c:v>0.7362119989238634</c:v>
                </c:pt>
                <c:pt idx="6">
                  <c:v>1.25</c:v>
                </c:pt>
                <c:pt idx="7">
                  <c:v>0.863464396109123</c:v>
                </c:pt>
                <c:pt idx="8">
                  <c:v>0.6347406007141357</c:v>
                </c:pt>
                <c:pt idx="9">
                  <c:v>0.8026054097056484</c:v>
                </c:pt>
                <c:pt idx="10">
                  <c:v>0.6366038982490915</c:v>
                </c:pt>
                <c:pt idx="11">
                  <c:v>0.9277797399801537</c:v>
                </c:pt>
                <c:pt idx="12">
                  <c:v>0.8559919388634363</c:v>
                </c:pt>
                <c:pt idx="13">
                  <c:v>1.050229851123951</c:v>
                </c:pt>
                <c:pt idx="14">
                  <c:v>0.9342931398281097</c:v>
                </c:pt>
                <c:pt idx="15">
                  <c:v>0.6930739092901255</c:v>
                </c:pt>
                <c:pt idx="16">
                  <c:v>0.802087018040325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0.012003</c:v>
                </c:pt>
                <c:pt idx="1">
                  <c:v>0.009152</c:v>
                </c:pt>
                <c:pt idx="2">
                  <c:v>0.026291</c:v>
                </c:pt>
                <c:pt idx="3">
                  <c:v>0.010667</c:v>
                </c:pt>
                <c:pt idx="4">
                  <c:v>0.022871</c:v>
                </c:pt>
                <c:pt idx="5">
                  <c:v>0.005017</c:v>
                </c:pt>
                <c:pt idx="6">
                  <c:v>0.0</c:v>
                </c:pt>
                <c:pt idx="7">
                  <c:v>0.836834</c:v>
                </c:pt>
                <c:pt idx="8">
                  <c:v>0.002707</c:v>
                </c:pt>
                <c:pt idx="9">
                  <c:v>0.081816</c:v>
                </c:pt>
                <c:pt idx="10">
                  <c:v>0.001257</c:v>
                </c:pt>
                <c:pt idx="11">
                  <c:v>0.045453</c:v>
                </c:pt>
                <c:pt idx="12">
                  <c:v>0.173658</c:v>
                </c:pt>
                <c:pt idx="13">
                  <c:v>0.036147</c:v>
                </c:pt>
                <c:pt idx="14">
                  <c:v>0.04469</c:v>
                </c:pt>
                <c:pt idx="15">
                  <c:v>0.006268</c:v>
                </c:pt>
                <c:pt idx="16">
                  <c:v>0.00679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59</a:t>
                    </a:r>
                  </a:p>
                </c:rich>
              </c:tx>
              <c:dLblPos val="t"/>
              <c:showLegendKey val="0"/>
              <c:showVal val="1"/>
              <c:showCatName val="0"/>
              <c:showSerName val="0"/>
              <c:showPercent val="0"/>
              <c:showBubbleSize val="0"/>
            </c:dLbl>
            <c:dLbl>
              <c:idx val="1"/>
              <c:tx>
                <c:rich>
                  <a:bodyPr/>
                  <a:lstStyle/>
                  <a:p>
                    <a:r>
                      <a:t>9.98</a:t>
                    </a:r>
                  </a:p>
                </c:rich>
              </c:tx>
              <c:dLblPos val="t"/>
              <c:showLegendKey val="0"/>
              <c:showVal val="1"/>
              <c:showCatName val="0"/>
              <c:showSerName val="0"/>
              <c:showPercent val="0"/>
              <c:showBubbleSize val="0"/>
            </c:dLbl>
            <c:dLbl>
              <c:idx val="2"/>
              <c:tx>
                <c:rich>
                  <a:bodyPr/>
                  <a:lstStyle/>
                  <a:p>
                    <a:r>
                      <a:t>15.41</a:t>
                    </a:r>
                  </a:p>
                </c:rich>
              </c:tx>
              <c:dLblPos val="t"/>
              <c:showLegendKey val="0"/>
              <c:showVal val="1"/>
              <c:showCatName val="0"/>
              <c:showSerName val="0"/>
              <c:showPercent val="0"/>
              <c:showBubbleSize val="0"/>
            </c:dLbl>
            <c:dLbl>
              <c:idx val="3"/>
              <c:tx>
                <c:rich>
                  <a:bodyPr/>
                  <a:lstStyle/>
                  <a:p>
                    <a:r>
                      <a:t>16.77</a:t>
                    </a:r>
                  </a:p>
                </c:rich>
              </c:tx>
              <c:dLblPos val="t"/>
              <c:showLegendKey val="0"/>
              <c:showVal val="1"/>
              <c:showCatName val="0"/>
              <c:showSerName val="0"/>
              <c:showPercent val="0"/>
              <c:showBubbleSize val="0"/>
            </c:dLbl>
            <c:dLbl>
              <c:idx val="4"/>
              <c:tx>
                <c:rich>
                  <a:bodyPr/>
                  <a:lstStyle/>
                  <a:p>
                    <a:r>
                      <a:t>12.01</a:t>
                    </a:r>
                  </a:p>
                </c:rich>
              </c:tx>
              <c:dLblPos val="t"/>
              <c:showLegendKey val="0"/>
              <c:showVal val="1"/>
              <c:showCatName val="0"/>
              <c:showSerName val="0"/>
              <c:showPercent val="0"/>
              <c:showBubbleSize val="0"/>
            </c:dLbl>
            <c:dLbl>
              <c:idx val="5"/>
              <c:tx>
                <c:rich>
                  <a:bodyPr/>
                  <a:lstStyle/>
                  <a:p>
                    <a:r>
                      <a:t>23.33</a:t>
                    </a:r>
                  </a:p>
                </c:rich>
              </c:tx>
              <c:dLblPos val="t"/>
              <c:showLegendKey val="0"/>
              <c:showVal val="1"/>
              <c:showCatName val="0"/>
              <c:showSerName val="0"/>
              <c:showPercent val="0"/>
              <c:showBubbleSize val="0"/>
            </c:dLbl>
            <c:dLbl>
              <c:idx val="6"/>
              <c:tx>
                <c:rich>
                  <a:bodyPr/>
                  <a:lstStyle/>
                  <a:p>
                    <a:r>
                      <a:t>0.00</a:t>
                    </a:r>
                  </a:p>
                </c:rich>
              </c:tx>
              <c:dLblPos val="t"/>
              <c:showLegendKey val="0"/>
              <c:showVal val="1"/>
              <c:showCatName val="0"/>
              <c:showSerName val="0"/>
              <c:showPercent val="0"/>
              <c:showBubbleSize val="0"/>
            </c:dLbl>
            <c:dLbl>
              <c:idx val="7"/>
              <c:tx>
                <c:rich>
                  <a:bodyPr/>
                  <a:lstStyle/>
                  <a:p>
                    <a:r>
                      <a:t>50.10</a:t>
                    </a:r>
                  </a:p>
                </c:rich>
              </c:tx>
              <c:dLblPos val="t"/>
              <c:showLegendKey val="0"/>
              <c:showVal val="1"/>
              <c:showCatName val="0"/>
              <c:showSerName val="0"/>
              <c:showPercent val="0"/>
              <c:showBubbleSize val="0"/>
            </c:dLbl>
            <c:dLbl>
              <c:idx val="8"/>
              <c:tx>
                <c:rich>
                  <a:bodyPr/>
                  <a:lstStyle/>
                  <a:p>
                    <a:r>
                      <a:t>46.67</a:t>
                    </a:r>
                  </a:p>
                </c:rich>
              </c:tx>
              <c:dLblPos val="t"/>
              <c:showLegendKey val="0"/>
              <c:showVal val="1"/>
              <c:showCatName val="0"/>
              <c:showSerName val="0"/>
              <c:showPercent val="0"/>
              <c:showBubbleSize val="0"/>
            </c:dLbl>
            <c:dLbl>
              <c:idx val="9"/>
              <c:tx>
                <c:rich>
                  <a:bodyPr/>
                  <a:lstStyle/>
                  <a:p>
                    <a:r>
                      <a:t>72.08</a:t>
                    </a:r>
                  </a:p>
                </c:rich>
              </c:tx>
              <c:dLblPos val="t"/>
              <c:showLegendKey val="0"/>
              <c:showVal val="1"/>
              <c:showCatName val="0"/>
              <c:showSerName val="0"/>
              <c:showPercent val="0"/>
              <c:showBubbleSize val="0"/>
            </c:dLbl>
            <c:dLbl>
              <c:idx val="10"/>
              <c:tx>
                <c:rich>
                  <a:bodyPr/>
                  <a:lstStyle/>
                  <a:p>
                    <a:r>
                      <a:t>14.12</a:t>
                    </a:r>
                  </a:p>
                </c:rich>
              </c:tx>
              <c:dLblPos val="t"/>
              <c:showLegendKey val="0"/>
              <c:showVal val="1"/>
              <c:showCatName val="0"/>
              <c:showSerName val="0"/>
              <c:showPercent val="0"/>
              <c:showBubbleSize val="0"/>
            </c:dLbl>
            <c:dLbl>
              <c:idx val="11"/>
              <c:tx>
                <c:rich>
                  <a:bodyPr/>
                  <a:lstStyle/>
                  <a:p>
                    <a:r>
                      <a:t>143.84</a:t>
                    </a:r>
                  </a:p>
                </c:rich>
              </c:tx>
              <c:dLblPos val="t"/>
              <c:showLegendKey val="0"/>
              <c:showVal val="1"/>
              <c:showCatName val="0"/>
              <c:showSerName val="0"/>
              <c:showPercent val="0"/>
              <c:showBubbleSize val="0"/>
            </c:dLbl>
            <c:dLbl>
              <c:idx val="12"/>
              <c:tx>
                <c:rich>
                  <a:bodyPr/>
                  <a:lstStyle/>
                  <a:p>
                    <a:r>
                      <a:t>92.77</a:t>
                    </a:r>
                  </a:p>
                </c:rich>
              </c:tx>
              <c:dLblPos val="t"/>
              <c:showLegendKey val="0"/>
              <c:showVal val="1"/>
              <c:showCatName val="0"/>
              <c:showSerName val="0"/>
              <c:showPercent val="0"/>
              <c:showBubbleSize val="0"/>
            </c:dLbl>
            <c:dLbl>
              <c:idx val="13"/>
              <c:tx>
                <c:rich>
                  <a:bodyPr/>
                  <a:lstStyle/>
                  <a:p>
                    <a:r>
                      <a:t>44.08</a:t>
                    </a:r>
                  </a:p>
                </c:rich>
              </c:tx>
              <c:dLblPos val="t"/>
              <c:showLegendKey val="0"/>
              <c:showVal val="1"/>
              <c:showCatName val="0"/>
              <c:showSerName val="0"/>
              <c:showPercent val="0"/>
              <c:showBubbleSize val="0"/>
            </c:dLbl>
            <c:dLbl>
              <c:idx val="14"/>
              <c:tx>
                <c:rich>
                  <a:bodyPr/>
                  <a:lstStyle/>
                  <a:p>
                    <a:r>
                      <a:t>40.12</a:t>
                    </a:r>
                  </a:p>
                </c:rich>
              </c:tx>
              <c:dLblPos val="t"/>
              <c:showLegendKey val="0"/>
              <c:showVal val="1"/>
              <c:showCatName val="0"/>
              <c:showSerName val="0"/>
              <c:showPercent val="0"/>
              <c:showBubbleSize val="0"/>
            </c:dLbl>
            <c:dLbl>
              <c:idx val="15"/>
              <c:tx>
                <c:rich>
                  <a:bodyPr/>
                  <a:lstStyle/>
                  <a:p>
                    <a:r>
                      <a:t>46.09</a:t>
                    </a:r>
                  </a:p>
                </c:rich>
              </c:tx>
              <c:dLblPos val="t"/>
              <c:showLegendKey val="0"/>
              <c:showVal val="1"/>
              <c:showCatName val="0"/>
              <c:showSerName val="0"/>
              <c:showPercent val="0"/>
              <c:showBubbleSize val="0"/>
            </c:dLbl>
            <c:dLbl>
              <c:idx val="16"/>
              <c:tx>
                <c:rich>
                  <a:bodyPr/>
                  <a:lstStyle/>
                  <a:p>
                    <a:r>
                      <a:t>53.9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C$2:$C$18</c:f>
              <c:numCache>
                <c:formatCode>General</c:formatCode>
                <c:ptCount val="17"/>
                <c:pt idx="0">
                  <c:v>21.5881</c:v>
                </c:pt>
                <c:pt idx="1">
                  <c:v>9.9804</c:v>
                </c:pt>
                <c:pt idx="2">
                  <c:v>15.4109</c:v>
                </c:pt>
                <c:pt idx="3">
                  <c:v>16.772</c:v>
                </c:pt>
                <c:pt idx="4">
                  <c:v>12.0121</c:v>
                </c:pt>
                <c:pt idx="5">
                  <c:v>23.3349</c:v>
                </c:pt>
                <c:pt idx="6">
                  <c:v>0.0</c:v>
                </c:pt>
                <c:pt idx="7">
                  <c:v>50.0978</c:v>
                </c:pt>
                <c:pt idx="8">
                  <c:v>46.6724</c:v>
                </c:pt>
                <c:pt idx="9">
                  <c:v>72.0846</c:v>
                </c:pt>
                <c:pt idx="10">
                  <c:v>14.1236</c:v>
                </c:pt>
                <c:pt idx="11">
                  <c:v>143.8386</c:v>
                </c:pt>
                <c:pt idx="12">
                  <c:v>92.766</c:v>
                </c:pt>
                <c:pt idx="13">
                  <c:v>44.0817</c:v>
                </c:pt>
                <c:pt idx="14">
                  <c:v>40.1167</c:v>
                </c:pt>
                <c:pt idx="15">
                  <c:v>46.0882</c:v>
                </c:pt>
                <c:pt idx="16">
                  <c:v>53.952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67</a:t>
                    </a:r>
                  </a:p>
                </c:rich>
              </c:tx>
              <c:dLblPos val="ctr"/>
              <c:showLegendKey val="0"/>
              <c:showVal val="1"/>
              <c:showCatName val="0"/>
              <c:showSerName val="0"/>
              <c:showPercent val="0"/>
              <c:showBubbleSize val="0"/>
            </c:dLbl>
            <c:dLbl>
              <c:idx val="1"/>
              <c:tx>
                <c:rich>
                  <a:bodyPr/>
                  <a:lstStyle/>
                  <a:p>
                    <a:r>
                      <a:t>83</a:t>
                    </a:r>
                  </a:p>
                </c:rich>
              </c:tx>
              <c:dLblPos val="ctr"/>
              <c:showLegendKey val="0"/>
              <c:showVal val="1"/>
              <c:showCatName val="0"/>
              <c:showSerName val="0"/>
              <c:showPercent val="0"/>
              <c:showBubbleSize val="0"/>
            </c:dLbl>
            <c:dLbl>
              <c:idx val="2"/>
              <c:tx>
                <c:rich>
                  <a:bodyPr/>
                  <a:lstStyle/>
                  <a:p>
                    <a:r>
                      <a:t>114</a:t>
                    </a:r>
                  </a:p>
                </c:rich>
              </c:tx>
              <c:dLblPos val="ctr"/>
              <c:showLegendKey val="0"/>
              <c:showVal val="1"/>
              <c:showCatName val="0"/>
              <c:showSerName val="0"/>
              <c:showPercent val="0"/>
              <c:showBubbleSize val="0"/>
            </c:dLbl>
            <c:dLbl>
              <c:idx val="3"/>
              <c:tx>
                <c:rich>
                  <a:bodyPr/>
                  <a:lstStyle/>
                  <a:p>
                    <a:r>
                      <a:t>99</a:t>
                    </a:r>
                  </a:p>
                </c:rich>
              </c:tx>
              <c:dLblPos val="ctr"/>
              <c:showLegendKey val="0"/>
              <c:showVal val="1"/>
              <c:showCatName val="0"/>
              <c:showSerName val="0"/>
              <c:showPercent val="0"/>
              <c:showBubbleSize val="0"/>
            </c:dLbl>
            <c:dLbl>
              <c:idx val="4"/>
              <c:tx>
                <c:rich>
                  <a:bodyPr/>
                  <a:lstStyle/>
                  <a:p>
                    <a:r>
                      <a:t>112</a:t>
                    </a:r>
                  </a:p>
                </c:rich>
              </c:tx>
              <c:dLblPos val="ctr"/>
              <c:showLegendKey val="0"/>
              <c:showVal val="1"/>
              <c:showCatName val="0"/>
              <c:showSerName val="0"/>
              <c:showPercent val="0"/>
              <c:showBubbleSize val="0"/>
            </c:dLbl>
            <c:dLbl>
              <c:idx val="5"/>
              <c:tx>
                <c:rich>
                  <a:bodyPr/>
                  <a:lstStyle/>
                  <a:p>
                    <a:r>
                      <a:t>67</a:t>
                    </a:r>
                  </a:p>
                </c:rich>
              </c:tx>
              <c:dLblPos val="ctr"/>
              <c:showLegendKey val="0"/>
              <c:showVal val="1"/>
              <c:showCatName val="0"/>
              <c:showSerName val="0"/>
              <c:showPercent val="0"/>
              <c:showBubbleSize val="0"/>
            </c:dLbl>
            <c:dLbl>
              <c:idx val="6"/>
              <c:tx>
                <c:rich>
                  <a:bodyPr/>
                  <a:lstStyle/>
                  <a:p>
                    <a:r>
                      <a:t>0</a:t>
                    </a:r>
                  </a:p>
                </c:rich>
              </c:tx>
              <c:dLblPos val="ctr"/>
              <c:showLegendKey val="0"/>
              <c:showVal val="1"/>
              <c:showCatName val="0"/>
              <c:showSerName val="0"/>
              <c:showPercent val="0"/>
              <c:showBubbleSize val="0"/>
            </c:dLbl>
            <c:dLbl>
              <c:idx val="7"/>
              <c:tx>
                <c:rich>
                  <a:bodyPr/>
                  <a:lstStyle/>
                  <a:p>
                    <a:r>
                      <a:t>88</a:t>
                    </a:r>
                  </a:p>
                </c:rich>
              </c:tx>
              <c:dLblPos val="ctr"/>
              <c:showLegendKey val="0"/>
              <c:showVal val="1"/>
              <c:showCatName val="0"/>
              <c:showSerName val="0"/>
              <c:showPercent val="0"/>
              <c:showBubbleSize val="0"/>
            </c:dLbl>
            <c:dLbl>
              <c:idx val="8"/>
              <c:tx>
                <c:rich>
                  <a:bodyPr/>
                  <a:lstStyle/>
                  <a:p>
                    <a:r>
                      <a:t>94</a:t>
                    </a:r>
                  </a:p>
                </c:rich>
              </c:tx>
              <c:dLblPos val="ctr"/>
              <c:showLegendKey val="0"/>
              <c:showVal val="1"/>
              <c:showCatName val="0"/>
              <c:showSerName val="0"/>
              <c:showPercent val="0"/>
              <c:showBubbleSize val="0"/>
            </c:dLbl>
            <c:dLbl>
              <c:idx val="9"/>
              <c:tx>
                <c:rich>
                  <a:bodyPr/>
                  <a:lstStyle/>
                  <a:p>
                    <a:r>
                      <a:t>92</a:t>
                    </a:r>
                  </a:p>
                </c:rich>
              </c:tx>
              <c:dLblPos val="ctr"/>
              <c:showLegendKey val="0"/>
              <c:showVal val="1"/>
              <c:showCatName val="0"/>
              <c:showSerName val="0"/>
              <c:showPercent val="0"/>
              <c:showBubbleSize val="0"/>
            </c:dLbl>
            <c:dLbl>
              <c:idx val="10"/>
              <c:tx>
                <c:rich>
                  <a:bodyPr/>
                  <a:lstStyle/>
                  <a:p>
                    <a:r>
                      <a:t>29</a:t>
                    </a:r>
                  </a:p>
                </c:rich>
              </c:tx>
              <c:dLblPos val="ctr"/>
              <c:showLegendKey val="0"/>
              <c:showVal val="1"/>
              <c:showCatName val="0"/>
              <c:showSerName val="0"/>
              <c:showPercent val="0"/>
              <c:showBubbleSize val="0"/>
            </c:dLbl>
            <c:dLbl>
              <c:idx val="11"/>
              <c:tx>
                <c:rich>
                  <a:bodyPr/>
                  <a:lstStyle/>
                  <a:p>
                    <a:r>
                      <a:t>78</a:t>
                    </a:r>
                  </a:p>
                </c:rich>
              </c:tx>
              <c:dLblPos val="ctr"/>
              <c:showLegendKey val="0"/>
              <c:showVal val="1"/>
              <c:showCatName val="0"/>
              <c:showSerName val="0"/>
              <c:showPercent val="0"/>
              <c:showBubbleSize val="0"/>
            </c:dLbl>
            <c:dLbl>
              <c:idx val="12"/>
              <c:tx>
                <c:rich>
                  <a:bodyPr/>
                  <a:lstStyle/>
                  <a:p>
                    <a:r>
                      <a:t>86</a:t>
                    </a:r>
                  </a:p>
                </c:rich>
              </c:tx>
              <c:dLblPos val="ctr"/>
              <c:showLegendKey val="0"/>
              <c:showVal val="1"/>
              <c:showCatName val="0"/>
              <c:showSerName val="0"/>
              <c:showPercent val="0"/>
              <c:showBubbleSize val="0"/>
            </c:dLbl>
            <c:dLbl>
              <c:idx val="13"/>
              <c:tx>
                <c:rich>
                  <a:bodyPr/>
                  <a:lstStyle/>
                  <a:p>
                    <a:r>
                      <a:t>90</a:t>
                    </a:r>
                  </a:p>
                </c:rich>
              </c:tx>
              <c:dLblPos val="ctr"/>
              <c:showLegendKey val="0"/>
              <c:showVal val="1"/>
              <c:showCatName val="0"/>
              <c:showSerName val="0"/>
              <c:showPercent val="0"/>
              <c:showBubbleSize val="0"/>
            </c:dLbl>
            <c:dLbl>
              <c:idx val="14"/>
              <c:tx>
                <c:rich>
                  <a:bodyPr/>
                  <a:lstStyle/>
                  <a:p>
                    <a:r>
                      <a:t>86</a:t>
                    </a:r>
                  </a:p>
                </c:rich>
              </c:tx>
              <c:dLblPos val="ctr"/>
              <c:showLegendKey val="0"/>
              <c:showVal val="1"/>
              <c:showCatName val="0"/>
              <c:showSerName val="0"/>
              <c:showPercent val="0"/>
              <c:showBubbleSize val="0"/>
            </c:dLbl>
            <c:dLbl>
              <c:idx val="15"/>
              <c:tx>
                <c:rich>
                  <a:bodyPr/>
                  <a:lstStyle/>
                  <a:p>
                    <a:r>
                      <a:t>109</a:t>
                    </a:r>
                  </a:p>
                </c:rich>
              </c:tx>
              <c:dLblPos val="ctr"/>
              <c:showLegendKey val="0"/>
              <c:showVal val="1"/>
              <c:showCatName val="0"/>
              <c:showSerName val="0"/>
              <c:showPercent val="0"/>
              <c:showBubbleSize val="0"/>
            </c:dLbl>
            <c:dLbl>
              <c:idx val="16"/>
              <c:tx>
                <c:rich>
                  <a:bodyPr/>
                  <a:lstStyle/>
                  <a:p>
                    <a:r>
                      <a:t>11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1.666851826135259</c:v>
                </c:pt>
                <c:pt idx="1">
                  <c:v>0.8256202074875959</c:v>
                </c:pt>
                <c:pt idx="2">
                  <c:v>1.137006443800545</c:v>
                </c:pt>
                <c:pt idx="3">
                  <c:v>0.9932029795158287</c:v>
                </c:pt>
                <c:pt idx="4">
                  <c:v>1.118222265682296</c:v>
                </c:pt>
                <c:pt idx="5">
                  <c:v>0.667953667953668</c:v>
                </c:pt>
                <c:pt idx="6">
                  <c:v>0.0</c:v>
                </c:pt>
                <c:pt idx="7">
                  <c:v>0.8844931440826029</c:v>
                </c:pt>
                <c:pt idx="8">
                  <c:v>0.9428770463253222</c:v>
                </c:pt>
                <c:pt idx="9">
                  <c:v>0.9249030624357046</c:v>
                </c:pt>
                <c:pt idx="10">
                  <c:v>0.28744568945803795</c:v>
                </c:pt>
                <c:pt idx="11">
                  <c:v>0.7781315802989061</c:v>
                </c:pt>
                <c:pt idx="12">
                  <c:v>0.858252734272681</c:v>
                </c:pt>
                <c:pt idx="13">
                  <c:v>0.9004110100884295</c:v>
                </c:pt>
                <c:pt idx="14">
                  <c:v>0.8593900234606361</c:v>
                </c:pt>
                <c:pt idx="15">
                  <c:v>1.0933193790336648</c:v>
                </c:pt>
                <c:pt idx="16">
                  <c:v>1.191377497371188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5089</c:v>
                </c:pt>
                <c:pt idx="1">
                  <c:v>0.027865</c:v>
                </c:pt>
                <c:pt idx="2">
                  <c:v>0.00904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474</c:v>
                </c:pt>
                <c:pt idx="1">
                  <c:v>0.014109</c:v>
                </c:pt>
                <c:pt idx="2">
                  <c:v>0.00536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201</c:v>
                </c:pt>
                <c:pt idx="1">
                  <c:v>0.001784</c:v>
                </c:pt>
                <c:pt idx="2">
                  <c:v>0.00022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638</c:v>
                </c:pt>
                <c:pt idx="1">
                  <c:v>0.001757</c:v>
                </c:pt>
                <c:pt idx="2">
                  <c:v>0.0007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ffervescents Sans Alcool</c:v>
                </c:pt>
                <c:pt idx="1">
                  <c:v>Mousseux Autres</c:v>
                </c:pt>
                <c:pt idx="2">
                  <c:v>Mousseux Val De Loire</c:v>
                </c:pt>
                <c:pt idx="3">
                  <c:v>Mousseux Bourgogne</c:v>
                </c:pt>
                <c:pt idx="4">
                  <c:v>Mousseux Italiens</c:v>
                </c:pt>
                <c:pt idx="5">
                  <c:v>Mousseux Alsace</c:v>
                </c:pt>
                <c:pt idx="6">
                  <c:v>Bruts</c:v>
                </c:pt>
                <c:pt idx="7">
                  <c:v>Demi-Secs</c:v>
                </c:pt>
                <c:pt idx="8">
                  <c:v>Rosés</c:v>
                </c:pt>
                <c:pt idx="9">
                  <c:v>Mousseux Bordelais</c:v>
                </c:pt>
                <c:pt idx="10">
                  <c:v>Millesimes</c:v>
                </c:pt>
                <c:pt idx="11">
                  <c:v>Blanc De Blancs</c:v>
                </c:pt>
                <c:pt idx="12">
                  <c:v>Extra Brut</c:v>
                </c:pt>
                <c:pt idx="13">
                  <c:v>Crus</c:v>
                </c:pt>
                <c:pt idx="14">
                  <c:v>Blanc De Noirs</c:v>
                </c:pt>
                <c:pt idx="15">
                  <c:v>Brut Nature</c:v>
                </c:pt>
              </c:strCache>
            </c:strRef>
          </c:cat>
          <c:val>
            <c:numRef>
              <c:f>Sheet1!$B$2:$B$17</c:f>
              <c:numCache>
                <c:formatCode>General</c:formatCode>
                <c:ptCount val="16"/>
                <c:pt idx="0">
                  <c:v>0.004125</c:v>
                </c:pt>
                <c:pt idx="1">
                  <c:v>0.001967</c:v>
                </c:pt>
                <c:pt idx="2">
                  <c:v>0.074528</c:v>
                </c:pt>
                <c:pt idx="3">
                  <c:v>0.003585</c:v>
                </c:pt>
                <c:pt idx="4">
                  <c:v>0.008715</c:v>
                </c:pt>
                <c:pt idx="5">
                  <c:v>0.002851</c:v>
                </c:pt>
                <c:pt idx="6">
                  <c:v>0.287043</c:v>
                </c:pt>
                <c:pt idx="7">
                  <c:v>0.000373</c:v>
                </c:pt>
                <c:pt idx="8">
                  <c:v>0.026387</c:v>
                </c:pt>
                <c:pt idx="9">
                  <c:v>0.00026</c:v>
                </c:pt>
                <c:pt idx="10">
                  <c:v>0.013058</c:v>
                </c:pt>
                <c:pt idx="11">
                  <c:v>0.035322</c:v>
                </c:pt>
                <c:pt idx="12">
                  <c:v>0.012443</c:v>
                </c:pt>
                <c:pt idx="13">
                  <c:v>0.022158</c:v>
                </c:pt>
                <c:pt idx="14">
                  <c:v>0.00308</c:v>
                </c:pt>
                <c:pt idx="15">
                  <c:v>0.0007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9.46</a:t>
                    </a:r>
                  </a:p>
                </c:rich>
              </c:tx>
              <c:dLblPos val="t"/>
              <c:showLegendKey val="0"/>
              <c:showVal val="1"/>
              <c:showCatName val="0"/>
              <c:showSerName val="0"/>
              <c:showPercent val="0"/>
              <c:showBubbleSize val="0"/>
            </c:dLbl>
            <c:dLbl>
              <c:idx val="1"/>
              <c:tx>
                <c:rich>
                  <a:bodyPr/>
                  <a:lstStyle/>
                  <a:p>
                    <a:r>
                      <a:t>10.87</a:t>
                    </a:r>
                  </a:p>
                </c:rich>
              </c:tx>
              <c:dLblPos val="t"/>
              <c:showLegendKey val="0"/>
              <c:showVal val="1"/>
              <c:showCatName val="0"/>
              <c:showSerName val="0"/>
              <c:showPercent val="0"/>
              <c:showBubbleSize val="0"/>
            </c:dLbl>
            <c:dLbl>
              <c:idx val="2"/>
              <c:tx>
                <c:rich>
                  <a:bodyPr/>
                  <a:lstStyle/>
                  <a:p>
                    <a:r>
                      <a:t>13.89</a:t>
                    </a:r>
                  </a:p>
                </c:rich>
              </c:tx>
              <c:dLblPos val="t"/>
              <c:showLegendKey val="0"/>
              <c:showVal val="1"/>
              <c:showCatName val="0"/>
              <c:showSerName val="0"/>
              <c:showPercent val="0"/>
              <c:showBubbleSize val="0"/>
            </c:dLbl>
            <c:dLbl>
              <c:idx val="3"/>
              <c:tx>
                <c:rich>
                  <a:bodyPr/>
                  <a:lstStyle/>
                  <a:p>
                    <a:r>
                      <a:t>16.91</a:t>
                    </a:r>
                  </a:p>
                </c:rich>
              </c:tx>
              <c:dLblPos val="t"/>
              <c:showLegendKey val="0"/>
              <c:showVal val="1"/>
              <c:showCatName val="0"/>
              <c:showSerName val="0"/>
              <c:showPercent val="0"/>
              <c:showBubbleSize val="0"/>
            </c:dLbl>
            <c:dLbl>
              <c:idx val="4"/>
              <c:tx>
                <c:rich>
                  <a:bodyPr/>
                  <a:lstStyle/>
                  <a:p>
                    <a:r>
                      <a:t>11.02</a:t>
                    </a:r>
                  </a:p>
                </c:rich>
              </c:tx>
              <c:dLblPos val="t"/>
              <c:showLegendKey val="0"/>
              <c:showVal val="1"/>
              <c:showCatName val="0"/>
              <c:showSerName val="0"/>
              <c:showPercent val="0"/>
              <c:showBubbleSize val="0"/>
            </c:dLbl>
            <c:dLbl>
              <c:idx val="5"/>
              <c:tx>
                <c:rich>
                  <a:bodyPr/>
                  <a:lstStyle/>
                  <a:p>
                    <a:r>
                      <a:t>22.81</a:t>
                    </a:r>
                  </a:p>
                </c:rich>
              </c:tx>
              <c:dLblPos val="t"/>
              <c:showLegendKey val="0"/>
              <c:showVal val="1"/>
              <c:showCatName val="0"/>
              <c:showSerName val="0"/>
              <c:showPercent val="0"/>
              <c:showBubbleSize val="0"/>
            </c:dLbl>
            <c:dLbl>
              <c:idx val="6"/>
              <c:tx>
                <c:rich>
                  <a:bodyPr/>
                  <a:lstStyle/>
                  <a:p>
                    <a:r>
                      <a:t>53.28</a:t>
                    </a:r>
                  </a:p>
                </c:rich>
              </c:tx>
              <c:dLblPos val="t"/>
              <c:showLegendKey val="0"/>
              <c:showVal val="1"/>
              <c:showCatName val="0"/>
              <c:showSerName val="0"/>
              <c:showPercent val="0"/>
              <c:showBubbleSize val="0"/>
            </c:dLbl>
            <c:dLbl>
              <c:idx val="7"/>
              <c:tx>
                <c:rich>
                  <a:bodyPr/>
                  <a:lstStyle/>
                  <a:p>
                    <a:r>
                      <a:t>33.91</a:t>
                    </a:r>
                  </a:p>
                </c:rich>
              </c:tx>
              <c:dLblPos val="t"/>
              <c:showLegendKey val="0"/>
              <c:showVal val="1"/>
              <c:showCatName val="0"/>
              <c:showSerName val="0"/>
              <c:showPercent val="0"/>
              <c:showBubbleSize val="0"/>
            </c:dLbl>
            <c:dLbl>
              <c:idx val="8"/>
              <c:tx>
                <c:rich>
                  <a:bodyPr/>
                  <a:lstStyle/>
                  <a:p>
                    <a:r>
                      <a:t>71.32</a:t>
                    </a:r>
                  </a:p>
                </c:rich>
              </c:tx>
              <c:dLblPos val="t"/>
              <c:showLegendKey val="0"/>
              <c:showVal val="1"/>
              <c:showCatName val="0"/>
              <c:showSerName val="0"/>
              <c:showPercent val="0"/>
              <c:showBubbleSize val="0"/>
            </c:dLbl>
            <c:dLbl>
              <c:idx val="9"/>
              <c:tx>
                <c:rich>
                  <a:bodyPr/>
                  <a:lstStyle/>
                  <a:p>
                    <a:r>
                      <a:t>12.38</a:t>
                    </a:r>
                  </a:p>
                </c:rich>
              </c:tx>
              <c:dLblPos val="t"/>
              <c:showLegendKey val="0"/>
              <c:showVal val="1"/>
              <c:showCatName val="0"/>
              <c:showSerName val="0"/>
              <c:showPercent val="0"/>
              <c:showBubbleSize val="0"/>
            </c:dLbl>
            <c:dLbl>
              <c:idx val="10"/>
              <c:tx>
                <c:rich>
                  <a:bodyPr/>
                  <a:lstStyle/>
                  <a:p>
                    <a:r>
                      <a:t>165.29</a:t>
                    </a:r>
                  </a:p>
                </c:rich>
              </c:tx>
              <c:dLblPos val="t"/>
              <c:showLegendKey val="0"/>
              <c:showVal val="1"/>
              <c:showCatName val="0"/>
              <c:showSerName val="0"/>
              <c:showPercent val="0"/>
              <c:showBubbleSize val="0"/>
            </c:dLbl>
            <c:dLbl>
              <c:idx val="11"/>
              <c:tx>
                <c:rich>
                  <a:bodyPr/>
                  <a:lstStyle/>
                  <a:p>
                    <a:r>
                      <a:t>83.70</a:t>
                    </a:r>
                  </a:p>
                </c:rich>
              </c:tx>
              <c:dLblPos val="t"/>
              <c:showLegendKey val="0"/>
              <c:showVal val="1"/>
              <c:showCatName val="0"/>
              <c:showSerName val="0"/>
              <c:showPercent val="0"/>
              <c:showBubbleSize val="0"/>
            </c:dLbl>
            <c:dLbl>
              <c:idx val="12"/>
              <c:tx>
                <c:rich>
                  <a:bodyPr/>
                  <a:lstStyle/>
                  <a:p>
                    <a:r>
                      <a:t>46.43</a:t>
                    </a:r>
                  </a:p>
                </c:rich>
              </c:tx>
              <c:dLblPos val="t"/>
              <c:showLegendKey val="0"/>
              <c:showVal val="1"/>
              <c:showCatName val="0"/>
              <c:showSerName val="0"/>
              <c:showPercent val="0"/>
              <c:showBubbleSize val="0"/>
            </c:dLbl>
            <c:dLbl>
              <c:idx val="13"/>
              <c:tx>
                <c:rich>
                  <a:bodyPr/>
                  <a:lstStyle/>
                  <a:p>
                    <a:r>
                      <a:t>40.36</a:t>
                    </a:r>
                  </a:p>
                </c:rich>
              </c:tx>
              <c:dLblPos val="t"/>
              <c:showLegendKey val="0"/>
              <c:showVal val="1"/>
              <c:showCatName val="0"/>
              <c:showSerName val="0"/>
              <c:showPercent val="0"/>
              <c:showBubbleSize val="0"/>
            </c:dLbl>
            <c:dLbl>
              <c:idx val="14"/>
              <c:tx>
                <c:rich>
                  <a:bodyPr/>
                  <a:lstStyle/>
                  <a:p>
                    <a:r>
                      <a:t>46.67</a:t>
                    </a:r>
                  </a:p>
                </c:rich>
              </c:tx>
              <c:dLblPos val="t"/>
              <c:showLegendKey val="0"/>
              <c:showVal val="1"/>
              <c:showCatName val="0"/>
              <c:showSerName val="0"/>
              <c:showPercent val="0"/>
              <c:showBubbleSize val="0"/>
            </c:dLbl>
            <c:dLbl>
              <c:idx val="15"/>
              <c:tx>
                <c:rich>
                  <a:bodyPr/>
                  <a:lstStyle/>
                  <a:p>
                    <a:r>
                      <a:t>47.5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ffervescents Sans Alcool</c:v>
                </c:pt>
                <c:pt idx="1">
                  <c:v>Mousseux Autres</c:v>
                </c:pt>
                <c:pt idx="2">
                  <c:v>Mousseux Val De Loire</c:v>
                </c:pt>
                <c:pt idx="3">
                  <c:v>Mousseux Bourgogne</c:v>
                </c:pt>
                <c:pt idx="4">
                  <c:v>Mousseux Italiens</c:v>
                </c:pt>
                <c:pt idx="5">
                  <c:v>Mousseux Alsace</c:v>
                </c:pt>
                <c:pt idx="6">
                  <c:v>Bruts</c:v>
                </c:pt>
                <c:pt idx="7">
                  <c:v>Demi-Secs</c:v>
                </c:pt>
                <c:pt idx="8">
                  <c:v>Rosés</c:v>
                </c:pt>
                <c:pt idx="9">
                  <c:v>Mousseux Bordelais</c:v>
                </c:pt>
                <c:pt idx="10">
                  <c:v>Millesimes</c:v>
                </c:pt>
                <c:pt idx="11">
                  <c:v>Blanc De Blancs</c:v>
                </c:pt>
                <c:pt idx="12">
                  <c:v>Extra Brut</c:v>
                </c:pt>
                <c:pt idx="13">
                  <c:v>Crus</c:v>
                </c:pt>
                <c:pt idx="14">
                  <c:v>Blanc De Noirs</c:v>
                </c:pt>
                <c:pt idx="15">
                  <c:v>Brut Nature</c:v>
                </c:pt>
              </c:strCache>
            </c:strRef>
          </c:cat>
          <c:val>
            <c:numRef>
              <c:f>Sheet1!$C$2:$C$17</c:f>
              <c:numCache>
                <c:formatCode>General</c:formatCode>
                <c:ptCount val="16"/>
                <c:pt idx="0">
                  <c:v>19.4575</c:v>
                </c:pt>
                <c:pt idx="1">
                  <c:v>10.8674</c:v>
                </c:pt>
                <c:pt idx="2">
                  <c:v>13.8889</c:v>
                </c:pt>
                <c:pt idx="3">
                  <c:v>16.9104</c:v>
                </c:pt>
                <c:pt idx="4">
                  <c:v>11.0177</c:v>
                </c:pt>
                <c:pt idx="5">
                  <c:v>22.808</c:v>
                </c:pt>
                <c:pt idx="6">
                  <c:v>53.2844</c:v>
                </c:pt>
                <c:pt idx="7">
                  <c:v>33.9091</c:v>
                </c:pt>
                <c:pt idx="8">
                  <c:v>71.3162</c:v>
                </c:pt>
                <c:pt idx="9">
                  <c:v>12.381</c:v>
                </c:pt>
                <c:pt idx="10">
                  <c:v>165.2911</c:v>
                </c:pt>
                <c:pt idx="11">
                  <c:v>83.7014</c:v>
                </c:pt>
                <c:pt idx="12">
                  <c:v>46.4291</c:v>
                </c:pt>
                <c:pt idx="13">
                  <c:v>40.3607</c:v>
                </c:pt>
                <c:pt idx="14">
                  <c:v>46.6667</c:v>
                </c:pt>
                <c:pt idx="15">
                  <c:v>47.53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c:v>
                </c:pt>
                <c:pt idx="1">
                  <c:v>0.00044</c:v>
                </c:pt>
                <c:pt idx="2">
                  <c:v>0.0001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2e-05</c:v>
                </c:pt>
                <c:pt idx="1">
                  <c:v>2.4e-05</c:v>
                </c:pt>
                <c:pt idx="2">
                  <c:v>1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69</c:v>
                </c:pt>
                <c:pt idx="1">
                  <c:v>0.000165</c:v>
                </c:pt>
                <c:pt idx="2">
                  <c:v>4.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41</a:t>
                    </a:r>
                  </a:p>
                </c:rich>
              </c:tx>
              <c:dLblPos val="ctr"/>
              <c:showLegendKey val="0"/>
              <c:showVal val="1"/>
              <c:showCatName val="0"/>
              <c:showSerName val="0"/>
              <c:showPercent val="0"/>
              <c:showBubbleSize val="0"/>
            </c:dLbl>
            <c:dLbl>
              <c:idx val="1"/>
              <c:tx>
                <c:rich>
                  <a:bodyPr/>
                  <a:lstStyle/>
                  <a:p>
                    <a:r>
                      <a:t>122</a:t>
                    </a:r>
                  </a:p>
                </c:rich>
              </c:tx>
              <c:dLblPos val="ctr"/>
              <c:showLegendKey val="0"/>
              <c:showVal val="1"/>
              <c:showCatName val="0"/>
              <c:showSerName val="0"/>
              <c:showPercent val="0"/>
              <c:showBubbleSize val="0"/>
            </c:dLbl>
            <c:dLbl>
              <c:idx val="2"/>
              <c:tx>
                <c:rich>
                  <a:bodyPr/>
                  <a:lstStyle/>
                  <a:p>
                    <a:r>
                      <a:t>94</a:t>
                    </a:r>
                  </a:p>
                </c:rich>
              </c:tx>
              <c:dLblPos val="ctr"/>
              <c:showLegendKey val="0"/>
              <c:showVal val="1"/>
              <c:showCatName val="0"/>
              <c:showSerName val="0"/>
              <c:showPercent val="0"/>
              <c:showBubbleSize val="0"/>
            </c:dLbl>
            <c:dLbl>
              <c:idx val="3"/>
              <c:tx>
                <c:rich>
                  <a:bodyPr/>
                  <a:lstStyle/>
                  <a:p>
                    <a:r>
                      <a:t>94</a:t>
                    </a:r>
                  </a:p>
                </c:rich>
              </c:tx>
              <c:dLblPos val="ctr"/>
              <c:showLegendKey val="0"/>
              <c:showVal val="1"/>
              <c:showCatName val="0"/>
              <c:showSerName val="0"/>
              <c:showPercent val="0"/>
              <c:showBubbleSize val="0"/>
            </c:dLbl>
            <c:dLbl>
              <c:idx val="4"/>
              <c:tx>
                <c:rich>
                  <a:bodyPr/>
                  <a:lstStyle/>
                  <a:p>
                    <a:r>
                      <a:t>109</a:t>
                    </a:r>
                  </a:p>
                </c:rich>
              </c:tx>
              <c:dLblPos val="ctr"/>
              <c:showLegendKey val="0"/>
              <c:showVal val="1"/>
              <c:showCatName val="0"/>
              <c:showSerName val="0"/>
              <c:showPercent val="0"/>
              <c:showBubbleSize val="0"/>
            </c:dLbl>
            <c:dLbl>
              <c:idx val="5"/>
              <c:tx>
                <c:rich>
                  <a:bodyPr/>
                  <a:lstStyle/>
                  <a:p>
                    <a:r>
                      <a:t>160</a:t>
                    </a:r>
                  </a:p>
                </c:rich>
              </c:tx>
              <c:dLblPos val="ctr"/>
              <c:showLegendKey val="0"/>
              <c:showVal val="1"/>
              <c:showCatName val="0"/>
              <c:showSerName val="0"/>
              <c:showPercent val="0"/>
              <c:showBubbleSize val="0"/>
            </c:dLbl>
            <c:dLbl>
              <c:idx val="6"/>
              <c:tx>
                <c:rich>
                  <a:bodyPr/>
                  <a:lstStyle/>
                  <a:p>
                    <a:r>
                      <a:t>89</a:t>
                    </a:r>
                  </a:p>
                </c:rich>
              </c:tx>
              <c:dLblPos val="ctr"/>
              <c:showLegendKey val="0"/>
              <c:showVal val="1"/>
              <c:showCatName val="0"/>
              <c:showSerName val="0"/>
              <c:showPercent val="0"/>
              <c:showBubbleSize val="0"/>
            </c:dLbl>
            <c:dLbl>
              <c:idx val="7"/>
              <c:tx>
                <c:rich>
                  <a:bodyPr/>
                  <a:lstStyle/>
                  <a:p>
                    <a:r>
                      <a:t>43</a:t>
                    </a:r>
                  </a:p>
                </c:rich>
              </c:tx>
              <c:dLblPos val="ctr"/>
              <c:showLegendKey val="0"/>
              <c:showVal val="1"/>
              <c:showCatName val="0"/>
              <c:showSerName val="0"/>
              <c:showPercent val="0"/>
              <c:showBubbleSize val="0"/>
            </c:dLbl>
            <c:dLbl>
              <c:idx val="8"/>
              <c:tx>
                <c:rich>
                  <a:bodyPr/>
                  <a:lstStyle/>
                  <a:p>
                    <a:r>
                      <a:t>86</a:t>
                    </a:r>
                  </a:p>
                </c:rich>
              </c:tx>
              <c:dLblPos val="ctr"/>
              <c:showLegendKey val="0"/>
              <c:showVal val="1"/>
              <c:showCatName val="0"/>
              <c:showSerName val="0"/>
              <c:showPercent val="0"/>
              <c:showBubbleSize val="0"/>
            </c:dLbl>
            <c:dLbl>
              <c:idx val="9"/>
              <c:tx>
                <c:rich>
                  <a:bodyPr/>
                  <a:lstStyle/>
                  <a:p>
                    <a:r>
                      <a:t>28</a:t>
                    </a:r>
                  </a:p>
                </c:rich>
              </c:tx>
              <c:dLblPos val="ctr"/>
              <c:showLegendKey val="0"/>
              <c:showVal val="1"/>
              <c:showCatName val="0"/>
              <c:showSerName val="0"/>
              <c:showPercent val="0"/>
              <c:showBubbleSize val="0"/>
            </c:dLbl>
            <c:dLbl>
              <c:idx val="10"/>
              <c:tx>
                <c:rich>
                  <a:bodyPr/>
                  <a:lstStyle/>
                  <a:p>
                    <a:r>
                      <a:t>80</a:t>
                    </a:r>
                  </a:p>
                </c:rich>
              </c:tx>
              <c:dLblPos val="ctr"/>
              <c:showLegendKey val="0"/>
              <c:showVal val="1"/>
              <c:showCatName val="0"/>
              <c:showSerName val="0"/>
              <c:showPercent val="0"/>
              <c:showBubbleSize val="0"/>
            </c:dLbl>
            <c:dLbl>
              <c:idx val="11"/>
              <c:tx>
                <c:rich>
                  <a:bodyPr/>
                  <a:lstStyle/>
                  <a:p>
                    <a:r>
                      <a:t>61</a:t>
                    </a:r>
                  </a:p>
                </c:rich>
              </c:tx>
              <c:dLblPos val="ctr"/>
              <c:showLegendKey val="0"/>
              <c:showVal val="1"/>
              <c:showCatName val="0"/>
              <c:showSerName val="0"/>
              <c:showPercent val="0"/>
              <c:showBubbleSize val="0"/>
            </c:dLbl>
            <c:dLbl>
              <c:idx val="12"/>
              <c:tx>
                <c:rich>
                  <a:bodyPr/>
                  <a:lstStyle/>
                  <a:p>
                    <a:r>
                      <a:t>143</a:t>
                    </a:r>
                  </a:p>
                </c:rich>
              </c:tx>
              <c:dLblPos val="ctr"/>
              <c:showLegendKey val="0"/>
              <c:showVal val="1"/>
              <c:showCatName val="0"/>
              <c:showSerName val="0"/>
              <c:showPercent val="0"/>
              <c:showBubbleSize val="0"/>
            </c:dLbl>
            <c:dLbl>
              <c:idx val="13"/>
              <c:tx>
                <c:rich>
                  <a:bodyPr/>
                  <a:lstStyle/>
                  <a:p>
                    <a:r>
                      <a:t>89</a:t>
                    </a:r>
                  </a:p>
                </c:rich>
              </c:tx>
              <c:dLblPos val="ctr"/>
              <c:showLegendKey val="0"/>
              <c:showVal val="1"/>
              <c:showCatName val="0"/>
              <c:showSerName val="0"/>
              <c:showPercent val="0"/>
              <c:showBubbleSize val="0"/>
            </c:dLbl>
            <c:dLbl>
              <c:idx val="14"/>
              <c:tx>
                <c:rich>
                  <a:bodyPr/>
                  <a:lstStyle/>
                  <a:p>
                    <a:r>
                      <a:t>110</a:t>
                    </a:r>
                  </a:p>
                </c:rich>
              </c:tx>
              <c:dLblPos val="ctr"/>
              <c:showLegendKey val="0"/>
              <c:showVal val="1"/>
              <c:showCatName val="0"/>
              <c:showSerName val="0"/>
              <c:showPercent val="0"/>
              <c:showBubbleSize val="0"/>
            </c:dLbl>
            <c:dLbl>
              <c:idx val="15"/>
              <c:tx>
                <c:rich>
                  <a:bodyPr/>
                  <a:lstStyle/>
                  <a:p>
                    <a:r>
                      <a:t>105</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ffervescents Sans Alcool</c:v>
                </c:pt>
                <c:pt idx="1">
                  <c:v>Mousseux Autres</c:v>
                </c:pt>
                <c:pt idx="2">
                  <c:v>Mousseux Val De Loire</c:v>
                </c:pt>
                <c:pt idx="3">
                  <c:v>Mousseux Bourgogne</c:v>
                </c:pt>
                <c:pt idx="4">
                  <c:v>Mousseux Italiens</c:v>
                </c:pt>
                <c:pt idx="5">
                  <c:v>Mousseux Alsace</c:v>
                </c:pt>
                <c:pt idx="6">
                  <c:v>Bruts</c:v>
                </c:pt>
                <c:pt idx="7">
                  <c:v>Demi-Secs</c:v>
                </c:pt>
                <c:pt idx="8">
                  <c:v>Rosés</c:v>
                </c:pt>
                <c:pt idx="9">
                  <c:v>Mousseux Bordelais</c:v>
                </c:pt>
                <c:pt idx="10">
                  <c:v>Millesimes</c:v>
                </c:pt>
                <c:pt idx="11">
                  <c:v>Blanc De Blancs</c:v>
                </c:pt>
                <c:pt idx="12">
                  <c:v>Extra Brut</c:v>
                </c:pt>
                <c:pt idx="13">
                  <c:v>Crus</c:v>
                </c:pt>
                <c:pt idx="14">
                  <c:v>Blanc De Noirs</c:v>
                </c:pt>
                <c:pt idx="15">
                  <c:v>Brut Nature</c:v>
                </c:pt>
              </c:strCache>
            </c:strRef>
          </c:cat>
          <c:val>
            <c:numRef>
              <c:f>Sheet1!$B$2:$B$17</c:f>
              <c:numCache>
                <c:formatCode>General</c:formatCode>
                <c:ptCount val="16"/>
                <c:pt idx="0">
                  <c:v>2.406651108518086</c:v>
                </c:pt>
                <c:pt idx="1">
                  <c:v>1.215698393077874</c:v>
                </c:pt>
                <c:pt idx="2">
                  <c:v>0.9364108105391449</c:v>
                </c:pt>
                <c:pt idx="3">
                  <c:v>0.9362757900235048</c:v>
                </c:pt>
                <c:pt idx="4">
                  <c:v>1.0891027243189202</c:v>
                </c:pt>
                <c:pt idx="5">
                  <c:v>1.601685393258427</c:v>
                </c:pt>
                <c:pt idx="6">
                  <c:v>0.8938362562901699</c:v>
                </c:pt>
                <c:pt idx="7">
                  <c:v>0.42873563218390803</c:v>
                </c:pt>
                <c:pt idx="8">
                  <c:v>0.8615881930385947</c:v>
                </c:pt>
                <c:pt idx="9">
                  <c:v>0.2835332606324973</c:v>
                </c:pt>
                <c:pt idx="10">
                  <c:v>0.8042126008499108</c:v>
                </c:pt>
                <c:pt idx="11">
                  <c:v>0.6091050181065701</c:v>
                </c:pt>
                <c:pt idx="12">
                  <c:v>1.4274406332453826</c:v>
                </c:pt>
                <c:pt idx="13">
                  <c:v>0.8900939985538684</c:v>
                </c:pt>
                <c:pt idx="14">
                  <c:v>1.100392997499107</c:v>
                </c:pt>
                <c:pt idx="15">
                  <c:v>1.0516224188790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029</c:v>
                </c:pt>
                <c:pt idx="1">
                  <c:v>0.017619</c:v>
                </c:pt>
                <c:pt idx="2">
                  <c:v>0.0058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695</c:v>
                </c:pt>
                <c:pt idx="1">
                  <c:v>0.001031</c:v>
                </c:pt>
                <c:pt idx="2">
                  <c:v>6.6e-0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77</c:v>
                </c:pt>
                <c:pt idx="1">
                  <c:v>0.00677</c:v>
                </c:pt>
                <c:pt idx="2">
                  <c:v>0.00197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0.100336</c:v>
                </c:pt>
                <c:pt idx="1">
                  <c:v>0.061043</c:v>
                </c:pt>
                <c:pt idx="2">
                  <c:v>0.181315</c:v>
                </c:pt>
                <c:pt idx="3">
                  <c:v>0.074724</c:v>
                </c:pt>
                <c:pt idx="4">
                  <c:v>0.236389</c:v>
                </c:pt>
                <c:pt idx="5">
                  <c:v>0.098554</c:v>
                </c:pt>
                <c:pt idx="6">
                  <c:v>7e-05</c:v>
                </c:pt>
                <c:pt idx="7">
                  <c:v>6.21124</c:v>
                </c:pt>
                <c:pt idx="8">
                  <c:v>0.018399</c:v>
                </c:pt>
                <c:pt idx="9">
                  <c:v>0.559229</c:v>
                </c:pt>
                <c:pt idx="10">
                  <c:v>0.010968</c:v>
                </c:pt>
                <c:pt idx="11">
                  <c:v>0.327341</c:v>
                </c:pt>
                <c:pt idx="12">
                  <c:v>0.997983</c:v>
                </c:pt>
                <c:pt idx="13">
                  <c:v>0.339868</c:v>
                </c:pt>
                <c:pt idx="14">
                  <c:v>0.424541</c:v>
                </c:pt>
                <c:pt idx="15">
                  <c:v>0.052171</c:v>
                </c:pt>
                <c:pt idx="16">
                  <c:v>0.0443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11</a:t>
                    </a:r>
                  </a:p>
                </c:rich>
              </c:tx>
              <c:dLblPos val="t"/>
              <c:showLegendKey val="0"/>
              <c:showVal val="1"/>
              <c:showCatName val="0"/>
              <c:showSerName val="0"/>
              <c:showPercent val="0"/>
              <c:showBubbleSize val="0"/>
            </c:dLbl>
            <c:dLbl>
              <c:idx val="1"/>
              <c:tx>
                <c:rich>
                  <a:bodyPr/>
                  <a:lstStyle/>
                  <a:p>
                    <a:r>
                      <a:t>11.81</a:t>
                    </a:r>
                  </a:p>
                </c:rich>
              </c:tx>
              <c:dLblPos val="t"/>
              <c:showLegendKey val="0"/>
              <c:showVal val="1"/>
              <c:showCatName val="0"/>
              <c:showSerName val="0"/>
              <c:showPercent val="0"/>
              <c:showBubbleSize val="0"/>
            </c:dLbl>
            <c:dLbl>
              <c:idx val="2"/>
              <c:tx>
                <c:rich>
                  <a:bodyPr/>
                  <a:lstStyle/>
                  <a:p>
                    <a:r>
                      <a:t>15.35</a:t>
                    </a:r>
                  </a:p>
                </c:rich>
              </c:tx>
              <c:dLblPos val="t"/>
              <c:showLegendKey val="0"/>
              <c:showVal val="1"/>
              <c:showCatName val="0"/>
              <c:showSerName val="0"/>
              <c:showPercent val="0"/>
              <c:showBubbleSize val="0"/>
            </c:dLbl>
            <c:dLbl>
              <c:idx val="3"/>
              <c:tx>
                <c:rich>
                  <a:bodyPr/>
                  <a:lstStyle/>
                  <a:p>
                    <a:r>
                      <a:t>17.06</a:t>
                    </a:r>
                  </a:p>
                </c:rich>
              </c:tx>
              <c:dLblPos val="t"/>
              <c:showLegendKey val="0"/>
              <c:showVal val="1"/>
              <c:showCatName val="0"/>
              <c:showSerName val="0"/>
              <c:showPercent val="0"/>
              <c:showBubbleSize val="0"/>
            </c:dLbl>
            <c:dLbl>
              <c:idx val="4"/>
              <c:tx>
                <c:rich>
                  <a:bodyPr/>
                  <a:lstStyle/>
                  <a:p>
                    <a:r>
                      <a:t>11.89</a:t>
                    </a:r>
                  </a:p>
                </c:rich>
              </c:tx>
              <c:dLblPos val="t"/>
              <c:showLegendKey val="0"/>
              <c:showVal val="1"/>
              <c:showCatName val="0"/>
              <c:showSerName val="0"/>
              <c:showPercent val="0"/>
              <c:showBubbleSize val="0"/>
            </c:dLbl>
            <c:dLbl>
              <c:idx val="5"/>
              <c:tx>
                <c:rich>
                  <a:bodyPr/>
                  <a:lstStyle/>
                  <a:p>
                    <a:r>
                      <a:t>19.11</a:t>
                    </a:r>
                  </a:p>
                </c:rich>
              </c:tx>
              <c:dLblPos val="t"/>
              <c:showLegendKey val="0"/>
              <c:showVal val="1"/>
              <c:showCatName val="0"/>
              <c:showSerName val="0"/>
              <c:showPercent val="0"/>
              <c:showBubbleSize val="0"/>
            </c:dLbl>
            <c:dLbl>
              <c:idx val="6"/>
              <c:tx>
                <c:rich>
                  <a:bodyPr/>
                  <a:lstStyle/>
                  <a:p>
                    <a:r>
                      <a:t>14.00</a:t>
                    </a:r>
                  </a:p>
                </c:rich>
              </c:tx>
              <c:dLblPos val="t"/>
              <c:showLegendKey val="0"/>
              <c:showVal val="1"/>
              <c:showCatName val="0"/>
              <c:showSerName val="0"/>
              <c:showPercent val="0"/>
              <c:showBubbleSize val="0"/>
            </c:dLbl>
            <c:dLbl>
              <c:idx val="7"/>
              <c:tx>
                <c:rich>
                  <a:bodyPr/>
                  <a:lstStyle/>
                  <a:p>
                    <a:r>
                      <a:t>52.29</a:t>
                    </a:r>
                  </a:p>
                </c:rich>
              </c:tx>
              <c:dLblPos val="t"/>
              <c:showLegendKey val="0"/>
              <c:showVal val="1"/>
              <c:showCatName val="0"/>
              <c:showSerName val="0"/>
              <c:showPercent val="0"/>
              <c:showBubbleSize val="0"/>
            </c:dLbl>
            <c:dLbl>
              <c:idx val="8"/>
              <c:tx>
                <c:rich>
                  <a:bodyPr/>
                  <a:lstStyle/>
                  <a:p>
                    <a:r>
                      <a:t>48.55</a:t>
                    </a:r>
                  </a:p>
                </c:rich>
              </c:tx>
              <c:dLblPos val="t"/>
              <c:showLegendKey val="0"/>
              <c:showVal val="1"/>
              <c:showCatName val="0"/>
              <c:showSerName val="0"/>
              <c:showPercent val="0"/>
              <c:showBubbleSize val="0"/>
            </c:dLbl>
            <c:dLbl>
              <c:idx val="9"/>
              <c:tx>
                <c:rich>
                  <a:bodyPr/>
                  <a:lstStyle/>
                  <a:p>
                    <a:r>
                      <a:t>71.40</a:t>
                    </a:r>
                  </a:p>
                </c:rich>
              </c:tx>
              <c:dLblPos val="t"/>
              <c:showLegendKey val="0"/>
              <c:showVal val="1"/>
              <c:showCatName val="0"/>
              <c:showSerName val="0"/>
              <c:showPercent val="0"/>
              <c:showBubbleSize val="0"/>
            </c:dLbl>
            <c:dLbl>
              <c:idx val="10"/>
              <c:tx>
                <c:rich>
                  <a:bodyPr/>
                  <a:lstStyle/>
                  <a:p>
                    <a:r>
                      <a:t>14.10</a:t>
                    </a:r>
                  </a:p>
                </c:rich>
              </c:tx>
              <c:dLblPos val="t"/>
              <c:showLegendKey val="0"/>
              <c:showVal val="1"/>
              <c:showCatName val="0"/>
              <c:showSerName val="0"/>
              <c:showPercent val="0"/>
              <c:showBubbleSize val="0"/>
            </c:dLbl>
            <c:dLbl>
              <c:idx val="11"/>
              <c:tx>
                <c:rich>
                  <a:bodyPr/>
                  <a:lstStyle/>
                  <a:p>
                    <a:r>
                      <a:t>172.92</a:t>
                    </a:r>
                  </a:p>
                </c:rich>
              </c:tx>
              <c:dLblPos val="t"/>
              <c:showLegendKey val="0"/>
              <c:showVal val="1"/>
              <c:showCatName val="0"/>
              <c:showSerName val="0"/>
              <c:showPercent val="0"/>
              <c:showBubbleSize val="0"/>
            </c:dLbl>
            <c:dLbl>
              <c:idx val="12"/>
              <c:tx>
                <c:rich>
                  <a:bodyPr/>
                  <a:lstStyle/>
                  <a:p>
                    <a:r>
                      <a:t>96.43</a:t>
                    </a:r>
                  </a:p>
                </c:rich>
              </c:tx>
              <c:dLblPos val="t"/>
              <c:showLegendKey val="0"/>
              <c:showVal val="1"/>
              <c:showCatName val="0"/>
              <c:showSerName val="0"/>
              <c:showPercent val="0"/>
              <c:showBubbleSize val="0"/>
            </c:dLbl>
            <c:dLbl>
              <c:idx val="13"/>
              <c:tx>
                <c:rich>
                  <a:bodyPr/>
                  <a:lstStyle/>
                  <a:p>
                    <a:r>
                      <a:t>44.68</a:t>
                    </a:r>
                  </a:p>
                </c:rich>
              </c:tx>
              <c:dLblPos val="t"/>
              <c:showLegendKey val="0"/>
              <c:showVal val="1"/>
              <c:showCatName val="0"/>
              <c:showSerName val="0"/>
              <c:showPercent val="0"/>
              <c:showBubbleSize val="0"/>
            </c:dLbl>
            <c:dLbl>
              <c:idx val="14"/>
              <c:tx>
                <c:rich>
                  <a:bodyPr/>
                  <a:lstStyle/>
                  <a:p>
                    <a:r>
                      <a:t>40.00</a:t>
                    </a:r>
                  </a:p>
                </c:rich>
              </c:tx>
              <c:dLblPos val="t"/>
              <c:showLegendKey val="0"/>
              <c:showVal val="1"/>
              <c:showCatName val="0"/>
              <c:showSerName val="0"/>
              <c:showPercent val="0"/>
              <c:showBubbleSize val="0"/>
            </c:dLbl>
            <c:dLbl>
              <c:idx val="15"/>
              <c:tx>
                <c:rich>
                  <a:bodyPr/>
                  <a:lstStyle/>
                  <a:p>
                    <a:r>
                      <a:t>48.44</a:t>
                    </a:r>
                  </a:p>
                </c:rich>
              </c:tx>
              <c:dLblPos val="t"/>
              <c:showLegendKey val="0"/>
              <c:showVal val="1"/>
              <c:showCatName val="0"/>
              <c:showSerName val="0"/>
              <c:showPercent val="0"/>
              <c:showBubbleSize val="0"/>
            </c:dLbl>
            <c:dLbl>
              <c:idx val="16"/>
              <c:tx>
                <c:rich>
                  <a:bodyPr/>
                  <a:lstStyle/>
                  <a:p>
                    <a:r>
                      <a:t>58.91</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C$2:$C$18</c:f>
              <c:numCache>
                <c:formatCode>General</c:formatCode>
                <c:ptCount val="17"/>
                <c:pt idx="0">
                  <c:v>23.1082</c:v>
                </c:pt>
                <c:pt idx="1">
                  <c:v>11.8117</c:v>
                </c:pt>
                <c:pt idx="2">
                  <c:v>15.3527</c:v>
                </c:pt>
                <c:pt idx="3">
                  <c:v>17.0564</c:v>
                </c:pt>
                <c:pt idx="4">
                  <c:v>11.8932</c:v>
                </c:pt>
                <c:pt idx="5">
                  <c:v>19.1107</c:v>
                </c:pt>
                <c:pt idx="6">
                  <c:v>14.0</c:v>
                </c:pt>
                <c:pt idx="7">
                  <c:v>52.2884</c:v>
                </c:pt>
                <c:pt idx="8">
                  <c:v>48.5462</c:v>
                </c:pt>
                <c:pt idx="9">
                  <c:v>71.4031</c:v>
                </c:pt>
                <c:pt idx="10">
                  <c:v>14.0977</c:v>
                </c:pt>
                <c:pt idx="11">
                  <c:v>172.9218</c:v>
                </c:pt>
                <c:pt idx="12">
                  <c:v>96.4328</c:v>
                </c:pt>
                <c:pt idx="13">
                  <c:v>44.6783</c:v>
                </c:pt>
                <c:pt idx="14">
                  <c:v>40.002</c:v>
                </c:pt>
                <c:pt idx="15">
                  <c:v>48.441</c:v>
                </c:pt>
                <c:pt idx="16">
                  <c:v>58.910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88</a:t>
                    </a:r>
                  </a:p>
                </c:rich>
              </c:tx>
              <c:dLblPos val="ctr"/>
              <c:showLegendKey val="0"/>
              <c:showVal val="1"/>
              <c:showCatName val="0"/>
              <c:showSerName val="0"/>
              <c:showPercent val="0"/>
              <c:showBubbleSize val="0"/>
            </c:dLbl>
            <c:dLbl>
              <c:idx val="1"/>
              <c:tx>
                <c:rich>
                  <a:bodyPr/>
                  <a:lstStyle/>
                  <a:p>
                    <a:r>
                      <a:t>115</a:t>
                    </a:r>
                  </a:p>
                </c:rich>
              </c:tx>
              <c:dLblPos val="ctr"/>
              <c:showLegendKey val="0"/>
              <c:showVal val="1"/>
              <c:showCatName val="0"/>
              <c:showSerName val="0"/>
              <c:showPercent val="0"/>
              <c:showBubbleSize val="0"/>
            </c:dLbl>
            <c:dLbl>
              <c:idx val="2"/>
              <c:tx>
                <c:rich>
                  <a:bodyPr/>
                  <a:lstStyle/>
                  <a:p>
                    <a:r>
                      <a:t>101</a:t>
                    </a:r>
                  </a:p>
                </c:rich>
              </c:tx>
              <c:dLblPos val="ctr"/>
              <c:showLegendKey val="0"/>
              <c:showVal val="1"/>
              <c:showCatName val="0"/>
              <c:showSerName val="0"/>
              <c:showPercent val="0"/>
              <c:showBubbleSize val="0"/>
            </c:dLbl>
            <c:dLbl>
              <c:idx val="3"/>
              <c:tx>
                <c:rich>
                  <a:bodyPr/>
                  <a:lstStyle/>
                  <a:p>
                    <a:r>
                      <a:t>88</a:t>
                    </a:r>
                  </a:p>
                </c:rich>
              </c:tx>
              <c:dLblPos val="ctr"/>
              <c:showLegendKey val="0"/>
              <c:showVal val="1"/>
              <c:showCatName val="0"/>
              <c:showSerName val="0"/>
              <c:showPercent val="0"/>
              <c:showBubbleSize val="0"/>
            </c:dLbl>
            <c:dLbl>
              <c:idx val="4"/>
              <c:tx>
                <c:rich>
                  <a:bodyPr/>
                  <a:lstStyle/>
                  <a:p>
                    <a:r>
                      <a:t>90</a:t>
                    </a:r>
                  </a:p>
                </c:rich>
              </c:tx>
              <c:dLblPos val="ctr"/>
              <c:showLegendKey val="0"/>
              <c:showVal val="1"/>
              <c:showCatName val="0"/>
              <c:showSerName val="0"/>
              <c:showPercent val="0"/>
              <c:showBubbleSize val="0"/>
            </c:dLbl>
            <c:dLbl>
              <c:idx val="5"/>
              <c:tx>
                <c:rich>
                  <a:bodyPr/>
                  <a:lstStyle/>
                  <a:p>
                    <a:r>
                      <a:t>105</a:t>
                    </a:r>
                  </a:p>
                </c:rich>
              </c:tx>
              <c:dLblPos val="ctr"/>
              <c:showLegendKey val="0"/>
              <c:showVal val="1"/>
              <c:showCatName val="0"/>
              <c:showSerName val="0"/>
              <c:showPercent val="0"/>
              <c:showBubbleSize val="0"/>
            </c:dLbl>
            <c:dLbl>
              <c:idx val="6"/>
              <c:tx>
                <c:rich>
                  <a:bodyPr/>
                  <a:lstStyle/>
                  <a:p>
                    <a:r>
                      <a:t>125</a:t>
                    </a:r>
                  </a:p>
                </c:rich>
              </c:tx>
              <c:dLblPos val="ctr"/>
              <c:showLegendKey val="0"/>
              <c:showVal val="1"/>
              <c:showCatName val="0"/>
              <c:showSerName val="0"/>
              <c:showPercent val="0"/>
              <c:showBubbleSize val="0"/>
            </c:dLbl>
            <c:dLbl>
              <c:idx val="7"/>
              <c:tx>
                <c:rich>
                  <a:bodyPr/>
                  <a:lstStyle/>
                  <a:p>
                    <a:r>
                      <a:t>89</a:t>
                    </a:r>
                  </a:p>
                </c:rich>
              </c:tx>
              <c:dLblPos val="ctr"/>
              <c:showLegendKey val="0"/>
              <c:showVal val="1"/>
              <c:showCatName val="0"/>
              <c:showSerName val="0"/>
              <c:showPercent val="0"/>
              <c:showBubbleSize val="0"/>
            </c:dLbl>
            <c:dLbl>
              <c:idx val="8"/>
              <c:tx>
                <c:rich>
                  <a:bodyPr/>
                  <a:lstStyle/>
                  <a:p>
                    <a:r>
                      <a:t>94</a:t>
                    </a:r>
                  </a:p>
                </c:rich>
              </c:tx>
              <c:dLblPos val="ctr"/>
              <c:showLegendKey val="0"/>
              <c:showVal val="1"/>
              <c:showCatName val="0"/>
              <c:showSerName val="0"/>
              <c:showPercent val="0"/>
              <c:showBubbleSize val="0"/>
            </c:dLbl>
            <c:dLbl>
              <c:idx val="9"/>
              <c:tx>
                <c:rich>
                  <a:bodyPr/>
                  <a:lstStyle/>
                  <a:p>
                    <a:r>
                      <a:t>83</a:t>
                    </a:r>
                  </a:p>
                </c:rich>
              </c:tx>
              <c:dLblPos val="ctr"/>
              <c:showLegendKey val="0"/>
              <c:showVal val="1"/>
              <c:showCatName val="0"/>
              <c:showSerName val="0"/>
              <c:showPercent val="0"/>
              <c:showBubbleSize val="0"/>
            </c:dLbl>
            <c:dLbl>
              <c:idx val="10"/>
              <c:tx>
                <c:rich>
                  <a:bodyPr/>
                  <a:lstStyle/>
                  <a:p>
                    <a:r>
                      <a:t>37</a:t>
                    </a:r>
                  </a:p>
                </c:rich>
              </c:tx>
              <c:dLblPos val="ctr"/>
              <c:showLegendKey val="0"/>
              <c:showVal val="1"/>
              <c:showCatName val="0"/>
              <c:showSerName val="0"/>
              <c:showPercent val="0"/>
              <c:showBubbleSize val="0"/>
            </c:dLbl>
            <c:dLbl>
              <c:idx val="11"/>
              <c:tx>
                <c:rich>
                  <a:bodyPr/>
                  <a:lstStyle/>
                  <a:p>
                    <a:r>
                      <a:t>80</a:t>
                    </a:r>
                  </a:p>
                </c:rich>
              </c:tx>
              <c:dLblPos val="ctr"/>
              <c:showLegendKey val="0"/>
              <c:showVal val="1"/>
              <c:showCatName val="0"/>
              <c:showSerName val="0"/>
              <c:showPercent val="0"/>
              <c:showBubbleSize val="0"/>
            </c:dLbl>
            <c:dLbl>
              <c:idx val="12"/>
              <c:tx>
                <c:rich>
                  <a:bodyPr/>
                  <a:lstStyle/>
                  <a:p>
                    <a:r>
                      <a:t>76</a:t>
                    </a:r>
                  </a:p>
                </c:rich>
              </c:tx>
              <c:dLblPos val="ctr"/>
              <c:showLegendKey val="0"/>
              <c:showVal val="1"/>
              <c:showCatName val="0"/>
              <c:showSerName val="0"/>
              <c:showPercent val="0"/>
              <c:showBubbleSize val="0"/>
            </c:dLbl>
            <c:dLbl>
              <c:idx val="13"/>
              <c:tx>
                <c:rich>
                  <a:bodyPr/>
                  <a:lstStyle/>
                  <a:p>
                    <a:r>
                      <a:t>101</a:t>
                    </a:r>
                  </a:p>
                </c:rich>
              </c:tx>
              <c:dLblPos val="ctr"/>
              <c:showLegendKey val="0"/>
              <c:showVal val="1"/>
              <c:showCatName val="0"/>
              <c:showSerName val="0"/>
              <c:showPercent val="0"/>
              <c:showBubbleSize val="0"/>
            </c:dLbl>
            <c:dLbl>
              <c:idx val="14"/>
              <c:tx>
                <c:rich>
                  <a:bodyPr/>
                  <a:lstStyle/>
                  <a:p>
                    <a:r>
                      <a:t>87</a:t>
                    </a:r>
                  </a:p>
                </c:rich>
              </c:tx>
              <c:dLblPos val="ctr"/>
              <c:showLegendKey val="0"/>
              <c:showVal val="1"/>
              <c:showCatName val="0"/>
              <c:showSerName val="0"/>
              <c:showPercent val="0"/>
              <c:showBubbleSize val="0"/>
            </c:dLbl>
            <c:dLbl>
              <c:idx val="15"/>
              <c:tx>
                <c:rich>
                  <a:bodyPr/>
                  <a:lstStyle/>
                  <a:p>
                    <a:r>
                      <a:t>91</a:t>
                    </a:r>
                  </a:p>
                </c:rich>
              </c:tx>
              <c:dLblPos val="ctr"/>
              <c:showLegendKey val="0"/>
              <c:showVal val="1"/>
              <c:showCatName val="0"/>
              <c:showSerName val="0"/>
              <c:showPercent val="0"/>
              <c:showBubbleSize val="0"/>
            </c:dLbl>
            <c:dLbl>
              <c:idx val="16"/>
              <c:tx>
                <c:rich>
                  <a:bodyPr/>
                  <a:lstStyle/>
                  <a:p>
                    <a:r>
                      <a:t>8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1.8770180525675801</c:v>
                </c:pt>
                <c:pt idx="1">
                  <c:v>1.1545430473596612</c:v>
                </c:pt>
                <c:pt idx="2">
                  <c:v>1.0140886820734245</c:v>
                </c:pt>
                <c:pt idx="3">
                  <c:v>0.8781244491450731</c:v>
                </c:pt>
                <c:pt idx="4">
                  <c:v>0.899238046691038</c:v>
                </c:pt>
                <c:pt idx="5">
                  <c:v>1.048602983423063</c:v>
                </c:pt>
                <c:pt idx="6">
                  <c:v>1.25</c:v>
                </c:pt>
                <c:pt idx="7">
                  <c:v>0.8872852691194659</c:v>
                </c:pt>
                <c:pt idx="8">
                  <c:v>0.9355740872571952</c:v>
                </c:pt>
                <c:pt idx="9">
                  <c:v>0.8255935491300125</c:v>
                </c:pt>
                <c:pt idx="10">
                  <c:v>0.37470533975607256</c:v>
                </c:pt>
                <c:pt idx="11">
                  <c:v>0.800381924832694</c:v>
                </c:pt>
                <c:pt idx="12">
                  <c:v>0.7640517481618041</c:v>
                </c:pt>
                <c:pt idx="13">
                  <c:v>1.012829185577671</c:v>
                </c:pt>
                <c:pt idx="14">
                  <c:v>0.8714736438038974</c:v>
                </c:pt>
                <c:pt idx="15">
                  <c:v>0.9066279716390936</c:v>
                </c:pt>
                <c:pt idx="16">
                  <c:v>0.86686234223657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0.100336</c:v>
                </c:pt>
                <c:pt idx="1">
                  <c:v>0.061043</c:v>
                </c:pt>
                <c:pt idx="2">
                  <c:v>0.181315</c:v>
                </c:pt>
                <c:pt idx="3">
                  <c:v>0.074724</c:v>
                </c:pt>
                <c:pt idx="4">
                  <c:v>0.236389</c:v>
                </c:pt>
                <c:pt idx="5">
                  <c:v>0.098554</c:v>
                </c:pt>
                <c:pt idx="6">
                  <c:v>7e-05</c:v>
                </c:pt>
                <c:pt idx="7">
                  <c:v>6.21124</c:v>
                </c:pt>
                <c:pt idx="8">
                  <c:v>0.018399</c:v>
                </c:pt>
                <c:pt idx="9">
                  <c:v>0.559229</c:v>
                </c:pt>
                <c:pt idx="10">
                  <c:v>0.010968</c:v>
                </c:pt>
                <c:pt idx="11">
                  <c:v>0.327341</c:v>
                </c:pt>
                <c:pt idx="12">
                  <c:v>0.997983</c:v>
                </c:pt>
                <c:pt idx="13">
                  <c:v>0.339868</c:v>
                </c:pt>
                <c:pt idx="14">
                  <c:v>0.424541</c:v>
                </c:pt>
                <c:pt idx="15">
                  <c:v>0.052171</c:v>
                </c:pt>
                <c:pt idx="16">
                  <c:v>0.0443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11</a:t>
                    </a:r>
                  </a:p>
                </c:rich>
              </c:tx>
              <c:dLblPos val="t"/>
              <c:showLegendKey val="0"/>
              <c:showVal val="1"/>
              <c:showCatName val="0"/>
              <c:showSerName val="0"/>
              <c:showPercent val="0"/>
              <c:showBubbleSize val="0"/>
            </c:dLbl>
            <c:dLbl>
              <c:idx val="1"/>
              <c:tx>
                <c:rich>
                  <a:bodyPr/>
                  <a:lstStyle/>
                  <a:p>
                    <a:r>
                      <a:t>11.81</a:t>
                    </a:r>
                  </a:p>
                </c:rich>
              </c:tx>
              <c:dLblPos val="t"/>
              <c:showLegendKey val="0"/>
              <c:showVal val="1"/>
              <c:showCatName val="0"/>
              <c:showSerName val="0"/>
              <c:showPercent val="0"/>
              <c:showBubbleSize val="0"/>
            </c:dLbl>
            <c:dLbl>
              <c:idx val="2"/>
              <c:tx>
                <c:rich>
                  <a:bodyPr/>
                  <a:lstStyle/>
                  <a:p>
                    <a:r>
                      <a:t>15.35</a:t>
                    </a:r>
                  </a:p>
                </c:rich>
              </c:tx>
              <c:dLblPos val="t"/>
              <c:showLegendKey val="0"/>
              <c:showVal val="1"/>
              <c:showCatName val="0"/>
              <c:showSerName val="0"/>
              <c:showPercent val="0"/>
              <c:showBubbleSize val="0"/>
            </c:dLbl>
            <c:dLbl>
              <c:idx val="3"/>
              <c:tx>
                <c:rich>
                  <a:bodyPr/>
                  <a:lstStyle/>
                  <a:p>
                    <a:r>
                      <a:t>17.06</a:t>
                    </a:r>
                  </a:p>
                </c:rich>
              </c:tx>
              <c:dLblPos val="t"/>
              <c:showLegendKey val="0"/>
              <c:showVal val="1"/>
              <c:showCatName val="0"/>
              <c:showSerName val="0"/>
              <c:showPercent val="0"/>
              <c:showBubbleSize val="0"/>
            </c:dLbl>
            <c:dLbl>
              <c:idx val="4"/>
              <c:tx>
                <c:rich>
                  <a:bodyPr/>
                  <a:lstStyle/>
                  <a:p>
                    <a:r>
                      <a:t>11.89</a:t>
                    </a:r>
                  </a:p>
                </c:rich>
              </c:tx>
              <c:dLblPos val="t"/>
              <c:showLegendKey val="0"/>
              <c:showVal val="1"/>
              <c:showCatName val="0"/>
              <c:showSerName val="0"/>
              <c:showPercent val="0"/>
              <c:showBubbleSize val="0"/>
            </c:dLbl>
            <c:dLbl>
              <c:idx val="5"/>
              <c:tx>
                <c:rich>
                  <a:bodyPr/>
                  <a:lstStyle/>
                  <a:p>
                    <a:r>
                      <a:t>19.11</a:t>
                    </a:r>
                  </a:p>
                </c:rich>
              </c:tx>
              <c:dLblPos val="t"/>
              <c:showLegendKey val="0"/>
              <c:showVal val="1"/>
              <c:showCatName val="0"/>
              <c:showSerName val="0"/>
              <c:showPercent val="0"/>
              <c:showBubbleSize val="0"/>
            </c:dLbl>
            <c:dLbl>
              <c:idx val="6"/>
              <c:tx>
                <c:rich>
                  <a:bodyPr/>
                  <a:lstStyle/>
                  <a:p>
                    <a:r>
                      <a:t>14.00</a:t>
                    </a:r>
                  </a:p>
                </c:rich>
              </c:tx>
              <c:dLblPos val="t"/>
              <c:showLegendKey val="0"/>
              <c:showVal val="1"/>
              <c:showCatName val="0"/>
              <c:showSerName val="0"/>
              <c:showPercent val="0"/>
              <c:showBubbleSize val="0"/>
            </c:dLbl>
            <c:dLbl>
              <c:idx val="7"/>
              <c:tx>
                <c:rich>
                  <a:bodyPr/>
                  <a:lstStyle/>
                  <a:p>
                    <a:r>
                      <a:t>52.29</a:t>
                    </a:r>
                  </a:p>
                </c:rich>
              </c:tx>
              <c:dLblPos val="t"/>
              <c:showLegendKey val="0"/>
              <c:showVal val="1"/>
              <c:showCatName val="0"/>
              <c:showSerName val="0"/>
              <c:showPercent val="0"/>
              <c:showBubbleSize val="0"/>
            </c:dLbl>
            <c:dLbl>
              <c:idx val="8"/>
              <c:tx>
                <c:rich>
                  <a:bodyPr/>
                  <a:lstStyle/>
                  <a:p>
                    <a:r>
                      <a:t>48.55</a:t>
                    </a:r>
                  </a:p>
                </c:rich>
              </c:tx>
              <c:dLblPos val="t"/>
              <c:showLegendKey val="0"/>
              <c:showVal val="1"/>
              <c:showCatName val="0"/>
              <c:showSerName val="0"/>
              <c:showPercent val="0"/>
              <c:showBubbleSize val="0"/>
            </c:dLbl>
            <c:dLbl>
              <c:idx val="9"/>
              <c:tx>
                <c:rich>
                  <a:bodyPr/>
                  <a:lstStyle/>
                  <a:p>
                    <a:r>
                      <a:t>71.40</a:t>
                    </a:r>
                  </a:p>
                </c:rich>
              </c:tx>
              <c:dLblPos val="t"/>
              <c:showLegendKey val="0"/>
              <c:showVal val="1"/>
              <c:showCatName val="0"/>
              <c:showSerName val="0"/>
              <c:showPercent val="0"/>
              <c:showBubbleSize val="0"/>
            </c:dLbl>
            <c:dLbl>
              <c:idx val="10"/>
              <c:tx>
                <c:rich>
                  <a:bodyPr/>
                  <a:lstStyle/>
                  <a:p>
                    <a:r>
                      <a:t>14.10</a:t>
                    </a:r>
                  </a:p>
                </c:rich>
              </c:tx>
              <c:dLblPos val="t"/>
              <c:showLegendKey val="0"/>
              <c:showVal val="1"/>
              <c:showCatName val="0"/>
              <c:showSerName val="0"/>
              <c:showPercent val="0"/>
              <c:showBubbleSize val="0"/>
            </c:dLbl>
            <c:dLbl>
              <c:idx val="11"/>
              <c:tx>
                <c:rich>
                  <a:bodyPr/>
                  <a:lstStyle/>
                  <a:p>
                    <a:r>
                      <a:t>172.92</a:t>
                    </a:r>
                  </a:p>
                </c:rich>
              </c:tx>
              <c:dLblPos val="t"/>
              <c:showLegendKey val="0"/>
              <c:showVal val="1"/>
              <c:showCatName val="0"/>
              <c:showSerName val="0"/>
              <c:showPercent val="0"/>
              <c:showBubbleSize val="0"/>
            </c:dLbl>
            <c:dLbl>
              <c:idx val="12"/>
              <c:tx>
                <c:rich>
                  <a:bodyPr/>
                  <a:lstStyle/>
                  <a:p>
                    <a:r>
                      <a:t>96.43</a:t>
                    </a:r>
                  </a:p>
                </c:rich>
              </c:tx>
              <c:dLblPos val="t"/>
              <c:showLegendKey val="0"/>
              <c:showVal val="1"/>
              <c:showCatName val="0"/>
              <c:showSerName val="0"/>
              <c:showPercent val="0"/>
              <c:showBubbleSize val="0"/>
            </c:dLbl>
            <c:dLbl>
              <c:idx val="13"/>
              <c:tx>
                <c:rich>
                  <a:bodyPr/>
                  <a:lstStyle/>
                  <a:p>
                    <a:r>
                      <a:t>44.68</a:t>
                    </a:r>
                  </a:p>
                </c:rich>
              </c:tx>
              <c:dLblPos val="t"/>
              <c:showLegendKey val="0"/>
              <c:showVal val="1"/>
              <c:showCatName val="0"/>
              <c:showSerName val="0"/>
              <c:showPercent val="0"/>
              <c:showBubbleSize val="0"/>
            </c:dLbl>
            <c:dLbl>
              <c:idx val="14"/>
              <c:tx>
                <c:rich>
                  <a:bodyPr/>
                  <a:lstStyle/>
                  <a:p>
                    <a:r>
                      <a:t>40.00</a:t>
                    </a:r>
                  </a:p>
                </c:rich>
              </c:tx>
              <c:dLblPos val="t"/>
              <c:showLegendKey val="0"/>
              <c:showVal val="1"/>
              <c:showCatName val="0"/>
              <c:showSerName val="0"/>
              <c:showPercent val="0"/>
              <c:showBubbleSize val="0"/>
            </c:dLbl>
            <c:dLbl>
              <c:idx val="15"/>
              <c:tx>
                <c:rich>
                  <a:bodyPr/>
                  <a:lstStyle/>
                  <a:p>
                    <a:r>
                      <a:t>48.44</a:t>
                    </a:r>
                  </a:p>
                </c:rich>
              </c:tx>
              <c:dLblPos val="t"/>
              <c:showLegendKey val="0"/>
              <c:showVal val="1"/>
              <c:showCatName val="0"/>
              <c:showSerName val="0"/>
              <c:showPercent val="0"/>
              <c:showBubbleSize val="0"/>
            </c:dLbl>
            <c:dLbl>
              <c:idx val="16"/>
              <c:tx>
                <c:rich>
                  <a:bodyPr/>
                  <a:lstStyle/>
                  <a:p>
                    <a:r>
                      <a:t>58.91</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C$2:$C$18</c:f>
              <c:numCache>
                <c:formatCode>General</c:formatCode>
                <c:ptCount val="17"/>
                <c:pt idx="0">
                  <c:v>23.1082</c:v>
                </c:pt>
                <c:pt idx="1">
                  <c:v>11.8117</c:v>
                </c:pt>
                <c:pt idx="2">
                  <c:v>15.3527</c:v>
                </c:pt>
                <c:pt idx="3">
                  <c:v>17.0564</c:v>
                </c:pt>
                <c:pt idx="4">
                  <c:v>11.8932</c:v>
                </c:pt>
                <c:pt idx="5">
                  <c:v>19.1107</c:v>
                </c:pt>
                <c:pt idx="6">
                  <c:v>14.0</c:v>
                </c:pt>
                <c:pt idx="7">
                  <c:v>52.2884</c:v>
                </c:pt>
                <c:pt idx="8">
                  <c:v>48.5462</c:v>
                </c:pt>
                <c:pt idx="9">
                  <c:v>71.4031</c:v>
                </c:pt>
                <c:pt idx="10">
                  <c:v>14.0977</c:v>
                </c:pt>
                <c:pt idx="11">
                  <c:v>172.9218</c:v>
                </c:pt>
                <c:pt idx="12">
                  <c:v>96.4328</c:v>
                </c:pt>
                <c:pt idx="13">
                  <c:v>44.6783</c:v>
                </c:pt>
                <c:pt idx="14">
                  <c:v>40.002</c:v>
                </c:pt>
                <c:pt idx="15">
                  <c:v>48.441</c:v>
                </c:pt>
                <c:pt idx="16">
                  <c:v>58.910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88</a:t>
                    </a:r>
                  </a:p>
                </c:rich>
              </c:tx>
              <c:dLblPos val="ctr"/>
              <c:showLegendKey val="0"/>
              <c:showVal val="1"/>
              <c:showCatName val="0"/>
              <c:showSerName val="0"/>
              <c:showPercent val="0"/>
              <c:showBubbleSize val="0"/>
            </c:dLbl>
            <c:dLbl>
              <c:idx val="1"/>
              <c:tx>
                <c:rich>
                  <a:bodyPr/>
                  <a:lstStyle/>
                  <a:p>
                    <a:r>
                      <a:t>115</a:t>
                    </a:r>
                  </a:p>
                </c:rich>
              </c:tx>
              <c:dLblPos val="ctr"/>
              <c:showLegendKey val="0"/>
              <c:showVal val="1"/>
              <c:showCatName val="0"/>
              <c:showSerName val="0"/>
              <c:showPercent val="0"/>
              <c:showBubbleSize val="0"/>
            </c:dLbl>
            <c:dLbl>
              <c:idx val="2"/>
              <c:tx>
                <c:rich>
                  <a:bodyPr/>
                  <a:lstStyle/>
                  <a:p>
                    <a:r>
                      <a:t>101</a:t>
                    </a:r>
                  </a:p>
                </c:rich>
              </c:tx>
              <c:dLblPos val="ctr"/>
              <c:showLegendKey val="0"/>
              <c:showVal val="1"/>
              <c:showCatName val="0"/>
              <c:showSerName val="0"/>
              <c:showPercent val="0"/>
              <c:showBubbleSize val="0"/>
            </c:dLbl>
            <c:dLbl>
              <c:idx val="3"/>
              <c:tx>
                <c:rich>
                  <a:bodyPr/>
                  <a:lstStyle/>
                  <a:p>
                    <a:r>
                      <a:t>88</a:t>
                    </a:r>
                  </a:p>
                </c:rich>
              </c:tx>
              <c:dLblPos val="ctr"/>
              <c:showLegendKey val="0"/>
              <c:showVal val="1"/>
              <c:showCatName val="0"/>
              <c:showSerName val="0"/>
              <c:showPercent val="0"/>
              <c:showBubbleSize val="0"/>
            </c:dLbl>
            <c:dLbl>
              <c:idx val="4"/>
              <c:tx>
                <c:rich>
                  <a:bodyPr/>
                  <a:lstStyle/>
                  <a:p>
                    <a:r>
                      <a:t>90</a:t>
                    </a:r>
                  </a:p>
                </c:rich>
              </c:tx>
              <c:dLblPos val="ctr"/>
              <c:showLegendKey val="0"/>
              <c:showVal val="1"/>
              <c:showCatName val="0"/>
              <c:showSerName val="0"/>
              <c:showPercent val="0"/>
              <c:showBubbleSize val="0"/>
            </c:dLbl>
            <c:dLbl>
              <c:idx val="5"/>
              <c:tx>
                <c:rich>
                  <a:bodyPr/>
                  <a:lstStyle/>
                  <a:p>
                    <a:r>
                      <a:t>105</a:t>
                    </a:r>
                  </a:p>
                </c:rich>
              </c:tx>
              <c:dLblPos val="ctr"/>
              <c:showLegendKey val="0"/>
              <c:showVal val="1"/>
              <c:showCatName val="0"/>
              <c:showSerName val="0"/>
              <c:showPercent val="0"/>
              <c:showBubbleSize val="0"/>
            </c:dLbl>
            <c:dLbl>
              <c:idx val="6"/>
              <c:tx>
                <c:rich>
                  <a:bodyPr/>
                  <a:lstStyle/>
                  <a:p>
                    <a:r>
                      <a:t>125</a:t>
                    </a:r>
                  </a:p>
                </c:rich>
              </c:tx>
              <c:dLblPos val="ctr"/>
              <c:showLegendKey val="0"/>
              <c:showVal val="1"/>
              <c:showCatName val="0"/>
              <c:showSerName val="0"/>
              <c:showPercent val="0"/>
              <c:showBubbleSize val="0"/>
            </c:dLbl>
            <c:dLbl>
              <c:idx val="7"/>
              <c:tx>
                <c:rich>
                  <a:bodyPr/>
                  <a:lstStyle/>
                  <a:p>
                    <a:r>
                      <a:t>89</a:t>
                    </a:r>
                  </a:p>
                </c:rich>
              </c:tx>
              <c:dLblPos val="ctr"/>
              <c:showLegendKey val="0"/>
              <c:showVal val="1"/>
              <c:showCatName val="0"/>
              <c:showSerName val="0"/>
              <c:showPercent val="0"/>
              <c:showBubbleSize val="0"/>
            </c:dLbl>
            <c:dLbl>
              <c:idx val="8"/>
              <c:tx>
                <c:rich>
                  <a:bodyPr/>
                  <a:lstStyle/>
                  <a:p>
                    <a:r>
                      <a:t>94</a:t>
                    </a:r>
                  </a:p>
                </c:rich>
              </c:tx>
              <c:dLblPos val="ctr"/>
              <c:showLegendKey val="0"/>
              <c:showVal val="1"/>
              <c:showCatName val="0"/>
              <c:showSerName val="0"/>
              <c:showPercent val="0"/>
              <c:showBubbleSize val="0"/>
            </c:dLbl>
            <c:dLbl>
              <c:idx val="9"/>
              <c:tx>
                <c:rich>
                  <a:bodyPr/>
                  <a:lstStyle/>
                  <a:p>
                    <a:r>
                      <a:t>83</a:t>
                    </a:r>
                  </a:p>
                </c:rich>
              </c:tx>
              <c:dLblPos val="ctr"/>
              <c:showLegendKey val="0"/>
              <c:showVal val="1"/>
              <c:showCatName val="0"/>
              <c:showSerName val="0"/>
              <c:showPercent val="0"/>
              <c:showBubbleSize val="0"/>
            </c:dLbl>
            <c:dLbl>
              <c:idx val="10"/>
              <c:tx>
                <c:rich>
                  <a:bodyPr/>
                  <a:lstStyle/>
                  <a:p>
                    <a:r>
                      <a:t>37</a:t>
                    </a:r>
                  </a:p>
                </c:rich>
              </c:tx>
              <c:dLblPos val="ctr"/>
              <c:showLegendKey val="0"/>
              <c:showVal val="1"/>
              <c:showCatName val="0"/>
              <c:showSerName val="0"/>
              <c:showPercent val="0"/>
              <c:showBubbleSize val="0"/>
            </c:dLbl>
            <c:dLbl>
              <c:idx val="11"/>
              <c:tx>
                <c:rich>
                  <a:bodyPr/>
                  <a:lstStyle/>
                  <a:p>
                    <a:r>
                      <a:t>80</a:t>
                    </a:r>
                  </a:p>
                </c:rich>
              </c:tx>
              <c:dLblPos val="ctr"/>
              <c:showLegendKey val="0"/>
              <c:showVal val="1"/>
              <c:showCatName val="0"/>
              <c:showSerName val="0"/>
              <c:showPercent val="0"/>
              <c:showBubbleSize val="0"/>
            </c:dLbl>
            <c:dLbl>
              <c:idx val="12"/>
              <c:tx>
                <c:rich>
                  <a:bodyPr/>
                  <a:lstStyle/>
                  <a:p>
                    <a:r>
                      <a:t>76</a:t>
                    </a:r>
                  </a:p>
                </c:rich>
              </c:tx>
              <c:dLblPos val="ctr"/>
              <c:showLegendKey val="0"/>
              <c:showVal val="1"/>
              <c:showCatName val="0"/>
              <c:showSerName val="0"/>
              <c:showPercent val="0"/>
              <c:showBubbleSize val="0"/>
            </c:dLbl>
            <c:dLbl>
              <c:idx val="13"/>
              <c:tx>
                <c:rich>
                  <a:bodyPr/>
                  <a:lstStyle/>
                  <a:p>
                    <a:r>
                      <a:t>101</a:t>
                    </a:r>
                  </a:p>
                </c:rich>
              </c:tx>
              <c:dLblPos val="ctr"/>
              <c:showLegendKey val="0"/>
              <c:showVal val="1"/>
              <c:showCatName val="0"/>
              <c:showSerName val="0"/>
              <c:showPercent val="0"/>
              <c:showBubbleSize val="0"/>
            </c:dLbl>
            <c:dLbl>
              <c:idx val="14"/>
              <c:tx>
                <c:rich>
                  <a:bodyPr/>
                  <a:lstStyle/>
                  <a:p>
                    <a:r>
                      <a:t>87</a:t>
                    </a:r>
                  </a:p>
                </c:rich>
              </c:tx>
              <c:dLblPos val="ctr"/>
              <c:showLegendKey val="0"/>
              <c:showVal val="1"/>
              <c:showCatName val="0"/>
              <c:showSerName val="0"/>
              <c:showPercent val="0"/>
              <c:showBubbleSize val="0"/>
            </c:dLbl>
            <c:dLbl>
              <c:idx val="15"/>
              <c:tx>
                <c:rich>
                  <a:bodyPr/>
                  <a:lstStyle/>
                  <a:p>
                    <a:r>
                      <a:t>91</a:t>
                    </a:r>
                  </a:p>
                </c:rich>
              </c:tx>
              <c:dLblPos val="ctr"/>
              <c:showLegendKey val="0"/>
              <c:showVal val="1"/>
              <c:showCatName val="0"/>
              <c:showSerName val="0"/>
              <c:showPercent val="0"/>
              <c:showBubbleSize val="0"/>
            </c:dLbl>
            <c:dLbl>
              <c:idx val="16"/>
              <c:tx>
                <c:rich>
                  <a:bodyPr/>
                  <a:lstStyle/>
                  <a:p>
                    <a:r>
                      <a:t>8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1.8770180525675801</c:v>
                </c:pt>
                <c:pt idx="1">
                  <c:v>1.1545430473596612</c:v>
                </c:pt>
                <c:pt idx="2">
                  <c:v>1.0140886820734245</c:v>
                </c:pt>
                <c:pt idx="3">
                  <c:v>0.8781244491450731</c:v>
                </c:pt>
                <c:pt idx="4">
                  <c:v>0.899238046691038</c:v>
                </c:pt>
                <c:pt idx="5">
                  <c:v>1.048602983423063</c:v>
                </c:pt>
                <c:pt idx="6">
                  <c:v>1.25</c:v>
                </c:pt>
                <c:pt idx="7">
                  <c:v>0.8872852691194659</c:v>
                </c:pt>
                <c:pt idx="8">
                  <c:v>0.9355740872571952</c:v>
                </c:pt>
                <c:pt idx="9">
                  <c:v>0.8255935491300125</c:v>
                </c:pt>
                <c:pt idx="10">
                  <c:v>0.37470533975607256</c:v>
                </c:pt>
                <c:pt idx="11">
                  <c:v>0.800381924832694</c:v>
                </c:pt>
                <c:pt idx="12">
                  <c:v>0.7640517481618041</c:v>
                </c:pt>
                <c:pt idx="13">
                  <c:v>1.012829185577671</c:v>
                </c:pt>
                <c:pt idx="14">
                  <c:v>0.8714736438038974</c:v>
                </c:pt>
                <c:pt idx="15">
                  <c:v>0.9066279716390936</c:v>
                </c:pt>
                <c:pt idx="16">
                  <c:v>0.86686234223657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33</c:v>
                </c:pt>
                <c:pt idx="1">
                  <c:v>0.000178</c:v>
                </c:pt>
                <c:pt idx="2">
                  <c:v>0.00012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4e-05</c:v>
                </c:pt>
                <c:pt idx="1">
                  <c:v>1.2e-05</c:v>
                </c:pt>
                <c:pt idx="2">
                  <c:v>2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9e-05</c:v>
                </c:pt>
                <c:pt idx="1">
                  <c:v>8.5e-05</c:v>
                </c:pt>
                <c:pt idx="2">
                  <c:v>3.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0.101781</c:v>
                </c:pt>
                <c:pt idx="1">
                  <c:v>0.101186</c:v>
                </c:pt>
                <c:pt idx="2">
                  <c:v>0.246433</c:v>
                </c:pt>
                <c:pt idx="3">
                  <c:v>0.100469</c:v>
                </c:pt>
                <c:pt idx="4">
                  <c:v>0.253753</c:v>
                </c:pt>
                <c:pt idx="5">
                  <c:v>0.115983</c:v>
                </c:pt>
                <c:pt idx="6">
                  <c:v>0.00015</c:v>
                </c:pt>
                <c:pt idx="7">
                  <c:v>6.923696</c:v>
                </c:pt>
                <c:pt idx="8">
                  <c:v>0.023538</c:v>
                </c:pt>
                <c:pt idx="9">
                  <c:v>0.636306</c:v>
                </c:pt>
                <c:pt idx="10">
                  <c:v>0.015916</c:v>
                </c:pt>
                <c:pt idx="11">
                  <c:v>0.311626</c:v>
                </c:pt>
                <c:pt idx="12">
                  <c:v>1.251245</c:v>
                </c:pt>
                <c:pt idx="13">
                  <c:v>0.344773</c:v>
                </c:pt>
                <c:pt idx="14">
                  <c:v>0.50588</c:v>
                </c:pt>
                <c:pt idx="15">
                  <c:v>0.059564</c:v>
                </c:pt>
                <c:pt idx="16">
                  <c:v>0.04293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9</a:t>
                    </a:r>
                  </a:p>
                </c:rich>
              </c:tx>
              <c:dLblPos val="t"/>
              <c:showLegendKey val="0"/>
              <c:showVal val="1"/>
              <c:showCatName val="0"/>
              <c:showSerName val="0"/>
              <c:showPercent val="0"/>
              <c:showBubbleSize val="0"/>
            </c:dLbl>
            <c:dLbl>
              <c:idx val="1"/>
              <c:tx>
                <c:rich>
                  <a:bodyPr/>
                  <a:lstStyle/>
                  <a:p>
                    <a:r>
                      <a:t>12.42</a:t>
                    </a:r>
                  </a:p>
                </c:rich>
              </c:tx>
              <c:dLblPos val="t"/>
              <c:showLegendKey val="0"/>
              <c:showVal val="1"/>
              <c:showCatName val="0"/>
              <c:showSerName val="0"/>
              <c:showPercent val="0"/>
              <c:showBubbleSize val="0"/>
            </c:dLbl>
            <c:dLbl>
              <c:idx val="2"/>
              <c:tx>
                <c:rich>
                  <a:bodyPr/>
                  <a:lstStyle/>
                  <a:p>
                    <a:r>
                      <a:t>15.10</a:t>
                    </a:r>
                  </a:p>
                </c:rich>
              </c:tx>
              <c:dLblPos val="t"/>
              <c:showLegendKey val="0"/>
              <c:showVal val="1"/>
              <c:showCatName val="0"/>
              <c:showSerName val="0"/>
              <c:showPercent val="0"/>
              <c:showBubbleSize val="0"/>
            </c:dLbl>
            <c:dLbl>
              <c:idx val="3"/>
              <c:tx>
                <c:rich>
                  <a:bodyPr/>
                  <a:lstStyle/>
                  <a:p>
                    <a:r>
                      <a:t>17.10</a:t>
                    </a:r>
                  </a:p>
                </c:rich>
              </c:tx>
              <c:dLblPos val="t"/>
              <c:showLegendKey val="0"/>
              <c:showVal val="1"/>
              <c:showCatName val="0"/>
              <c:showSerName val="0"/>
              <c:showPercent val="0"/>
              <c:showBubbleSize val="0"/>
            </c:dLbl>
            <c:dLbl>
              <c:idx val="4"/>
              <c:tx>
                <c:rich>
                  <a:bodyPr/>
                  <a:lstStyle/>
                  <a:p>
                    <a:r>
                      <a:t>11.79</a:t>
                    </a:r>
                  </a:p>
                </c:rich>
              </c:tx>
              <c:dLblPos val="t"/>
              <c:showLegendKey val="0"/>
              <c:showVal val="1"/>
              <c:showCatName val="0"/>
              <c:showSerName val="0"/>
              <c:showPercent val="0"/>
              <c:showBubbleSize val="0"/>
            </c:dLbl>
            <c:dLbl>
              <c:idx val="5"/>
              <c:tx>
                <c:rich>
                  <a:bodyPr/>
                  <a:lstStyle/>
                  <a:p>
                    <a:r>
                      <a:t>19.28</a:t>
                    </a:r>
                  </a:p>
                </c:rich>
              </c:tx>
              <c:dLblPos val="t"/>
              <c:showLegendKey val="0"/>
              <c:showVal val="1"/>
              <c:showCatName val="0"/>
              <c:showSerName val="0"/>
              <c:showPercent val="0"/>
              <c:showBubbleSize val="0"/>
            </c:dLbl>
            <c:dLbl>
              <c:idx val="6"/>
              <c:tx>
                <c:rich>
                  <a:bodyPr/>
                  <a:lstStyle/>
                  <a:p>
                    <a:r>
                      <a:t>10.00</a:t>
                    </a:r>
                  </a:p>
                </c:rich>
              </c:tx>
              <c:dLblPos val="t"/>
              <c:showLegendKey val="0"/>
              <c:showVal val="1"/>
              <c:showCatName val="0"/>
              <c:showSerName val="0"/>
              <c:showPercent val="0"/>
              <c:showBubbleSize val="0"/>
            </c:dLbl>
            <c:dLbl>
              <c:idx val="7"/>
              <c:tx>
                <c:rich>
                  <a:bodyPr/>
                  <a:lstStyle/>
                  <a:p>
                    <a:r>
                      <a:t>51.55</a:t>
                    </a:r>
                  </a:p>
                </c:rich>
              </c:tx>
              <c:dLblPos val="t"/>
              <c:showLegendKey val="0"/>
              <c:showVal val="1"/>
              <c:showCatName val="0"/>
              <c:showSerName val="0"/>
              <c:showPercent val="0"/>
              <c:showBubbleSize val="0"/>
            </c:dLbl>
            <c:dLbl>
              <c:idx val="8"/>
              <c:tx>
                <c:rich>
                  <a:bodyPr/>
                  <a:lstStyle/>
                  <a:p>
                    <a:r>
                      <a:t>49.76</a:t>
                    </a:r>
                  </a:p>
                </c:rich>
              </c:tx>
              <c:dLblPos val="t"/>
              <c:showLegendKey val="0"/>
              <c:showVal val="1"/>
              <c:showCatName val="0"/>
              <c:showSerName val="0"/>
              <c:showPercent val="0"/>
              <c:showBubbleSize val="0"/>
            </c:dLbl>
            <c:dLbl>
              <c:idx val="9"/>
              <c:tx>
                <c:rich>
                  <a:bodyPr/>
                  <a:lstStyle/>
                  <a:p>
                    <a:r>
                      <a:t>69.80</a:t>
                    </a:r>
                  </a:p>
                </c:rich>
              </c:tx>
              <c:dLblPos val="t"/>
              <c:showLegendKey val="0"/>
              <c:showVal val="1"/>
              <c:showCatName val="0"/>
              <c:showSerName val="0"/>
              <c:showPercent val="0"/>
              <c:showBubbleSize val="0"/>
            </c:dLbl>
            <c:dLbl>
              <c:idx val="10"/>
              <c:tx>
                <c:rich>
                  <a:bodyPr/>
                  <a:lstStyle/>
                  <a:p>
                    <a:r>
                      <a:t>14.11</a:t>
                    </a:r>
                  </a:p>
                </c:rich>
              </c:tx>
              <c:dLblPos val="t"/>
              <c:showLegendKey val="0"/>
              <c:showVal val="1"/>
              <c:showCatName val="0"/>
              <c:showSerName val="0"/>
              <c:showPercent val="0"/>
              <c:showBubbleSize val="0"/>
            </c:dLbl>
            <c:dLbl>
              <c:idx val="11"/>
              <c:tx>
                <c:rich>
                  <a:bodyPr/>
                  <a:lstStyle/>
                  <a:p>
                    <a:r>
                      <a:t>139.68</a:t>
                    </a:r>
                  </a:p>
                </c:rich>
              </c:tx>
              <c:dLblPos val="t"/>
              <c:showLegendKey val="0"/>
              <c:showVal val="1"/>
              <c:showCatName val="0"/>
              <c:showSerName val="0"/>
              <c:showPercent val="0"/>
              <c:showBubbleSize val="0"/>
            </c:dLbl>
            <c:dLbl>
              <c:idx val="12"/>
              <c:tx>
                <c:rich>
                  <a:bodyPr/>
                  <a:lstStyle/>
                  <a:p>
                    <a:r>
                      <a:t>91.79</a:t>
                    </a:r>
                  </a:p>
                </c:rich>
              </c:tx>
              <c:dLblPos val="t"/>
              <c:showLegendKey val="0"/>
              <c:showVal val="1"/>
              <c:showCatName val="0"/>
              <c:showSerName val="0"/>
              <c:showPercent val="0"/>
              <c:showBubbleSize val="0"/>
            </c:dLbl>
            <c:dLbl>
              <c:idx val="13"/>
              <c:tx>
                <c:rich>
                  <a:bodyPr/>
                  <a:lstStyle/>
                  <a:p>
                    <a:r>
                      <a:t>44.42</a:t>
                    </a:r>
                  </a:p>
                </c:rich>
              </c:tx>
              <c:dLblPos val="t"/>
              <c:showLegendKey val="0"/>
              <c:showVal val="1"/>
              <c:showCatName val="0"/>
              <c:showSerName val="0"/>
              <c:showPercent val="0"/>
              <c:showBubbleSize val="0"/>
            </c:dLbl>
            <c:dLbl>
              <c:idx val="14"/>
              <c:tx>
                <c:rich>
                  <a:bodyPr/>
                  <a:lstStyle/>
                  <a:p>
                    <a:r>
                      <a:t>40.03</a:t>
                    </a:r>
                  </a:p>
                </c:rich>
              </c:tx>
              <c:dLblPos val="t"/>
              <c:showLegendKey val="0"/>
              <c:showVal val="1"/>
              <c:showCatName val="0"/>
              <c:showSerName val="0"/>
              <c:showPercent val="0"/>
              <c:showBubbleSize val="0"/>
            </c:dLbl>
            <c:dLbl>
              <c:idx val="15"/>
              <c:tx>
                <c:rich>
                  <a:bodyPr/>
                  <a:lstStyle/>
                  <a:p>
                    <a:r>
                      <a:t>47.54</a:t>
                    </a:r>
                  </a:p>
                </c:rich>
              </c:tx>
              <c:dLblPos val="t"/>
              <c:showLegendKey val="0"/>
              <c:showVal val="1"/>
              <c:showCatName val="0"/>
              <c:showSerName val="0"/>
              <c:showPercent val="0"/>
              <c:showBubbleSize val="0"/>
            </c:dLbl>
            <c:dLbl>
              <c:idx val="16"/>
              <c:tx>
                <c:rich>
                  <a:bodyPr/>
                  <a:lstStyle/>
                  <a:p>
                    <a:r>
                      <a:t>57.79</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C$2:$C$18</c:f>
              <c:numCache>
                <c:formatCode>General</c:formatCode>
                <c:ptCount val="17"/>
                <c:pt idx="0">
                  <c:v>21.3871</c:v>
                </c:pt>
                <c:pt idx="1">
                  <c:v>12.4185</c:v>
                </c:pt>
                <c:pt idx="2">
                  <c:v>15.0991</c:v>
                </c:pt>
                <c:pt idx="3">
                  <c:v>17.1011</c:v>
                </c:pt>
                <c:pt idx="4">
                  <c:v>11.7942</c:v>
                </c:pt>
                <c:pt idx="5">
                  <c:v>19.2823</c:v>
                </c:pt>
                <c:pt idx="6">
                  <c:v>10.0</c:v>
                </c:pt>
                <c:pt idx="7">
                  <c:v>51.5532</c:v>
                </c:pt>
                <c:pt idx="8">
                  <c:v>49.7632</c:v>
                </c:pt>
                <c:pt idx="9">
                  <c:v>69.801</c:v>
                </c:pt>
                <c:pt idx="10">
                  <c:v>14.1099</c:v>
                </c:pt>
                <c:pt idx="11">
                  <c:v>139.68</c:v>
                </c:pt>
                <c:pt idx="12">
                  <c:v>91.7941</c:v>
                </c:pt>
                <c:pt idx="13">
                  <c:v>44.4181</c:v>
                </c:pt>
                <c:pt idx="14">
                  <c:v>40.0348</c:v>
                </c:pt>
                <c:pt idx="15">
                  <c:v>47.5371</c:v>
                </c:pt>
                <c:pt idx="16">
                  <c:v>57.788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87</a:t>
                    </a:r>
                  </a:p>
                </c:rich>
              </c:tx>
              <c:dLblPos val="ctr"/>
              <c:showLegendKey val="0"/>
              <c:showVal val="1"/>
              <c:showCatName val="0"/>
              <c:showSerName val="0"/>
              <c:showPercent val="0"/>
              <c:showBubbleSize val="0"/>
            </c:dLbl>
            <c:dLbl>
              <c:idx val="1"/>
              <c:tx>
                <c:rich>
                  <a:bodyPr/>
                  <a:lstStyle/>
                  <a:p>
                    <a:r>
                      <a:t>98</a:t>
                    </a:r>
                  </a:p>
                </c:rich>
              </c:tx>
              <c:dLblPos val="ctr"/>
              <c:showLegendKey val="0"/>
              <c:showVal val="1"/>
              <c:showCatName val="0"/>
              <c:showSerName val="0"/>
              <c:showPercent val="0"/>
              <c:showBubbleSize val="0"/>
            </c:dLbl>
            <c:dLbl>
              <c:idx val="2"/>
              <c:tx>
                <c:rich>
                  <a:bodyPr/>
                  <a:lstStyle/>
                  <a:p>
                    <a:r>
                      <a:t>93</a:t>
                    </a:r>
                  </a:p>
                </c:rich>
              </c:tx>
              <c:dLblPos val="ctr"/>
              <c:showLegendKey val="0"/>
              <c:showVal val="1"/>
              <c:showCatName val="0"/>
              <c:showSerName val="0"/>
              <c:showPercent val="0"/>
              <c:showBubbleSize val="0"/>
            </c:dLbl>
            <c:dLbl>
              <c:idx val="3"/>
              <c:tx>
                <c:rich>
                  <a:bodyPr/>
                  <a:lstStyle/>
                  <a:p>
                    <a:r>
                      <a:t>90</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dLbl>
              <c:idx val="5"/>
              <c:tx>
                <c:rich>
                  <a:bodyPr/>
                  <a:lstStyle/>
                  <a:p>
                    <a:r>
                      <a:t>91</a:t>
                    </a:r>
                  </a:p>
                </c:rich>
              </c:tx>
              <c:dLblPos val="ctr"/>
              <c:showLegendKey val="0"/>
              <c:showVal val="1"/>
              <c:showCatName val="0"/>
              <c:showSerName val="0"/>
              <c:showPercent val="0"/>
              <c:showBubbleSize val="0"/>
            </c:dLbl>
            <c:dLbl>
              <c:idx val="6"/>
              <c:tx>
                <c:rich>
                  <a:bodyPr/>
                  <a:lstStyle/>
                  <a:p>
                    <a:r>
                      <a:t>140</a:t>
                    </a:r>
                  </a:p>
                </c:rich>
              </c:tx>
              <c:dLblPos val="ctr"/>
              <c:showLegendKey val="0"/>
              <c:showVal val="1"/>
              <c:showCatName val="0"/>
              <c:showSerName val="0"/>
              <c:showPercent val="0"/>
              <c:showBubbleSize val="0"/>
            </c:dLbl>
            <c:dLbl>
              <c:idx val="7"/>
              <c:tx>
                <c:rich>
                  <a:bodyPr/>
                  <a:lstStyle/>
                  <a:p>
                    <a:r>
                      <a:t>85</a:t>
                    </a:r>
                  </a:p>
                </c:rich>
              </c:tx>
              <c:dLblPos val="ctr"/>
              <c:showLegendKey val="0"/>
              <c:showVal val="1"/>
              <c:showCatName val="0"/>
              <c:showSerName val="0"/>
              <c:showPercent val="0"/>
              <c:showBubbleSize val="0"/>
            </c:dLbl>
            <c:dLbl>
              <c:idx val="8"/>
              <c:tx>
                <c:rich>
                  <a:bodyPr/>
                  <a:lstStyle/>
                  <a:p>
                    <a:r>
                      <a:t>75</a:t>
                    </a:r>
                  </a:p>
                </c:rich>
              </c:tx>
              <c:dLblPos val="ctr"/>
              <c:showLegendKey val="0"/>
              <c:showVal val="1"/>
              <c:showCatName val="0"/>
              <c:showSerName val="0"/>
              <c:showPercent val="0"/>
              <c:showBubbleSize val="0"/>
            </c:dLbl>
            <c:dLbl>
              <c:idx val="9"/>
              <c:tx>
                <c:rich>
                  <a:bodyPr/>
                  <a:lstStyle/>
                  <a:p>
                    <a:r>
                      <a:t>81</a:t>
                    </a:r>
                  </a:p>
                </c:rich>
              </c:tx>
              <c:dLblPos val="ctr"/>
              <c:showLegendKey val="0"/>
              <c:showVal val="1"/>
              <c:showCatName val="0"/>
              <c:showSerName val="0"/>
              <c:showPercent val="0"/>
              <c:showBubbleSize val="0"/>
            </c:dLbl>
            <c:dLbl>
              <c:idx val="10"/>
              <c:tx>
                <c:rich>
                  <a:bodyPr/>
                  <a:lstStyle/>
                  <a:p>
                    <a:r>
                      <a:t>43</a:t>
                    </a:r>
                  </a:p>
                </c:rich>
              </c:tx>
              <c:dLblPos val="ctr"/>
              <c:showLegendKey val="0"/>
              <c:showVal val="1"/>
              <c:showCatName val="0"/>
              <c:showSerName val="0"/>
              <c:showPercent val="0"/>
              <c:showBubbleSize val="0"/>
            </c:dLbl>
            <c:dLbl>
              <c:idx val="11"/>
              <c:tx>
                <c:rich>
                  <a:bodyPr/>
                  <a:lstStyle/>
                  <a:p>
                    <a:r>
                      <a:t>85</a:t>
                    </a:r>
                  </a:p>
                </c:rich>
              </c:tx>
              <c:dLblPos val="ctr"/>
              <c:showLegendKey val="0"/>
              <c:showVal val="1"/>
              <c:showCatName val="0"/>
              <c:showSerName val="0"/>
              <c:showPercent val="0"/>
              <c:showBubbleSize val="0"/>
            </c:dLbl>
            <c:dLbl>
              <c:idx val="12"/>
              <c:tx>
                <c:rich>
                  <a:bodyPr/>
                  <a:lstStyle/>
                  <a:p>
                    <a:r>
                      <a:t>72</a:t>
                    </a:r>
                  </a:p>
                </c:rich>
              </c:tx>
              <c:dLblPos val="ctr"/>
              <c:showLegendKey val="0"/>
              <c:showVal val="1"/>
              <c:showCatName val="0"/>
              <c:showSerName val="0"/>
              <c:showPercent val="0"/>
              <c:showBubbleSize val="0"/>
            </c:dLbl>
            <c:dLbl>
              <c:idx val="13"/>
              <c:tx>
                <c:rich>
                  <a:bodyPr/>
                  <a:lstStyle/>
                  <a:p>
                    <a:r>
                      <a:t>93</a:t>
                    </a:r>
                  </a:p>
                </c:rich>
              </c:tx>
              <c:dLblPos val="ctr"/>
              <c:showLegendKey val="0"/>
              <c:showVal val="1"/>
              <c:showCatName val="0"/>
              <c:showSerName val="0"/>
              <c:showPercent val="0"/>
              <c:showBubbleSize val="0"/>
            </c:dLbl>
            <c:dLbl>
              <c:idx val="14"/>
              <c:tx>
                <c:rich>
                  <a:bodyPr/>
                  <a:lstStyle/>
                  <a:p>
                    <a:r>
                      <a:t>80</a:t>
                    </a:r>
                  </a:p>
                </c:rich>
              </c:tx>
              <c:dLblPos val="ctr"/>
              <c:showLegendKey val="0"/>
              <c:showVal val="1"/>
              <c:showCatName val="0"/>
              <c:showSerName val="0"/>
              <c:showPercent val="0"/>
              <c:showBubbleSize val="0"/>
            </c:dLbl>
            <c:dLbl>
              <c:idx val="15"/>
              <c:tx>
                <c:rich>
                  <a:bodyPr/>
                  <a:lstStyle/>
                  <a:p>
                    <a:r>
                      <a:t>94</a:t>
                    </a:r>
                  </a:p>
                </c:rich>
              </c:tx>
              <c:dLblPos val="ctr"/>
              <c:showLegendKey val="0"/>
              <c:showVal val="1"/>
              <c:showCatName val="0"/>
              <c:showSerName val="0"/>
              <c:showPercent val="0"/>
              <c:showBubbleSize val="0"/>
            </c:dLbl>
            <c:dLbl>
              <c:idx val="16"/>
              <c:tx>
                <c:rich>
                  <a:bodyPr/>
                  <a:lstStyle/>
                  <a:p>
                    <a:r>
                      <a:t>105</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 Sans Alcool</c:v>
                </c:pt>
                <c:pt idx="1">
                  <c:v>Mousseux Autres</c:v>
                </c:pt>
                <c:pt idx="2">
                  <c:v>Mousseux Val De Loire</c:v>
                </c:pt>
                <c:pt idx="3">
                  <c:v>Mousseux Bourgogne</c:v>
                </c:pt>
                <c:pt idx="4">
                  <c:v>Mousseux Italiens</c:v>
                </c:pt>
                <c:pt idx="5">
                  <c:v>Mousseux Alsace</c:v>
                </c:pt>
                <c:pt idx="6">
                  <c:v>Mousseux Espagnols</c:v>
                </c:pt>
                <c:pt idx="7">
                  <c:v>Bruts</c:v>
                </c:pt>
                <c:pt idx="8">
                  <c:v>Demi-Secs</c:v>
                </c:pt>
                <c:pt idx="9">
                  <c:v>Rosés</c:v>
                </c:pt>
                <c:pt idx="10">
                  <c:v>Mousseux Bordelais</c:v>
                </c:pt>
                <c:pt idx="11">
                  <c:v>Millesimes</c:v>
                </c:pt>
                <c:pt idx="12">
                  <c:v>Blanc De Blancs</c:v>
                </c:pt>
                <c:pt idx="13">
                  <c:v>Extra Brut</c:v>
                </c:pt>
                <c:pt idx="14">
                  <c:v>Crus</c:v>
                </c:pt>
                <c:pt idx="15">
                  <c:v>Blanc De Noirs</c:v>
                </c:pt>
                <c:pt idx="16">
                  <c:v>Brut Nature</c:v>
                </c:pt>
              </c:strCache>
            </c:strRef>
          </c:cat>
          <c:val>
            <c:numRef>
              <c:f>Sheet1!$B$2:$B$18</c:f>
              <c:numCache>
                <c:formatCode>General</c:formatCode>
                <c:ptCount val="17"/>
                <c:pt idx="0">
                  <c:v>1.8652140448614574</c:v>
                </c:pt>
                <c:pt idx="1">
                  <c:v>0.9844815676049076</c:v>
                </c:pt>
                <c:pt idx="2">
                  <c:v>0.9324375967217705</c:v>
                </c:pt>
                <c:pt idx="3">
                  <c:v>0.8978222210307141</c:v>
                </c:pt>
                <c:pt idx="4">
                  <c:v>0.8719075565573545</c:v>
                </c:pt>
                <c:pt idx="5">
                  <c:v>0.9079685922075482</c:v>
                </c:pt>
                <c:pt idx="6">
                  <c:v>1.4018691588785046</c:v>
                </c:pt>
                <c:pt idx="7">
                  <c:v>0.8541786207370464</c:v>
                </c:pt>
                <c:pt idx="8">
                  <c:v>0.7548585722532231</c:v>
                </c:pt>
                <c:pt idx="9">
                  <c:v>0.8075482138415225</c:v>
                </c:pt>
                <c:pt idx="10">
                  <c:v>0.434353082444123</c:v>
                </c:pt>
                <c:pt idx="11">
                  <c:v>0.8501897489203</c:v>
                </c:pt>
                <c:pt idx="12">
                  <c:v>0.7232947805799561</c:v>
                </c:pt>
                <c:pt idx="13">
                  <c:v>0.930616662797791</c:v>
                </c:pt>
                <c:pt idx="14">
                  <c:v>0.8049645954332086</c:v>
                </c:pt>
                <c:pt idx="15">
                  <c:v>0.9420509900676916</c:v>
                </c:pt>
                <c:pt idx="16">
                  <c:v>1.0540825845730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1165.128378</c:v>
                </c:pt>
                <c:pt idx="1">
                  <c:v>1097.362853</c:v>
                </c:pt>
                <c:pt idx="2">
                  <c:v>67.93058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8</a:t>
                    </a:r>
                  </a:p>
                </c:rich>
              </c:tx>
              <c:dLblPos val="t"/>
              <c:showLegendKey val="0"/>
              <c:showVal val="1"/>
              <c:showCatName val="0"/>
              <c:showSerName val="0"/>
              <c:showPercent val="0"/>
              <c:showBubbleSize val="0"/>
            </c:dLbl>
            <c:dLbl>
              <c:idx val="1"/>
              <c:tx>
                <c:rich>
                  <a:bodyPr/>
                  <a:lstStyle/>
                  <a:p>
                    <a:r>
                      <a:t>8.07</a:t>
                    </a:r>
                  </a:p>
                </c:rich>
              </c:tx>
              <c:dLblPos val="t"/>
              <c:showLegendKey val="0"/>
              <c:showVal val="1"/>
              <c:showCatName val="0"/>
              <c:showSerName val="0"/>
              <c:showPercent val="0"/>
              <c:showBubbleSize val="0"/>
            </c:dLbl>
            <c:dLbl>
              <c:idx val="2"/>
              <c:tx>
                <c:rich>
                  <a:bodyPr/>
                  <a:lstStyle/>
                  <a:p>
                    <a:r>
                      <a:t>47.47</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C$2:$C$4</c:f>
              <c:numCache>
                <c:formatCode>General</c:formatCode>
                <c:ptCount val="3"/>
                <c:pt idx="0">
                  <c:v>8.4795</c:v>
                </c:pt>
                <c:pt idx="1">
                  <c:v>8.0704</c:v>
                </c:pt>
                <c:pt idx="2">
                  <c:v>47.466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7</a:t>
                    </a:r>
                  </a:p>
                </c:rich>
              </c:tx>
              <c:dLblPos val="ctr"/>
              <c:showLegendKey val="0"/>
              <c:showVal val="1"/>
              <c:showCatName val="0"/>
              <c:showSerName val="0"/>
              <c:showPercent val="0"/>
              <c:showBubbleSize val="0"/>
            </c:dLbl>
            <c:dLbl>
              <c:idx val="1"/>
              <c:tx>
                <c:rich>
                  <a:bodyPr/>
                  <a:lstStyle/>
                  <a:p>
                    <a:r>
                      <a:t>108</a:t>
                    </a:r>
                  </a:p>
                </c:rich>
              </c:tx>
              <c:dLblPos val="ctr"/>
              <c:showLegendKey val="0"/>
              <c:showVal val="1"/>
              <c:showCatName val="0"/>
              <c:showSerName val="0"/>
              <c:showPercent val="0"/>
              <c:showBubbleSize val="0"/>
            </c:dLbl>
            <c:dLbl>
              <c:idx val="2"/>
              <c:tx>
                <c:rich>
                  <a:bodyPr/>
                  <a:lstStyle/>
                  <a:p>
                    <a:r>
                      <a:t>87</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1.0673741601050497</c:v>
                </c:pt>
                <c:pt idx="1">
                  <c:v>1.0772119256348205</c:v>
                </c:pt>
                <c:pt idx="2">
                  <c:v>0.86584669623962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664</c:v>
                </c:pt>
                <c:pt idx="1">
                  <c:v>0.00709</c:v>
                </c:pt>
                <c:pt idx="2">
                  <c:v>0.0049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01</c:v>
                </c:pt>
                <c:pt idx="1">
                  <c:v>0.000504</c:v>
                </c:pt>
                <c:pt idx="2">
                  <c:v>6.7e-0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971</c:v>
                </c:pt>
                <c:pt idx="1">
                  <c:v>0.003429</c:v>
                </c:pt>
                <c:pt idx="2">
                  <c:v>0.00149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475.474501</c:v>
                </c:pt>
                <c:pt idx="1">
                  <c:v>433.602077</c:v>
                </c:pt>
                <c:pt idx="2">
                  <c:v>41.964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36</a:t>
                    </a:r>
                  </a:p>
                </c:rich>
              </c:tx>
              <c:dLblPos val="t"/>
              <c:showLegendKey val="0"/>
              <c:showVal val="1"/>
              <c:showCatName val="0"/>
              <c:showSerName val="0"/>
              <c:showPercent val="0"/>
              <c:showBubbleSize val="0"/>
            </c:dLbl>
            <c:dLbl>
              <c:idx val="1"/>
              <c:tx>
                <c:rich>
                  <a:bodyPr/>
                  <a:lstStyle/>
                  <a:p>
                    <a:r>
                      <a:t>25.16</a:t>
                    </a:r>
                  </a:p>
                </c:rich>
              </c:tx>
              <c:dLblPos val="t"/>
              <c:showLegendKey val="0"/>
              <c:showVal val="1"/>
              <c:showCatName val="0"/>
              <c:showSerName val="0"/>
              <c:showPercent val="0"/>
              <c:showBubbleSize val="0"/>
            </c:dLbl>
            <c:dLbl>
              <c:idx val="2"/>
              <c:tx>
                <c:rich>
                  <a:bodyPr/>
                  <a:lstStyle/>
                  <a:p>
                    <a:r>
                      <a:t>52.47</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C$2:$C$4</c:f>
              <c:numCache>
                <c:formatCode>General</c:formatCode>
                <c:ptCount val="3"/>
                <c:pt idx="0">
                  <c:v>26.3617</c:v>
                </c:pt>
                <c:pt idx="1">
                  <c:v>25.1556</c:v>
                </c:pt>
                <c:pt idx="2">
                  <c:v>52.466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5</a:t>
                    </a:r>
                  </a:p>
                </c:rich>
              </c:tx>
              <c:dLblPos val="ctr"/>
              <c:showLegendKey val="0"/>
              <c:showVal val="1"/>
              <c:showCatName val="0"/>
              <c:showSerName val="0"/>
              <c:showPercent val="0"/>
              <c:showBubbleSize val="0"/>
            </c:dLbl>
            <c:dLbl>
              <c:idx val="1"/>
              <c:tx>
                <c:rich>
                  <a:bodyPr/>
                  <a:lstStyle/>
                  <a:p>
                    <a:r>
                      <a:t>106</a:t>
                    </a:r>
                  </a:p>
                </c:rich>
              </c:tx>
              <c:dLblPos val="ctr"/>
              <c:showLegendKey val="0"/>
              <c:showVal val="1"/>
              <c:showCatName val="0"/>
              <c:showSerName val="0"/>
              <c:showPercent val="0"/>
              <c:showBubbleSize val="0"/>
            </c:dLbl>
            <c:dLbl>
              <c:idx val="2"/>
              <c:tx>
                <c:rich>
                  <a:bodyPr/>
                  <a:lstStyle/>
                  <a:p>
                    <a:r>
                      <a:t>88</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1.0451774885245448</c:v>
                </c:pt>
                <c:pt idx="1">
                  <c:v>1.0568400748170943</c:v>
                </c:pt>
                <c:pt idx="2">
                  <c:v>0.87724781895870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567.142783</c:v>
                </c:pt>
                <c:pt idx="1">
                  <c:v>27.086635</c:v>
                </c:pt>
                <c:pt idx="2">
                  <c:v>12.230828</c:v>
                </c:pt>
                <c:pt idx="3">
                  <c:v>7.602319</c:v>
                </c:pt>
                <c:pt idx="4">
                  <c:v>5.3923</c:v>
                </c:pt>
                <c:pt idx="5">
                  <c:v>3.211616</c:v>
                </c:pt>
                <c:pt idx="6">
                  <c:v>2.539472</c:v>
                </c:pt>
                <c:pt idx="7">
                  <c:v>2.418024</c:v>
                </c:pt>
                <c:pt idx="8">
                  <c:v>1.313612</c:v>
                </c:pt>
                <c:pt idx="9">
                  <c:v>1.1068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07</a:t>
                    </a:r>
                  </a:p>
                </c:rich>
              </c:tx>
              <c:dLblPos val="t"/>
              <c:showLegendKey val="0"/>
              <c:showVal val="1"/>
              <c:showCatName val="0"/>
              <c:showSerName val="0"/>
              <c:showPercent val="0"/>
              <c:showBubbleSize val="0"/>
            </c:dLbl>
            <c:dLbl>
              <c:idx val="1"/>
              <c:tx>
                <c:rich>
                  <a:bodyPr/>
                  <a:lstStyle/>
                  <a:p>
                    <a:r>
                      <a:t>55.73</a:t>
                    </a:r>
                  </a:p>
                </c:rich>
              </c:tx>
              <c:dLblPos val="t"/>
              <c:showLegendKey val="0"/>
              <c:showVal val="1"/>
              <c:showCatName val="0"/>
              <c:showSerName val="0"/>
              <c:showPercent val="0"/>
              <c:showBubbleSize val="0"/>
            </c:dLbl>
            <c:dLbl>
              <c:idx val="2"/>
              <c:tx>
                <c:rich>
                  <a:bodyPr/>
                  <a:lstStyle/>
                  <a:p>
                    <a:r>
                      <a:t>55.72</a:t>
                    </a:r>
                  </a:p>
                </c:rich>
              </c:tx>
              <c:dLblPos val="t"/>
              <c:showLegendKey val="0"/>
              <c:showVal val="1"/>
              <c:showCatName val="0"/>
              <c:showSerName val="0"/>
              <c:showPercent val="0"/>
              <c:showBubbleSize val="0"/>
            </c:dLbl>
            <c:dLbl>
              <c:idx val="3"/>
              <c:tx>
                <c:rich>
                  <a:bodyPr/>
                  <a:lstStyle/>
                  <a:p>
                    <a:r>
                      <a:t>59.99</a:t>
                    </a:r>
                  </a:p>
                </c:rich>
              </c:tx>
              <c:dLblPos val="t"/>
              <c:showLegendKey val="0"/>
              <c:showVal val="1"/>
              <c:showCatName val="0"/>
              <c:showSerName val="0"/>
              <c:showPercent val="0"/>
              <c:showBubbleSize val="0"/>
            </c:dLbl>
            <c:dLbl>
              <c:idx val="4"/>
              <c:tx>
                <c:rich>
                  <a:bodyPr/>
                  <a:lstStyle/>
                  <a:p>
                    <a:r>
                      <a:t>64.91</a:t>
                    </a:r>
                  </a:p>
                </c:rich>
              </c:tx>
              <c:dLblPos val="t"/>
              <c:showLegendKey val="0"/>
              <c:showVal val="1"/>
              <c:showCatName val="0"/>
              <c:showSerName val="0"/>
              <c:showPercent val="0"/>
              <c:showBubbleSize val="0"/>
            </c:dLbl>
            <c:dLbl>
              <c:idx val="5"/>
              <c:tx>
                <c:rich>
                  <a:bodyPr/>
                  <a:lstStyle/>
                  <a:p>
                    <a:r>
                      <a:t>62.51</a:t>
                    </a:r>
                  </a:p>
                </c:rich>
              </c:tx>
              <c:dLblPos val="t"/>
              <c:showLegendKey val="0"/>
              <c:showVal val="1"/>
              <c:showCatName val="0"/>
              <c:showSerName val="0"/>
              <c:showPercent val="0"/>
              <c:showBubbleSize val="0"/>
            </c:dLbl>
            <c:dLbl>
              <c:idx val="6"/>
              <c:tx>
                <c:rich>
                  <a:bodyPr/>
                  <a:lstStyle/>
                  <a:p>
                    <a:r>
                      <a:t>58.08</a:t>
                    </a:r>
                  </a:p>
                </c:rich>
              </c:tx>
              <c:dLblPos val="t"/>
              <c:showLegendKey val="0"/>
              <c:showVal val="1"/>
              <c:showCatName val="0"/>
              <c:showSerName val="0"/>
              <c:showPercent val="0"/>
              <c:showBubbleSize val="0"/>
            </c:dLbl>
            <c:dLbl>
              <c:idx val="7"/>
              <c:tx>
                <c:rich>
                  <a:bodyPr/>
                  <a:lstStyle/>
                  <a:p>
                    <a:r>
                      <a:t>58.28</a:t>
                    </a:r>
                  </a:p>
                </c:rich>
              </c:tx>
              <c:dLblPos val="t"/>
              <c:showLegendKey val="0"/>
              <c:showVal val="1"/>
              <c:showCatName val="0"/>
              <c:showSerName val="0"/>
              <c:showPercent val="0"/>
              <c:showBubbleSize val="0"/>
            </c:dLbl>
            <c:dLbl>
              <c:idx val="8"/>
              <c:tx>
                <c:rich>
                  <a:bodyPr/>
                  <a:lstStyle/>
                  <a:p>
                    <a:r>
                      <a:t>56.31</a:t>
                    </a:r>
                  </a:p>
                </c:rich>
              </c:tx>
              <c:dLblPos val="t"/>
              <c:showLegendKey val="0"/>
              <c:showVal val="1"/>
              <c:showCatName val="0"/>
              <c:showSerName val="0"/>
              <c:showPercent val="0"/>
              <c:showBubbleSize val="0"/>
            </c:dLbl>
            <c:dLbl>
              <c:idx val="9"/>
              <c:tx>
                <c:rich>
                  <a:bodyPr/>
                  <a:lstStyle/>
                  <a:p>
                    <a:r>
                      <a:t>62.3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C$2:$C$11</c:f>
              <c:numCache>
                <c:formatCode>General</c:formatCode>
                <c:ptCount val="10"/>
                <c:pt idx="0">
                  <c:v>28.0685</c:v>
                </c:pt>
                <c:pt idx="1">
                  <c:v>55.7279</c:v>
                </c:pt>
                <c:pt idx="2">
                  <c:v>55.716</c:v>
                </c:pt>
                <c:pt idx="3">
                  <c:v>59.9921</c:v>
                </c:pt>
                <c:pt idx="4">
                  <c:v>64.9104</c:v>
                </c:pt>
                <c:pt idx="5">
                  <c:v>62.5059</c:v>
                </c:pt>
                <c:pt idx="6">
                  <c:v>58.0756</c:v>
                </c:pt>
                <c:pt idx="7">
                  <c:v>58.2783</c:v>
                </c:pt>
                <c:pt idx="8">
                  <c:v>56.3081</c:v>
                </c:pt>
                <c:pt idx="9">
                  <c:v>62.343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4</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85</a:t>
                    </a:r>
                  </a:p>
                </c:rich>
              </c:tx>
              <c:dLblPos val="ctr"/>
              <c:showLegendKey val="0"/>
              <c:showVal val="1"/>
              <c:showCatName val="0"/>
              <c:showSerName val="0"/>
              <c:showPercent val="0"/>
              <c:showBubbleSize val="0"/>
            </c:dLbl>
            <c:dLbl>
              <c:idx val="3"/>
              <c:tx>
                <c:rich>
                  <a:bodyPr/>
                  <a:lstStyle/>
                  <a:p>
                    <a:r>
                      <a:t>88</a:t>
                    </a:r>
                  </a:p>
                </c:rich>
              </c:tx>
              <c:dLblPos val="ctr"/>
              <c:showLegendKey val="0"/>
              <c:showVal val="1"/>
              <c:showCatName val="0"/>
              <c:showSerName val="0"/>
              <c:showPercent val="0"/>
              <c:showBubbleSize val="0"/>
            </c:dLbl>
            <c:dLbl>
              <c:idx val="4"/>
              <c:tx>
                <c:rich>
                  <a:bodyPr/>
                  <a:lstStyle/>
                  <a:p>
                    <a:r>
                      <a:t>84</a:t>
                    </a:r>
                  </a:p>
                </c:rich>
              </c:tx>
              <c:dLblPos val="ctr"/>
              <c:showLegendKey val="0"/>
              <c:showVal val="1"/>
              <c:showCatName val="0"/>
              <c:showSerName val="0"/>
              <c:showPercent val="0"/>
              <c:showBubbleSize val="0"/>
            </c:dLbl>
            <c:dLbl>
              <c:idx val="5"/>
              <c:tx>
                <c:rich>
                  <a:bodyPr/>
                  <a:lstStyle/>
                  <a:p>
                    <a:r>
                      <a:t>86</a:t>
                    </a:r>
                  </a:p>
                </c:rich>
              </c:tx>
              <c:dLblPos val="ctr"/>
              <c:showLegendKey val="0"/>
              <c:showVal val="1"/>
              <c:showCatName val="0"/>
              <c:showSerName val="0"/>
              <c:showPercent val="0"/>
              <c:showBubbleSize val="0"/>
            </c:dLbl>
            <c:dLbl>
              <c:idx val="6"/>
              <c:tx>
                <c:rich>
                  <a:bodyPr/>
                  <a:lstStyle/>
                  <a:p>
                    <a:r>
                      <a:t>90</a:t>
                    </a:r>
                  </a:p>
                </c:rich>
              </c:tx>
              <c:dLblPos val="ctr"/>
              <c:showLegendKey val="0"/>
              <c:showVal val="1"/>
              <c:showCatName val="0"/>
              <c:showSerName val="0"/>
              <c:showPercent val="0"/>
              <c:showBubbleSize val="0"/>
            </c:dLbl>
            <c:dLbl>
              <c:idx val="7"/>
              <c:tx>
                <c:rich>
                  <a:bodyPr/>
                  <a:lstStyle/>
                  <a:p>
                    <a:r>
                      <a:t>87</a:t>
                    </a:r>
                  </a:p>
                </c:rich>
              </c:tx>
              <c:dLblPos val="ctr"/>
              <c:showLegendKey val="0"/>
              <c:showVal val="1"/>
              <c:showCatName val="0"/>
              <c:showSerName val="0"/>
              <c:showPercent val="0"/>
              <c:showBubbleSize val="0"/>
            </c:dLbl>
            <c:dLbl>
              <c:idx val="8"/>
              <c:tx>
                <c:rich>
                  <a:bodyPr/>
                  <a:lstStyle/>
                  <a:p>
                    <a:r>
                      <a:t>90</a:t>
                    </a:r>
                  </a:p>
                </c:rich>
              </c:tx>
              <c:dLblPos val="ctr"/>
              <c:showLegendKey val="0"/>
              <c:showVal val="1"/>
              <c:showCatName val="0"/>
              <c:showSerName val="0"/>
              <c:showPercent val="0"/>
              <c:showBubbleSize val="0"/>
            </c:dLbl>
            <c:dLbl>
              <c:idx val="9"/>
              <c:tx>
                <c:rich>
                  <a:bodyPr/>
                  <a:lstStyle/>
                  <a:p>
                    <a:r>
                      <a:t>86</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1.0443491786017833</c:v>
                </c:pt>
                <c:pt idx="1">
                  <c:v>0.8544803535167906</c:v>
                </c:pt>
                <c:pt idx="2">
                  <c:v>0.8480882140637761</c:v>
                </c:pt>
                <c:pt idx="3">
                  <c:v>0.875297553564247</c:v>
                </c:pt>
                <c:pt idx="4">
                  <c:v>0.8374848027951053</c:v>
                </c:pt>
                <c:pt idx="5">
                  <c:v>0.8567967284165853</c:v>
                </c:pt>
                <c:pt idx="6">
                  <c:v>0.9016013497009185</c:v>
                </c:pt>
                <c:pt idx="7">
                  <c:v>0.8717441957302263</c:v>
                </c:pt>
                <c:pt idx="8">
                  <c:v>0.8993258540813316</c:v>
                </c:pt>
                <c:pt idx="9">
                  <c:v>0.863118330298623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567.142783</c:v>
                </c:pt>
                <c:pt idx="1">
                  <c:v>27.086635</c:v>
                </c:pt>
                <c:pt idx="2">
                  <c:v>12.230828</c:v>
                </c:pt>
                <c:pt idx="3">
                  <c:v>7.602319</c:v>
                </c:pt>
                <c:pt idx="4">
                  <c:v>5.3923</c:v>
                </c:pt>
                <c:pt idx="5">
                  <c:v>3.211616</c:v>
                </c:pt>
                <c:pt idx="6">
                  <c:v>2.539472</c:v>
                </c:pt>
                <c:pt idx="7">
                  <c:v>2.418024</c:v>
                </c:pt>
                <c:pt idx="8">
                  <c:v>1.313612</c:v>
                </c:pt>
                <c:pt idx="9">
                  <c:v>1.1068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07</a:t>
                    </a:r>
                  </a:p>
                </c:rich>
              </c:tx>
              <c:dLblPos val="t"/>
              <c:showLegendKey val="0"/>
              <c:showVal val="1"/>
              <c:showCatName val="0"/>
              <c:showSerName val="0"/>
              <c:showPercent val="0"/>
              <c:showBubbleSize val="0"/>
            </c:dLbl>
            <c:dLbl>
              <c:idx val="1"/>
              <c:tx>
                <c:rich>
                  <a:bodyPr/>
                  <a:lstStyle/>
                  <a:p>
                    <a:r>
                      <a:t>55.73</a:t>
                    </a:r>
                  </a:p>
                </c:rich>
              </c:tx>
              <c:dLblPos val="t"/>
              <c:showLegendKey val="0"/>
              <c:showVal val="1"/>
              <c:showCatName val="0"/>
              <c:showSerName val="0"/>
              <c:showPercent val="0"/>
              <c:showBubbleSize val="0"/>
            </c:dLbl>
            <c:dLbl>
              <c:idx val="2"/>
              <c:tx>
                <c:rich>
                  <a:bodyPr/>
                  <a:lstStyle/>
                  <a:p>
                    <a:r>
                      <a:t>55.72</a:t>
                    </a:r>
                  </a:p>
                </c:rich>
              </c:tx>
              <c:dLblPos val="t"/>
              <c:showLegendKey val="0"/>
              <c:showVal val="1"/>
              <c:showCatName val="0"/>
              <c:showSerName val="0"/>
              <c:showPercent val="0"/>
              <c:showBubbleSize val="0"/>
            </c:dLbl>
            <c:dLbl>
              <c:idx val="3"/>
              <c:tx>
                <c:rich>
                  <a:bodyPr/>
                  <a:lstStyle/>
                  <a:p>
                    <a:r>
                      <a:t>59.99</a:t>
                    </a:r>
                  </a:p>
                </c:rich>
              </c:tx>
              <c:dLblPos val="t"/>
              <c:showLegendKey val="0"/>
              <c:showVal val="1"/>
              <c:showCatName val="0"/>
              <c:showSerName val="0"/>
              <c:showPercent val="0"/>
              <c:showBubbleSize val="0"/>
            </c:dLbl>
            <c:dLbl>
              <c:idx val="4"/>
              <c:tx>
                <c:rich>
                  <a:bodyPr/>
                  <a:lstStyle/>
                  <a:p>
                    <a:r>
                      <a:t>64.91</a:t>
                    </a:r>
                  </a:p>
                </c:rich>
              </c:tx>
              <c:dLblPos val="t"/>
              <c:showLegendKey val="0"/>
              <c:showVal val="1"/>
              <c:showCatName val="0"/>
              <c:showSerName val="0"/>
              <c:showPercent val="0"/>
              <c:showBubbleSize val="0"/>
            </c:dLbl>
            <c:dLbl>
              <c:idx val="5"/>
              <c:tx>
                <c:rich>
                  <a:bodyPr/>
                  <a:lstStyle/>
                  <a:p>
                    <a:r>
                      <a:t>62.51</a:t>
                    </a:r>
                  </a:p>
                </c:rich>
              </c:tx>
              <c:dLblPos val="t"/>
              <c:showLegendKey val="0"/>
              <c:showVal val="1"/>
              <c:showCatName val="0"/>
              <c:showSerName val="0"/>
              <c:showPercent val="0"/>
              <c:showBubbleSize val="0"/>
            </c:dLbl>
            <c:dLbl>
              <c:idx val="6"/>
              <c:tx>
                <c:rich>
                  <a:bodyPr/>
                  <a:lstStyle/>
                  <a:p>
                    <a:r>
                      <a:t>58.08</a:t>
                    </a:r>
                  </a:p>
                </c:rich>
              </c:tx>
              <c:dLblPos val="t"/>
              <c:showLegendKey val="0"/>
              <c:showVal val="1"/>
              <c:showCatName val="0"/>
              <c:showSerName val="0"/>
              <c:showPercent val="0"/>
              <c:showBubbleSize val="0"/>
            </c:dLbl>
            <c:dLbl>
              <c:idx val="7"/>
              <c:tx>
                <c:rich>
                  <a:bodyPr/>
                  <a:lstStyle/>
                  <a:p>
                    <a:r>
                      <a:t>58.28</a:t>
                    </a:r>
                  </a:p>
                </c:rich>
              </c:tx>
              <c:dLblPos val="t"/>
              <c:showLegendKey val="0"/>
              <c:showVal val="1"/>
              <c:showCatName val="0"/>
              <c:showSerName val="0"/>
              <c:showPercent val="0"/>
              <c:showBubbleSize val="0"/>
            </c:dLbl>
            <c:dLbl>
              <c:idx val="8"/>
              <c:tx>
                <c:rich>
                  <a:bodyPr/>
                  <a:lstStyle/>
                  <a:p>
                    <a:r>
                      <a:t>56.31</a:t>
                    </a:r>
                  </a:p>
                </c:rich>
              </c:tx>
              <c:dLblPos val="t"/>
              <c:showLegendKey val="0"/>
              <c:showVal val="1"/>
              <c:showCatName val="0"/>
              <c:showSerName val="0"/>
              <c:showPercent val="0"/>
              <c:showBubbleSize val="0"/>
            </c:dLbl>
            <c:dLbl>
              <c:idx val="9"/>
              <c:tx>
                <c:rich>
                  <a:bodyPr/>
                  <a:lstStyle/>
                  <a:p>
                    <a:r>
                      <a:t>62.3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C$2:$C$11</c:f>
              <c:numCache>
                <c:formatCode>General</c:formatCode>
                <c:ptCount val="10"/>
                <c:pt idx="0">
                  <c:v>28.0685</c:v>
                </c:pt>
                <c:pt idx="1">
                  <c:v>55.7279</c:v>
                </c:pt>
                <c:pt idx="2">
                  <c:v>55.716</c:v>
                </c:pt>
                <c:pt idx="3">
                  <c:v>59.9921</c:v>
                </c:pt>
                <c:pt idx="4">
                  <c:v>64.9104</c:v>
                </c:pt>
                <c:pt idx="5">
                  <c:v>62.5059</c:v>
                </c:pt>
                <c:pt idx="6">
                  <c:v>58.0756</c:v>
                </c:pt>
                <c:pt idx="7">
                  <c:v>58.2783</c:v>
                </c:pt>
                <c:pt idx="8">
                  <c:v>56.3081</c:v>
                </c:pt>
                <c:pt idx="9">
                  <c:v>62.343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4</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85</a:t>
                    </a:r>
                  </a:p>
                </c:rich>
              </c:tx>
              <c:dLblPos val="ctr"/>
              <c:showLegendKey val="0"/>
              <c:showVal val="1"/>
              <c:showCatName val="0"/>
              <c:showSerName val="0"/>
              <c:showPercent val="0"/>
              <c:showBubbleSize val="0"/>
            </c:dLbl>
            <c:dLbl>
              <c:idx val="3"/>
              <c:tx>
                <c:rich>
                  <a:bodyPr/>
                  <a:lstStyle/>
                  <a:p>
                    <a:r>
                      <a:t>88</a:t>
                    </a:r>
                  </a:p>
                </c:rich>
              </c:tx>
              <c:dLblPos val="ctr"/>
              <c:showLegendKey val="0"/>
              <c:showVal val="1"/>
              <c:showCatName val="0"/>
              <c:showSerName val="0"/>
              <c:showPercent val="0"/>
              <c:showBubbleSize val="0"/>
            </c:dLbl>
            <c:dLbl>
              <c:idx val="4"/>
              <c:tx>
                <c:rich>
                  <a:bodyPr/>
                  <a:lstStyle/>
                  <a:p>
                    <a:r>
                      <a:t>84</a:t>
                    </a:r>
                  </a:p>
                </c:rich>
              </c:tx>
              <c:dLblPos val="ctr"/>
              <c:showLegendKey val="0"/>
              <c:showVal val="1"/>
              <c:showCatName val="0"/>
              <c:showSerName val="0"/>
              <c:showPercent val="0"/>
              <c:showBubbleSize val="0"/>
            </c:dLbl>
            <c:dLbl>
              <c:idx val="5"/>
              <c:tx>
                <c:rich>
                  <a:bodyPr/>
                  <a:lstStyle/>
                  <a:p>
                    <a:r>
                      <a:t>86</a:t>
                    </a:r>
                  </a:p>
                </c:rich>
              </c:tx>
              <c:dLblPos val="ctr"/>
              <c:showLegendKey val="0"/>
              <c:showVal val="1"/>
              <c:showCatName val="0"/>
              <c:showSerName val="0"/>
              <c:showPercent val="0"/>
              <c:showBubbleSize val="0"/>
            </c:dLbl>
            <c:dLbl>
              <c:idx val="6"/>
              <c:tx>
                <c:rich>
                  <a:bodyPr/>
                  <a:lstStyle/>
                  <a:p>
                    <a:r>
                      <a:t>90</a:t>
                    </a:r>
                  </a:p>
                </c:rich>
              </c:tx>
              <c:dLblPos val="ctr"/>
              <c:showLegendKey val="0"/>
              <c:showVal val="1"/>
              <c:showCatName val="0"/>
              <c:showSerName val="0"/>
              <c:showPercent val="0"/>
              <c:showBubbleSize val="0"/>
            </c:dLbl>
            <c:dLbl>
              <c:idx val="7"/>
              <c:tx>
                <c:rich>
                  <a:bodyPr/>
                  <a:lstStyle/>
                  <a:p>
                    <a:r>
                      <a:t>87</a:t>
                    </a:r>
                  </a:p>
                </c:rich>
              </c:tx>
              <c:dLblPos val="ctr"/>
              <c:showLegendKey val="0"/>
              <c:showVal val="1"/>
              <c:showCatName val="0"/>
              <c:showSerName val="0"/>
              <c:showPercent val="0"/>
              <c:showBubbleSize val="0"/>
            </c:dLbl>
            <c:dLbl>
              <c:idx val="8"/>
              <c:tx>
                <c:rich>
                  <a:bodyPr/>
                  <a:lstStyle/>
                  <a:p>
                    <a:r>
                      <a:t>90</a:t>
                    </a:r>
                  </a:p>
                </c:rich>
              </c:tx>
              <c:dLblPos val="ctr"/>
              <c:showLegendKey val="0"/>
              <c:showVal val="1"/>
              <c:showCatName val="0"/>
              <c:showSerName val="0"/>
              <c:showPercent val="0"/>
              <c:showBubbleSize val="0"/>
            </c:dLbl>
            <c:dLbl>
              <c:idx val="9"/>
              <c:tx>
                <c:rich>
                  <a:bodyPr/>
                  <a:lstStyle/>
                  <a:p>
                    <a:r>
                      <a:t>86</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1.0443491786017833</c:v>
                </c:pt>
                <c:pt idx="1">
                  <c:v>0.8544803535167906</c:v>
                </c:pt>
                <c:pt idx="2">
                  <c:v>0.8480882140637761</c:v>
                </c:pt>
                <c:pt idx="3">
                  <c:v>0.875297553564247</c:v>
                </c:pt>
                <c:pt idx="4">
                  <c:v>0.8374848027951053</c:v>
                </c:pt>
                <c:pt idx="5">
                  <c:v>0.8567967284165853</c:v>
                </c:pt>
                <c:pt idx="6">
                  <c:v>0.9016013497009185</c:v>
                </c:pt>
                <c:pt idx="7">
                  <c:v>0.8717441957302263</c:v>
                </c:pt>
                <c:pt idx="8">
                  <c:v>0.8993258540813316</c:v>
                </c:pt>
                <c:pt idx="9">
                  <c:v>0.863118330298623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RN</c:v>
                </c:pt>
                <c:pt idx="7">
                  <c:v>NICOLAS VCT</c:v>
                </c:pt>
                <c:pt idx="8">
                  <c:v>NICOLAS CCC</c:v>
                </c:pt>
                <c:pt idx="9">
                  <c:v>NICOLAS CCQ</c:v>
                </c:pt>
              </c:strCache>
            </c:strRef>
          </c:cat>
          <c:val>
            <c:numRef>
              <c:f>Sheet1!$B$2:$B$11</c:f>
              <c:numCache>
                <c:formatCode>General</c:formatCode>
                <c:ptCount val="10"/>
                <c:pt idx="0">
                  <c:v>16.217922</c:v>
                </c:pt>
                <c:pt idx="1">
                  <c:v>2.773327</c:v>
                </c:pt>
                <c:pt idx="2">
                  <c:v>1.756592</c:v>
                </c:pt>
                <c:pt idx="3">
                  <c:v>0.988827</c:v>
                </c:pt>
                <c:pt idx="4">
                  <c:v>0.971917</c:v>
                </c:pt>
                <c:pt idx="5">
                  <c:v>0.590603</c:v>
                </c:pt>
                <c:pt idx="6">
                  <c:v>0.382659</c:v>
                </c:pt>
                <c:pt idx="7">
                  <c:v>0.306611</c:v>
                </c:pt>
                <c:pt idx="8">
                  <c:v>0.192695</c:v>
                </c:pt>
                <c:pt idx="9">
                  <c:v>0.1555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49</a:t>
                    </a:r>
                  </a:p>
                </c:rich>
              </c:tx>
              <c:dLblPos val="t"/>
              <c:showLegendKey val="0"/>
              <c:showVal val="1"/>
              <c:showCatName val="0"/>
              <c:showSerName val="0"/>
              <c:showPercent val="0"/>
              <c:showBubbleSize val="0"/>
            </c:dLbl>
            <c:dLbl>
              <c:idx val="1"/>
              <c:tx>
                <c:rich>
                  <a:bodyPr/>
                  <a:lstStyle/>
                  <a:p>
                    <a:r>
                      <a:t>93.41</a:t>
                    </a:r>
                  </a:p>
                </c:rich>
              </c:tx>
              <c:dLblPos val="t"/>
              <c:showLegendKey val="0"/>
              <c:showVal val="1"/>
              <c:showCatName val="0"/>
              <c:showSerName val="0"/>
              <c:showPercent val="0"/>
              <c:showBubbleSize val="0"/>
            </c:dLbl>
            <c:dLbl>
              <c:idx val="2"/>
              <c:tx>
                <c:rich>
                  <a:bodyPr/>
                  <a:lstStyle/>
                  <a:p>
                    <a:r>
                      <a:t>89.92</a:t>
                    </a:r>
                  </a:p>
                </c:rich>
              </c:tx>
              <c:dLblPos val="t"/>
              <c:showLegendKey val="0"/>
              <c:showVal val="1"/>
              <c:showCatName val="0"/>
              <c:showSerName val="0"/>
              <c:showPercent val="0"/>
              <c:showBubbleSize val="0"/>
            </c:dLbl>
            <c:dLbl>
              <c:idx val="3"/>
              <c:tx>
                <c:rich>
                  <a:bodyPr/>
                  <a:lstStyle/>
                  <a:p>
                    <a:r>
                      <a:t>105.47</a:t>
                    </a:r>
                  </a:p>
                </c:rich>
              </c:tx>
              <c:dLblPos val="t"/>
              <c:showLegendKey val="0"/>
              <c:showVal val="1"/>
              <c:showCatName val="0"/>
              <c:showSerName val="0"/>
              <c:showPercent val="0"/>
              <c:showBubbleSize val="0"/>
            </c:dLbl>
            <c:dLbl>
              <c:idx val="4"/>
              <c:tx>
                <c:rich>
                  <a:bodyPr/>
                  <a:lstStyle/>
                  <a:p>
                    <a:r>
                      <a:t>111.73</a:t>
                    </a:r>
                  </a:p>
                </c:rich>
              </c:tx>
              <c:dLblPos val="t"/>
              <c:showLegendKey val="0"/>
              <c:showVal val="1"/>
              <c:showCatName val="0"/>
              <c:showSerName val="0"/>
              <c:showPercent val="0"/>
              <c:showBubbleSize val="0"/>
            </c:dLbl>
            <c:dLbl>
              <c:idx val="5"/>
              <c:tx>
                <c:rich>
                  <a:bodyPr/>
                  <a:lstStyle/>
                  <a:p>
                    <a:r>
                      <a:t>106.99</a:t>
                    </a:r>
                  </a:p>
                </c:rich>
              </c:tx>
              <c:dLblPos val="t"/>
              <c:showLegendKey val="0"/>
              <c:showVal val="1"/>
              <c:showCatName val="0"/>
              <c:showSerName val="0"/>
              <c:showPercent val="0"/>
              <c:showBubbleSize val="0"/>
            </c:dLbl>
            <c:dLbl>
              <c:idx val="6"/>
              <c:tx>
                <c:rich>
                  <a:bodyPr/>
                  <a:lstStyle/>
                  <a:p>
                    <a:r>
                      <a:t>101.80</a:t>
                    </a:r>
                  </a:p>
                </c:rich>
              </c:tx>
              <c:dLblPos val="t"/>
              <c:showLegendKey val="0"/>
              <c:showVal val="1"/>
              <c:showCatName val="0"/>
              <c:showSerName val="0"/>
              <c:showPercent val="0"/>
              <c:showBubbleSize val="0"/>
            </c:dLbl>
            <c:dLbl>
              <c:idx val="7"/>
              <c:tx>
                <c:rich>
                  <a:bodyPr/>
                  <a:lstStyle/>
                  <a:p>
                    <a:r>
                      <a:t>99.91</a:t>
                    </a:r>
                  </a:p>
                </c:rich>
              </c:tx>
              <c:dLblPos val="t"/>
              <c:showLegendKey val="0"/>
              <c:showVal val="1"/>
              <c:showCatName val="0"/>
              <c:showSerName val="0"/>
              <c:showPercent val="0"/>
              <c:showBubbleSize val="0"/>
            </c:dLbl>
            <c:dLbl>
              <c:idx val="8"/>
              <c:tx>
                <c:rich>
                  <a:bodyPr/>
                  <a:lstStyle/>
                  <a:p>
                    <a:r>
                      <a:t>101.37</a:t>
                    </a:r>
                  </a:p>
                </c:rich>
              </c:tx>
              <c:dLblPos val="t"/>
              <c:showLegendKey val="0"/>
              <c:showVal val="1"/>
              <c:showCatName val="0"/>
              <c:showSerName val="0"/>
              <c:showPercent val="0"/>
              <c:showBubbleSize val="0"/>
            </c:dLbl>
            <c:dLbl>
              <c:idx val="9"/>
              <c:tx>
                <c:rich>
                  <a:bodyPr/>
                  <a:lstStyle/>
                  <a:p>
                    <a:r>
                      <a:t>94.7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RN</c:v>
                </c:pt>
                <c:pt idx="7">
                  <c:v>NICOLAS VCT</c:v>
                </c:pt>
                <c:pt idx="8">
                  <c:v>NICOLAS CCC</c:v>
                </c:pt>
                <c:pt idx="9">
                  <c:v>NICOLAS CCQ</c:v>
                </c:pt>
              </c:strCache>
            </c:strRef>
          </c:cat>
          <c:val>
            <c:numRef>
              <c:f>Sheet1!$C$2:$C$11</c:f>
              <c:numCache>
                <c:formatCode>General</c:formatCode>
                <c:ptCount val="10"/>
                <c:pt idx="0">
                  <c:v>67.4872</c:v>
                </c:pt>
                <c:pt idx="1">
                  <c:v>93.4063</c:v>
                </c:pt>
                <c:pt idx="2">
                  <c:v>89.9156</c:v>
                </c:pt>
                <c:pt idx="3">
                  <c:v>105.4749</c:v>
                </c:pt>
                <c:pt idx="4">
                  <c:v>111.7274</c:v>
                </c:pt>
                <c:pt idx="5">
                  <c:v>106.9933</c:v>
                </c:pt>
                <c:pt idx="6">
                  <c:v>101.7981</c:v>
                </c:pt>
                <c:pt idx="7">
                  <c:v>99.9058</c:v>
                </c:pt>
                <c:pt idx="8">
                  <c:v>101.3651</c:v>
                </c:pt>
                <c:pt idx="9">
                  <c:v>94.76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5</a:t>
                    </a:r>
                  </a:p>
                </c:rich>
              </c:tx>
              <c:dLblPos val="ctr"/>
              <c:showLegendKey val="0"/>
              <c:showVal val="1"/>
              <c:showCatName val="0"/>
              <c:showSerName val="0"/>
              <c:showPercent val="0"/>
              <c:showBubbleSize val="0"/>
            </c:dLbl>
            <c:dLbl>
              <c:idx val="1"/>
              <c:tx>
                <c:rich>
                  <a:bodyPr/>
                  <a:lstStyle/>
                  <a:p>
                    <a:r>
                      <a:t>76</a:t>
                    </a:r>
                  </a:p>
                </c:rich>
              </c:tx>
              <c:dLblPos val="ctr"/>
              <c:showLegendKey val="0"/>
              <c:showVal val="1"/>
              <c:showCatName val="0"/>
              <c:showSerName val="0"/>
              <c:showPercent val="0"/>
              <c:showBubbleSize val="0"/>
            </c:dLbl>
            <c:dLbl>
              <c:idx val="2"/>
              <c:tx>
                <c:rich>
                  <a:bodyPr/>
                  <a:lstStyle/>
                  <a:p>
                    <a:r>
                      <a:t>69</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68</a:t>
                    </a:r>
                  </a:p>
                </c:rich>
              </c:tx>
              <c:dLblPos val="ctr"/>
              <c:showLegendKey val="0"/>
              <c:showVal val="1"/>
              <c:showCatName val="0"/>
              <c:showSerName val="0"/>
              <c:showPercent val="0"/>
              <c:showBubbleSize val="0"/>
            </c:dLbl>
            <c:dLbl>
              <c:idx val="5"/>
              <c:tx>
                <c:rich>
                  <a:bodyPr/>
                  <a:lstStyle/>
                  <a:p>
                    <a:r>
                      <a:t>73</a:t>
                    </a:r>
                  </a:p>
                </c:rich>
              </c:tx>
              <c:dLblPos val="ctr"/>
              <c:showLegendKey val="0"/>
              <c:showVal val="1"/>
              <c:showCatName val="0"/>
              <c:showSerName val="0"/>
              <c:showPercent val="0"/>
              <c:showBubbleSize val="0"/>
            </c:dLbl>
            <c:dLbl>
              <c:idx val="6"/>
              <c:tx>
                <c:rich>
                  <a:bodyPr/>
                  <a:lstStyle/>
                  <a:p>
                    <a:r>
                      <a:t>86</a:t>
                    </a:r>
                  </a:p>
                </c:rich>
              </c:tx>
              <c:dLblPos val="ctr"/>
              <c:showLegendKey val="0"/>
              <c:showVal val="1"/>
              <c:showCatName val="0"/>
              <c:showSerName val="0"/>
              <c:showPercent val="0"/>
              <c:showBubbleSize val="0"/>
            </c:dLbl>
            <c:dLbl>
              <c:idx val="7"/>
              <c:tx>
                <c:rich>
                  <a:bodyPr/>
                  <a:lstStyle/>
                  <a:p>
                    <a:r>
                      <a:t>82</a:t>
                    </a:r>
                  </a:p>
                </c:rich>
              </c:tx>
              <c:dLblPos val="ctr"/>
              <c:showLegendKey val="0"/>
              <c:showVal val="1"/>
              <c:showCatName val="0"/>
              <c:showSerName val="0"/>
              <c:showPercent val="0"/>
              <c:showBubbleSize val="0"/>
            </c:dLbl>
            <c:dLbl>
              <c:idx val="8"/>
              <c:tx>
                <c:rich>
                  <a:bodyPr/>
                  <a:lstStyle/>
                  <a:p>
                    <a:r>
                      <a:t>85</a:t>
                    </a:r>
                  </a:p>
                </c:rich>
              </c:tx>
              <c:dLblPos val="ctr"/>
              <c:showLegendKey val="0"/>
              <c:showVal val="1"/>
              <c:showCatName val="0"/>
              <c:showSerName val="0"/>
              <c:showPercent val="0"/>
              <c:showBubbleSize val="0"/>
            </c:dLbl>
            <c:dLbl>
              <c:idx val="9"/>
              <c:tx>
                <c:rich>
                  <a:bodyPr/>
                  <a:lstStyle/>
                  <a:p>
                    <a:r>
                      <a:t>83</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RN</c:v>
                </c:pt>
                <c:pt idx="7">
                  <c:v>NICOLAS VCT</c:v>
                </c:pt>
                <c:pt idx="8">
                  <c:v>NICOLAS CCC</c:v>
                </c:pt>
                <c:pt idx="9">
                  <c:v>NICOLAS CCQ</c:v>
                </c:pt>
              </c:strCache>
            </c:strRef>
          </c:cat>
          <c:val>
            <c:numRef>
              <c:f>Sheet1!$B$2:$B$11</c:f>
              <c:numCache>
                <c:formatCode>General</c:formatCode>
                <c:ptCount val="10"/>
                <c:pt idx="0">
                  <c:v>1.0484762595400452</c:v>
                </c:pt>
                <c:pt idx="1">
                  <c:v>0.7553466545193573</c:v>
                </c:pt>
                <c:pt idx="2">
                  <c:v>0.692783752360429</c:v>
                </c:pt>
                <c:pt idx="3">
                  <c:v>0.8249760348002233</c:v>
                </c:pt>
                <c:pt idx="4">
                  <c:v>0.6831736547991425</c:v>
                </c:pt>
                <c:pt idx="5">
                  <c:v>0.732979959193602</c:v>
                </c:pt>
                <c:pt idx="6">
                  <c:v>0.8616059064718558</c:v>
                </c:pt>
                <c:pt idx="7">
                  <c:v>0.8168212248681971</c:v>
                </c:pt>
                <c:pt idx="8">
                  <c:v>0.847868174418093</c:v>
                </c:pt>
                <c:pt idx="9">
                  <c:v>0.829919738723931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2.883031</c:v>
                </c:pt>
                <c:pt idx="1">
                  <c:v>1.425828</c:v>
                </c:pt>
                <c:pt idx="2">
                  <c:v>0.55233</c:v>
                </c:pt>
                <c:pt idx="3">
                  <c:v>0.351913</c:v>
                </c:pt>
                <c:pt idx="4">
                  <c:v>0.176492</c:v>
                </c:pt>
                <c:pt idx="5">
                  <c:v>0.1057</c:v>
                </c:pt>
                <c:pt idx="6">
                  <c:v>0.103497</c:v>
                </c:pt>
                <c:pt idx="7">
                  <c:v>0.087594</c:v>
                </c:pt>
                <c:pt idx="8">
                  <c:v>0.052787</c:v>
                </c:pt>
                <c:pt idx="9">
                  <c:v>0.0329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4</a:t>
                    </a:r>
                  </a:p>
                </c:rich>
              </c:tx>
              <c:dLblPos val="t"/>
              <c:showLegendKey val="0"/>
              <c:showVal val="1"/>
              <c:showCatName val="0"/>
              <c:showSerName val="0"/>
              <c:showPercent val="0"/>
              <c:showBubbleSize val="0"/>
            </c:dLbl>
            <c:dLbl>
              <c:idx val="1"/>
              <c:tx>
                <c:rich>
                  <a:bodyPr/>
                  <a:lstStyle/>
                  <a:p>
                    <a:r>
                      <a:t>40.03</a:t>
                    </a:r>
                  </a:p>
                </c:rich>
              </c:tx>
              <c:dLblPos val="t"/>
              <c:showLegendKey val="0"/>
              <c:showVal val="1"/>
              <c:showCatName val="0"/>
              <c:showSerName val="0"/>
              <c:showPercent val="0"/>
              <c:showBubbleSize val="0"/>
            </c:dLbl>
            <c:dLbl>
              <c:idx val="2"/>
              <c:tx>
                <c:rich>
                  <a:bodyPr/>
                  <a:lstStyle/>
                  <a:p>
                    <a:r>
                      <a:t>39.74</a:t>
                    </a:r>
                  </a:p>
                </c:rich>
              </c:tx>
              <c:dLblPos val="t"/>
              <c:showLegendKey val="0"/>
              <c:showVal val="1"/>
              <c:showCatName val="0"/>
              <c:showSerName val="0"/>
              <c:showPercent val="0"/>
              <c:showBubbleSize val="0"/>
            </c:dLbl>
            <c:dLbl>
              <c:idx val="3"/>
              <c:tx>
                <c:rich>
                  <a:bodyPr/>
                  <a:lstStyle/>
                  <a:p>
                    <a:r>
                      <a:t>40.27</a:t>
                    </a:r>
                  </a:p>
                </c:rich>
              </c:tx>
              <c:dLblPos val="t"/>
              <c:showLegendKey val="0"/>
              <c:showVal val="1"/>
              <c:showCatName val="0"/>
              <c:showSerName val="0"/>
              <c:showPercent val="0"/>
              <c:showBubbleSize val="0"/>
            </c:dLbl>
            <c:dLbl>
              <c:idx val="4"/>
              <c:tx>
                <c:rich>
                  <a:bodyPr/>
                  <a:lstStyle/>
                  <a:p>
                    <a:r>
                      <a:t>40.24</a:t>
                    </a:r>
                  </a:p>
                </c:rich>
              </c:tx>
              <c:dLblPos val="t"/>
              <c:showLegendKey val="0"/>
              <c:showVal val="1"/>
              <c:showCatName val="0"/>
              <c:showSerName val="0"/>
              <c:showPercent val="0"/>
              <c:showBubbleSize val="0"/>
            </c:dLbl>
            <c:dLbl>
              <c:idx val="5"/>
              <c:tx>
                <c:rich>
                  <a:bodyPr/>
                  <a:lstStyle/>
                  <a:p>
                    <a:r>
                      <a:t>39.90</a:t>
                    </a:r>
                  </a:p>
                </c:rich>
              </c:tx>
              <c:dLblPos val="t"/>
              <c:showLegendKey val="0"/>
              <c:showVal val="1"/>
              <c:showCatName val="0"/>
              <c:showSerName val="0"/>
              <c:showPercent val="0"/>
              <c:showBubbleSize val="0"/>
            </c:dLbl>
            <c:dLbl>
              <c:idx val="6"/>
              <c:tx>
                <c:rich>
                  <a:bodyPr/>
                  <a:lstStyle/>
                  <a:p>
                    <a:r>
                      <a:t>39.79</a:t>
                    </a:r>
                  </a:p>
                </c:rich>
              </c:tx>
              <c:dLblPos val="t"/>
              <c:showLegendKey val="0"/>
              <c:showVal val="1"/>
              <c:showCatName val="0"/>
              <c:showSerName val="0"/>
              <c:showPercent val="0"/>
              <c:showBubbleSize val="0"/>
            </c:dLbl>
            <c:dLbl>
              <c:idx val="7"/>
              <c:tx>
                <c:rich>
                  <a:bodyPr/>
                  <a:lstStyle/>
                  <a:p>
                    <a:r>
                      <a:t>39.82</a:t>
                    </a:r>
                  </a:p>
                </c:rich>
              </c:tx>
              <c:dLblPos val="t"/>
              <c:showLegendKey val="0"/>
              <c:showVal val="1"/>
              <c:showCatName val="0"/>
              <c:showSerName val="0"/>
              <c:showPercent val="0"/>
              <c:showBubbleSize val="0"/>
            </c:dLbl>
            <c:dLbl>
              <c:idx val="8"/>
              <c:tx>
                <c:rich>
                  <a:bodyPr/>
                  <a:lstStyle/>
                  <a:p>
                    <a:r>
                      <a:t>40.05</a:t>
                    </a:r>
                  </a:p>
                </c:rich>
              </c:tx>
              <c:dLblPos val="t"/>
              <c:showLegendKey val="0"/>
              <c:showVal val="1"/>
              <c:showCatName val="0"/>
              <c:showSerName val="0"/>
              <c:showPercent val="0"/>
              <c:showBubbleSize val="0"/>
            </c:dLbl>
            <c:dLbl>
              <c:idx val="9"/>
              <c:tx>
                <c:rich>
                  <a:bodyPr/>
                  <a:lstStyle/>
                  <a:p>
                    <a:r>
                      <a:t>39.78</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C$2:$C$11</c:f>
              <c:numCache>
                <c:formatCode>General</c:formatCode>
                <c:ptCount val="10"/>
                <c:pt idx="0">
                  <c:v>39.9367</c:v>
                </c:pt>
                <c:pt idx="1">
                  <c:v>40.0255</c:v>
                </c:pt>
                <c:pt idx="2">
                  <c:v>39.7417</c:v>
                </c:pt>
                <c:pt idx="3">
                  <c:v>40.2739</c:v>
                </c:pt>
                <c:pt idx="4">
                  <c:v>40.2399</c:v>
                </c:pt>
                <c:pt idx="5">
                  <c:v>39.9018</c:v>
                </c:pt>
                <c:pt idx="6">
                  <c:v>39.7912</c:v>
                </c:pt>
                <c:pt idx="7">
                  <c:v>39.8155</c:v>
                </c:pt>
                <c:pt idx="8">
                  <c:v>40.0508</c:v>
                </c:pt>
                <c:pt idx="9">
                  <c:v>39.775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92</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83</a:t>
                    </a:r>
                  </a:p>
                </c:rich>
              </c:tx>
              <c:dLblPos val="ctr"/>
              <c:showLegendKey val="0"/>
              <c:showVal val="1"/>
              <c:showCatName val="0"/>
              <c:showSerName val="0"/>
              <c:showPercent val="0"/>
              <c:showBubbleSize val="0"/>
            </c:dLbl>
            <c:dLbl>
              <c:idx val="3"/>
              <c:tx>
                <c:rich>
                  <a:bodyPr/>
                  <a:lstStyle/>
                  <a:p>
                    <a:r>
                      <a:t>91</a:t>
                    </a:r>
                  </a:p>
                </c:rich>
              </c:tx>
              <c:dLblPos val="ctr"/>
              <c:showLegendKey val="0"/>
              <c:showVal val="1"/>
              <c:showCatName val="0"/>
              <c:showSerName val="0"/>
              <c:showPercent val="0"/>
              <c:showBubbleSize val="0"/>
            </c:dLbl>
            <c:dLbl>
              <c:idx val="4"/>
              <c:tx>
                <c:rich>
                  <a:bodyPr/>
                  <a:lstStyle/>
                  <a:p>
                    <a:r>
                      <a:t>83</a:t>
                    </a:r>
                  </a:p>
                </c:rich>
              </c:tx>
              <c:dLblPos val="ctr"/>
              <c:showLegendKey val="0"/>
              <c:showVal val="1"/>
              <c:showCatName val="0"/>
              <c:showSerName val="0"/>
              <c:showPercent val="0"/>
              <c:showBubbleSize val="0"/>
            </c:dLbl>
            <c:dLbl>
              <c:idx val="5"/>
              <c:tx>
                <c:rich>
                  <a:bodyPr/>
                  <a:lstStyle/>
                  <a:p>
                    <a:r>
                      <a:t>85</a:t>
                    </a:r>
                  </a:p>
                </c:rich>
              </c:tx>
              <c:dLblPos val="ctr"/>
              <c:showLegendKey val="0"/>
              <c:showVal val="1"/>
              <c:showCatName val="0"/>
              <c:showSerName val="0"/>
              <c:showPercent val="0"/>
              <c:showBubbleSize val="0"/>
            </c:dLbl>
            <c:dLbl>
              <c:idx val="6"/>
              <c:tx>
                <c:rich>
                  <a:bodyPr/>
                  <a:lstStyle/>
                  <a:p>
                    <a:r>
                      <a:t>85</a:t>
                    </a:r>
                  </a:p>
                </c:rich>
              </c:tx>
              <c:dLblPos val="ctr"/>
              <c:showLegendKey val="0"/>
              <c:showVal val="1"/>
              <c:showCatName val="0"/>
              <c:showSerName val="0"/>
              <c:showPercent val="0"/>
              <c:showBubbleSize val="0"/>
            </c:dLbl>
            <c:dLbl>
              <c:idx val="7"/>
              <c:tx>
                <c:rich>
                  <a:bodyPr/>
                  <a:lstStyle/>
                  <a:p>
                    <a:r>
                      <a:t>78</a:t>
                    </a:r>
                  </a:p>
                </c:rich>
              </c:tx>
              <c:dLblPos val="ctr"/>
              <c:showLegendKey val="0"/>
              <c:showVal val="1"/>
              <c:showCatName val="0"/>
              <c:showSerName val="0"/>
              <c:showPercent val="0"/>
              <c:showBubbleSize val="0"/>
            </c:dLbl>
            <c:dLbl>
              <c:idx val="8"/>
              <c:tx>
                <c:rich>
                  <a:bodyPr/>
                  <a:lstStyle/>
                  <a:p>
                    <a:r>
                      <a:t>82</a:t>
                    </a:r>
                  </a:p>
                </c:rich>
              </c:tx>
              <c:dLblPos val="ctr"/>
              <c:showLegendKey val="0"/>
              <c:showVal val="1"/>
              <c:showCatName val="0"/>
              <c:showSerName val="0"/>
              <c:showPercent val="0"/>
              <c:showBubbleSize val="0"/>
            </c:dLbl>
            <c:dLbl>
              <c:idx val="9"/>
              <c:tx>
                <c:rich>
                  <a:bodyPr/>
                  <a:lstStyle/>
                  <a:p>
                    <a:r>
                      <a:t>92</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0.9182636308766409</c:v>
                </c:pt>
                <c:pt idx="1">
                  <c:v>0.8490811428843658</c:v>
                </c:pt>
                <c:pt idx="2">
                  <c:v>0.8332315044872578</c:v>
                </c:pt>
                <c:pt idx="3">
                  <c:v>0.9069268197140412</c:v>
                </c:pt>
                <c:pt idx="4">
                  <c:v>0.8306600399111412</c:v>
                </c:pt>
                <c:pt idx="5">
                  <c:v>0.8531762046977157</c:v>
                </c:pt>
                <c:pt idx="6">
                  <c:v>0.8508537557855622</c:v>
                </c:pt>
                <c:pt idx="7">
                  <c:v>0.7789387566361058</c:v>
                </c:pt>
                <c:pt idx="8">
                  <c:v>0.8235743817770497</c:v>
                </c:pt>
                <c:pt idx="9">
                  <c:v>0.92011050032089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C</c:v>
                </c:pt>
                <c:pt idx="9">
                  <c:v>NICOLAS CCQ</c:v>
                </c:pt>
              </c:strCache>
            </c:strRef>
          </c:cat>
          <c:val>
            <c:numRef>
              <c:f>Sheet1!$B$2:$B$11</c:f>
              <c:numCache>
                <c:formatCode>General</c:formatCode>
                <c:ptCount val="10"/>
                <c:pt idx="0">
                  <c:v>43.903524</c:v>
                </c:pt>
                <c:pt idx="1">
                  <c:v>1.811839</c:v>
                </c:pt>
                <c:pt idx="2">
                  <c:v>0.840102</c:v>
                </c:pt>
                <c:pt idx="3">
                  <c:v>0.479529</c:v>
                </c:pt>
                <c:pt idx="4">
                  <c:v>0.397813</c:v>
                </c:pt>
                <c:pt idx="5">
                  <c:v>0.245867</c:v>
                </c:pt>
                <c:pt idx="6">
                  <c:v>0.189405</c:v>
                </c:pt>
                <c:pt idx="7">
                  <c:v>0.151881</c:v>
                </c:pt>
                <c:pt idx="8">
                  <c:v>0.091766</c:v>
                </c:pt>
                <c:pt idx="9">
                  <c:v>0.08045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1.98</a:t>
                    </a:r>
                  </a:p>
                </c:rich>
              </c:tx>
              <c:dLblPos val="t"/>
              <c:showLegendKey val="0"/>
              <c:showVal val="1"/>
              <c:showCatName val="0"/>
              <c:showSerName val="0"/>
              <c:showPercent val="0"/>
              <c:showBubbleSize val="0"/>
            </c:dLbl>
            <c:dLbl>
              <c:idx val="1"/>
              <c:tx>
                <c:rich>
                  <a:bodyPr/>
                  <a:lstStyle/>
                  <a:p>
                    <a:r>
                      <a:t>74.97</a:t>
                    </a:r>
                  </a:p>
                </c:rich>
              </c:tx>
              <c:dLblPos val="t"/>
              <c:showLegendKey val="0"/>
              <c:showVal val="1"/>
              <c:showCatName val="0"/>
              <c:showSerName val="0"/>
              <c:showPercent val="0"/>
              <c:showBubbleSize val="0"/>
            </c:dLbl>
            <c:dLbl>
              <c:idx val="2"/>
              <c:tx>
                <c:rich>
                  <a:bodyPr/>
                  <a:lstStyle/>
                  <a:p>
                    <a:r>
                      <a:t>69.42</a:t>
                    </a:r>
                  </a:p>
                </c:rich>
              </c:tx>
              <c:dLblPos val="t"/>
              <c:showLegendKey val="0"/>
              <c:showVal val="1"/>
              <c:showCatName val="0"/>
              <c:showSerName val="0"/>
              <c:showPercent val="0"/>
              <c:showBubbleSize val="0"/>
            </c:dLbl>
            <c:dLbl>
              <c:idx val="3"/>
              <c:tx>
                <c:rich>
                  <a:bodyPr/>
                  <a:lstStyle/>
                  <a:p>
                    <a:r>
                      <a:t>77.86</a:t>
                    </a:r>
                  </a:p>
                </c:rich>
              </c:tx>
              <c:dLblPos val="t"/>
              <c:showLegendKey val="0"/>
              <c:showVal val="1"/>
              <c:showCatName val="0"/>
              <c:showSerName val="0"/>
              <c:showPercent val="0"/>
              <c:showBubbleSize val="0"/>
            </c:dLbl>
            <c:dLbl>
              <c:idx val="4"/>
              <c:tx>
                <c:rich>
                  <a:bodyPr/>
                  <a:lstStyle/>
                  <a:p>
                    <a:r>
                      <a:t>93.71</a:t>
                    </a:r>
                  </a:p>
                </c:rich>
              </c:tx>
              <c:dLblPos val="t"/>
              <c:showLegendKey val="0"/>
              <c:showVal val="1"/>
              <c:showCatName val="0"/>
              <c:showSerName val="0"/>
              <c:showPercent val="0"/>
              <c:showBubbleSize val="0"/>
            </c:dLbl>
            <c:dLbl>
              <c:idx val="5"/>
              <c:tx>
                <c:rich>
                  <a:bodyPr/>
                  <a:lstStyle/>
                  <a:p>
                    <a:r>
                      <a:t>77.27</a:t>
                    </a:r>
                  </a:p>
                </c:rich>
              </c:tx>
              <c:dLblPos val="t"/>
              <c:showLegendKey val="0"/>
              <c:showVal val="1"/>
              <c:showCatName val="0"/>
              <c:showSerName val="0"/>
              <c:showPercent val="0"/>
              <c:showBubbleSize val="0"/>
            </c:dLbl>
            <c:dLbl>
              <c:idx val="6"/>
              <c:tx>
                <c:rich>
                  <a:bodyPr/>
                  <a:lstStyle/>
                  <a:p>
                    <a:r>
                      <a:t>77.85</a:t>
                    </a:r>
                  </a:p>
                </c:rich>
              </c:tx>
              <c:dLblPos val="t"/>
              <c:showLegendKey val="0"/>
              <c:showVal val="1"/>
              <c:showCatName val="0"/>
              <c:showSerName val="0"/>
              <c:showPercent val="0"/>
              <c:showBubbleSize val="0"/>
            </c:dLbl>
            <c:dLbl>
              <c:idx val="7"/>
              <c:tx>
                <c:rich>
                  <a:bodyPr/>
                  <a:lstStyle/>
                  <a:p>
                    <a:r>
                      <a:t>73.87</a:t>
                    </a:r>
                  </a:p>
                </c:rich>
              </c:tx>
              <c:dLblPos val="t"/>
              <c:showLegendKey val="0"/>
              <c:showVal val="1"/>
              <c:showCatName val="0"/>
              <c:showSerName val="0"/>
              <c:showPercent val="0"/>
              <c:showBubbleSize val="0"/>
            </c:dLbl>
            <c:dLbl>
              <c:idx val="8"/>
              <c:tx>
                <c:rich>
                  <a:bodyPr/>
                  <a:lstStyle/>
                  <a:p>
                    <a:r>
                      <a:t>79.11</a:t>
                    </a:r>
                  </a:p>
                </c:rich>
              </c:tx>
              <c:dLblPos val="t"/>
              <c:showLegendKey val="0"/>
              <c:showVal val="1"/>
              <c:showCatName val="0"/>
              <c:showSerName val="0"/>
              <c:showPercent val="0"/>
              <c:showBubbleSize val="0"/>
            </c:dLbl>
            <c:dLbl>
              <c:idx val="9"/>
              <c:tx>
                <c:rich>
                  <a:bodyPr/>
                  <a:lstStyle/>
                  <a:p>
                    <a:r>
                      <a:t>71.2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C</c:v>
                </c:pt>
                <c:pt idx="9">
                  <c:v>NICOLAS CCQ</c:v>
                </c:pt>
              </c:strCache>
            </c:strRef>
          </c:cat>
          <c:val>
            <c:numRef>
              <c:f>Sheet1!$C$2:$C$11</c:f>
              <c:numCache>
                <c:formatCode>General</c:formatCode>
                <c:ptCount val="10"/>
                <c:pt idx="0">
                  <c:v>41.9837</c:v>
                </c:pt>
                <c:pt idx="1">
                  <c:v>74.9685</c:v>
                </c:pt>
                <c:pt idx="2">
                  <c:v>69.4184</c:v>
                </c:pt>
                <c:pt idx="3">
                  <c:v>77.8583</c:v>
                </c:pt>
                <c:pt idx="4">
                  <c:v>93.7133</c:v>
                </c:pt>
                <c:pt idx="5">
                  <c:v>77.2681</c:v>
                </c:pt>
                <c:pt idx="6">
                  <c:v>77.8483</c:v>
                </c:pt>
                <c:pt idx="7">
                  <c:v>73.8721</c:v>
                </c:pt>
                <c:pt idx="8">
                  <c:v>79.1086</c:v>
                </c:pt>
                <c:pt idx="9">
                  <c:v>71.25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0</a:t>
                    </a:r>
                  </a:p>
                </c:rich>
              </c:tx>
              <c:dLblPos val="ctr"/>
              <c:showLegendKey val="0"/>
              <c:showVal val="1"/>
              <c:showCatName val="0"/>
              <c:showSerName val="0"/>
              <c:showPercent val="0"/>
              <c:showBubbleSize val="0"/>
            </c:dLbl>
            <c:dLbl>
              <c:idx val="1"/>
              <c:tx>
                <c:rich>
                  <a:bodyPr/>
                  <a:lstStyle/>
                  <a:p>
                    <a:r>
                      <a:t>80</a:t>
                    </a:r>
                  </a:p>
                </c:rich>
              </c:tx>
              <c:dLblPos val="ctr"/>
              <c:showLegendKey val="0"/>
              <c:showVal val="1"/>
              <c:showCatName val="0"/>
              <c:showSerName val="0"/>
              <c:showPercent val="0"/>
              <c:showBubbleSize val="0"/>
            </c:dLbl>
            <c:dLbl>
              <c:idx val="2"/>
              <c:tx>
                <c:rich>
                  <a:bodyPr/>
                  <a:lstStyle/>
                  <a:p>
                    <a:r>
                      <a:t>87</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dLbl>
              <c:idx val="5"/>
              <c:tx>
                <c:rich>
                  <a:bodyPr/>
                  <a:lstStyle/>
                  <a:p>
                    <a:r>
                      <a:t>80</a:t>
                    </a:r>
                  </a:p>
                </c:rich>
              </c:tx>
              <c:dLblPos val="ctr"/>
              <c:showLegendKey val="0"/>
              <c:showVal val="1"/>
              <c:showCatName val="0"/>
              <c:showSerName val="0"/>
              <c:showPercent val="0"/>
              <c:showBubbleSize val="0"/>
            </c:dLbl>
            <c:dLbl>
              <c:idx val="6"/>
              <c:tx>
                <c:rich>
                  <a:bodyPr/>
                  <a:lstStyle/>
                  <a:p>
                    <a:r>
                      <a:t>83</a:t>
                    </a:r>
                  </a:p>
                </c:rich>
              </c:tx>
              <c:dLblPos val="ctr"/>
              <c:showLegendKey val="0"/>
              <c:showVal val="1"/>
              <c:showCatName val="0"/>
              <c:showSerName val="0"/>
              <c:showPercent val="0"/>
              <c:showBubbleSize val="0"/>
            </c:dLbl>
            <c:dLbl>
              <c:idx val="7"/>
              <c:tx>
                <c:rich>
                  <a:bodyPr/>
                  <a:lstStyle/>
                  <a:p>
                    <a:r>
                      <a:t>82</a:t>
                    </a:r>
                  </a:p>
                </c:rich>
              </c:tx>
              <c:dLblPos val="ctr"/>
              <c:showLegendKey val="0"/>
              <c:showVal val="1"/>
              <c:showCatName val="0"/>
              <c:showSerName val="0"/>
              <c:showPercent val="0"/>
              <c:showBubbleSize val="0"/>
            </c:dLbl>
            <c:dLbl>
              <c:idx val="8"/>
              <c:tx>
                <c:rich>
                  <a:bodyPr/>
                  <a:lstStyle/>
                  <a:p>
                    <a:r>
                      <a:t>84</a:t>
                    </a:r>
                  </a:p>
                </c:rich>
              </c:tx>
              <c:dLblPos val="ctr"/>
              <c:showLegendKey val="0"/>
              <c:showVal val="1"/>
              <c:showCatName val="0"/>
              <c:showSerName val="0"/>
              <c:showPercent val="0"/>
              <c:showBubbleSize val="0"/>
            </c:dLbl>
            <c:dLbl>
              <c:idx val="9"/>
              <c:tx>
                <c:rich>
                  <a:bodyPr/>
                  <a:lstStyle/>
                  <a:p>
                    <a:r>
                      <a:t>83</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C</c:v>
                </c:pt>
                <c:pt idx="9">
                  <c:v>NICOLAS CCQ</c:v>
                </c:pt>
              </c:strCache>
            </c:strRef>
          </c:cat>
          <c:val>
            <c:numRef>
              <c:f>Sheet1!$B$2:$B$11</c:f>
              <c:numCache>
                <c:formatCode>General</c:formatCode>
                <c:ptCount val="10"/>
                <c:pt idx="0">
                  <c:v>0.9983118968556904</c:v>
                </c:pt>
                <c:pt idx="1">
                  <c:v>0.7950093373631427</c:v>
                </c:pt>
                <c:pt idx="2">
                  <c:v>0.8724797225020511</c:v>
                </c:pt>
                <c:pt idx="3">
                  <c:v>0.821871250814109</c:v>
                </c:pt>
                <c:pt idx="4">
                  <c:v>0.8737880924454284</c:v>
                </c:pt>
                <c:pt idx="5">
                  <c:v>0.7962297879781987</c:v>
                </c:pt>
                <c:pt idx="6">
                  <c:v>0.8314931800921028</c:v>
                </c:pt>
                <c:pt idx="7">
                  <c:v>0.8161169681142599</c:v>
                </c:pt>
                <c:pt idx="8">
                  <c:v>0.8432747355749349</c:v>
                </c:pt>
                <c:pt idx="9">
                  <c:v>0.829906850558587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567.142783</c:v>
                </c:pt>
                <c:pt idx="1">
                  <c:v>43.684616</c:v>
                </c:pt>
                <c:pt idx="2">
                  <c:v>6.26913</c:v>
                </c:pt>
                <c:pt idx="3">
                  <c:v>3.490185</c:v>
                </c:pt>
                <c:pt idx="4">
                  <c:v>1.844044</c:v>
                </c:pt>
                <c:pt idx="5">
                  <c:v>1.604073</c:v>
                </c:pt>
                <c:pt idx="6">
                  <c:v>1.554442</c:v>
                </c:pt>
                <c:pt idx="7">
                  <c:v>1.234371</c:v>
                </c:pt>
                <c:pt idx="8">
                  <c:v>1.052164</c:v>
                </c:pt>
                <c:pt idx="9">
                  <c:v>0.721285</c:v>
                </c:pt>
                <c:pt idx="10">
                  <c:v>0.687083</c:v>
                </c:pt>
                <c:pt idx="11">
                  <c:v>0.400577</c:v>
                </c:pt>
                <c:pt idx="12">
                  <c:v>0.35936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07</a:t>
                    </a:r>
                  </a:p>
                </c:rich>
              </c:tx>
              <c:dLblPos val="t"/>
              <c:showLegendKey val="0"/>
              <c:showVal val="1"/>
              <c:showCatName val="0"/>
              <c:showSerName val="0"/>
              <c:showPercent val="0"/>
              <c:showBubbleSize val="0"/>
            </c:dLbl>
            <c:dLbl>
              <c:idx val="1"/>
              <c:tx>
                <c:rich>
                  <a:bodyPr/>
                  <a:lstStyle/>
                  <a:p>
                    <a:r>
                      <a:t>57.67</a:t>
                    </a:r>
                  </a:p>
                </c:rich>
              </c:tx>
              <c:dLblPos val="t"/>
              <c:showLegendKey val="0"/>
              <c:showVal val="1"/>
              <c:showCatName val="0"/>
              <c:showSerName val="0"/>
              <c:showPercent val="0"/>
              <c:showBubbleSize val="0"/>
            </c:dLbl>
            <c:dLbl>
              <c:idx val="2"/>
              <c:tx>
                <c:rich>
                  <a:bodyPr/>
                  <a:lstStyle/>
                  <a:p>
                    <a:r>
                      <a:t>60.73</a:t>
                    </a:r>
                  </a:p>
                </c:rich>
              </c:tx>
              <c:dLblPos val="t"/>
              <c:showLegendKey val="0"/>
              <c:showVal val="1"/>
              <c:showCatName val="0"/>
              <c:showSerName val="0"/>
              <c:showPercent val="0"/>
              <c:showBubbleSize val="0"/>
            </c:dLbl>
            <c:dLbl>
              <c:idx val="3"/>
              <c:tx>
                <c:rich>
                  <a:bodyPr/>
                  <a:lstStyle/>
                  <a:p>
                    <a:r>
                      <a:t>58.76</a:t>
                    </a:r>
                  </a:p>
                </c:rich>
              </c:tx>
              <c:dLblPos val="t"/>
              <c:showLegendKey val="0"/>
              <c:showVal val="1"/>
              <c:showCatName val="0"/>
              <c:showSerName val="0"/>
              <c:showPercent val="0"/>
              <c:showBubbleSize val="0"/>
            </c:dLbl>
            <c:dLbl>
              <c:idx val="4"/>
              <c:tx>
                <c:rich>
                  <a:bodyPr/>
                  <a:lstStyle/>
                  <a:p>
                    <a:r>
                      <a:t>54.08</a:t>
                    </a:r>
                  </a:p>
                </c:rich>
              </c:tx>
              <c:dLblPos val="t"/>
              <c:showLegendKey val="0"/>
              <c:showVal val="1"/>
              <c:showCatName val="0"/>
              <c:showSerName val="0"/>
              <c:showPercent val="0"/>
              <c:showBubbleSize val="0"/>
            </c:dLbl>
            <c:dLbl>
              <c:idx val="5"/>
              <c:tx>
                <c:rich>
                  <a:bodyPr/>
                  <a:lstStyle/>
                  <a:p>
                    <a:r>
                      <a:t>53.49</a:t>
                    </a:r>
                  </a:p>
                </c:rich>
              </c:tx>
              <c:dLblPos val="t"/>
              <c:showLegendKey val="0"/>
              <c:showVal val="1"/>
              <c:showCatName val="0"/>
              <c:showSerName val="0"/>
              <c:showPercent val="0"/>
              <c:showBubbleSize val="0"/>
            </c:dLbl>
            <c:dLbl>
              <c:idx val="6"/>
              <c:tx>
                <c:rich>
                  <a:bodyPr/>
                  <a:lstStyle/>
                  <a:p>
                    <a:r>
                      <a:t>54.93</a:t>
                    </a:r>
                  </a:p>
                </c:rich>
              </c:tx>
              <c:dLblPos val="t"/>
              <c:showLegendKey val="0"/>
              <c:showVal val="1"/>
              <c:showCatName val="0"/>
              <c:showSerName val="0"/>
              <c:showPercent val="0"/>
              <c:showBubbleSize val="0"/>
            </c:dLbl>
            <c:dLbl>
              <c:idx val="7"/>
              <c:tx>
                <c:rich>
                  <a:bodyPr/>
                  <a:lstStyle/>
                  <a:p>
                    <a:r>
                      <a:t>55.40</a:t>
                    </a:r>
                  </a:p>
                </c:rich>
              </c:tx>
              <c:dLblPos val="t"/>
              <c:showLegendKey val="0"/>
              <c:showVal val="1"/>
              <c:showCatName val="0"/>
              <c:showSerName val="0"/>
              <c:showPercent val="0"/>
              <c:showBubbleSize val="0"/>
            </c:dLbl>
            <c:dLbl>
              <c:idx val="8"/>
              <c:tx>
                <c:rich>
                  <a:bodyPr/>
                  <a:lstStyle/>
                  <a:p>
                    <a:r>
                      <a:t>54.32</a:t>
                    </a:r>
                  </a:p>
                </c:rich>
              </c:tx>
              <c:dLblPos val="t"/>
              <c:showLegendKey val="0"/>
              <c:showVal val="1"/>
              <c:showCatName val="0"/>
              <c:showSerName val="0"/>
              <c:showPercent val="0"/>
              <c:showBubbleSize val="0"/>
            </c:dLbl>
            <c:dLbl>
              <c:idx val="9"/>
              <c:tx>
                <c:rich>
                  <a:bodyPr/>
                  <a:lstStyle/>
                  <a:p>
                    <a:r>
                      <a:t>52.32</a:t>
                    </a:r>
                  </a:p>
                </c:rich>
              </c:tx>
              <c:dLblPos val="t"/>
              <c:showLegendKey val="0"/>
              <c:showVal val="1"/>
              <c:showCatName val="0"/>
              <c:showSerName val="0"/>
              <c:showPercent val="0"/>
              <c:showBubbleSize val="0"/>
            </c:dLbl>
            <c:dLbl>
              <c:idx val="10"/>
              <c:tx>
                <c:rich>
                  <a:bodyPr/>
                  <a:lstStyle/>
                  <a:p>
                    <a:r>
                      <a:t>54.36</a:t>
                    </a:r>
                  </a:p>
                </c:rich>
              </c:tx>
              <c:dLblPos val="t"/>
              <c:showLegendKey val="0"/>
              <c:showVal val="1"/>
              <c:showCatName val="0"/>
              <c:showSerName val="0"/>
              <c:showPercent val="0"/>
              <c:showBubbleSize val="0"/>
            </c:dLbl>
            <c:dLbl>
              <c:idx val="11"/>
              <c:tx>
                <c:rich>
                  <a:bodyPr/>
                  <a:lstStyle/>
                  <a:p>
                    <a:r>
                      <a:t>55.89</a:t>
                    </a:r>
                  </a:p>
                </c:rich>
              </c:tx>
              <c:dLblPos val="t"/>
              <c:showLegendKey val="0"/>
              <c:showVal val="1"/>
              <c:showCatName val="0"/>
              <c:showSerName val="0"/>
              <c:showPercent val="0"/>
              <c:showBubbleSize val="0"/>
            </c:dLbl>
            <c:dLbl>
              <c:idx val="12"/>
              <c:tx>
                <c:rich>
                  <a:bodyPr/>
                  <a:lstStyle/>
                  <a:p>
                    <a:r>
                      <a:t>60.9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C$2:$C$14</c:f>
              <c:numCache>
                <c:formatCode>General</c:formatCode>
                <c:ptCount val="13"/>
                <c:pt idx="0">
                  <c:v>28.0685</c:v>
                </c:pt>
                <c:pt idx="1">
                  <c:v>57.672</c:v>
                </c:pt>
                <c:pt idx="2">
                  <c:v>60.7303</c:v>
                </c:pt>
                <c:pt idx="3">
                  <c:v>58.7623</c:v>
                </c:pt>
                <c:pt idx="4">
                  <c:v>54.0823</c:v>
                </c:pt>
                <c:pt idx="5">
                  <c:v>53.4887</c:v>
                </c:pt>
                <c:pt idx="6">
                  <c:v>54.9331</c:v>
                </c:pt>
                <c:pt idx="7">
                  <c:v>55.4002</c:v>
                </c:pt>
                <c:pt idx="8">
                  <c:v>54.3193</c:v>
                </c:pt>
                <c:pt idx="9">
                  <c:v>52.3163</c:v>
                </c:pt>
                <c:pt idx="10">
                  <c:v>54.3621</c:v>
                </c:pt>
                <c:pt idx="11">
                  <c:v>55.8919</c:v>
                </c:pt>
                <c:pt idx="12">
                  <c:v>60.970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4</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90</a:t>
                    </a:r>
                  </a:p>
                </c:rich>
              </c:tx>
              <c:dLblPos val="ctr"/>
              <c:showLegendKey val="0"/>
              <c:showVal val="1"/>
              <c:showCatName val="0"/>
              <c:showSerName val="0"/>
              <c:showPercent val="0"/>
              <c:showBubbleSize val="0"/>
            </c:dLbl>
            <c:dLbl>
              <c:idx val="3"/>
              <c:tx>
                <c:rich>
                  <a:bodyPr/>
                  <a:lstStyle/>
                  <a:p>
                    <a:r>
                      <a:t>86</a:t>
                    </a:r>
                  </a:p>
                </c:rich>
              </c:tx>
              <c:dLblPos val="ctr"/>
              <c:showLegendKey val="0"/>
              <c:showVal val="1"/>
              <c:showCatName val="0"/>
              <c:showSerName val="0"/>
              <c:showPercent val="0"/>
              <c:showBubbleSize val="0"/>
            </c:dLbl>
            <c:dLbl>
              <c:idx val="4"/>
              <c:tx>
                <c:rich>
                  <a:bodyPr/>
                  <a:lstStyle/>
                  <a:p>
                    <a:r>
                      <a:t>89</a:t>
                    </a:r>
                  </a:p>
                </c:rich>
              </c:tx>
              <c:dLblPos val="ctr"/>
              <c:showLegendKey val="0"/>
              <c:showVal val="1"/>
              <c:showCatName val="0"/>
              <c:showSerName val="0"/>
              <c:showPercent val="0"/>
              <c:showBubbleSize val="0"/>
            </c:dLbl>
            <c:dLbl>
              <c:idx val="5"/>
              <c:tx>
                <c:rich>
                  <a:bodyPr/>
                  <a:lstStyle/>
                  <a:p>
                    <a:r>
                      <a:t>92</a:t>
                    </a:r>
                  </a:p>
                </c:rich>
              </c:tx>
              <c:dLblPos val="ctr"/>
              <c:showLegendKey val="0"/>
              <c:showVal val="1"/>
              <c:showCatName val="0"/>
              <c:showSerName val="0"/>
              <c:showPercent val="0"/>
              <c:showBubbleSize val="0"/>
            </c:dLbl>
            <c:dLbl>
              <c:idx val="6"/>
              <c:tx>
                <c:rich>
                  <a:bodyPr/>
                  <a:lstStyle/>
                  <a:p>
                    <a:r>
                      <a:t>87</a:t>
                    </a:r>
                  </a:p>
                </c:rich>
              </c:tx>
              <c:dLblPos val="ctr"/>
              <c:showLegendKey val="0"/>
              <c:showVal val="1"/>
              <c:showCatName val="0"/>
              <c:showSerName val="0"/>
              <c:showPercent val="0"/>
              <c:showBubbleSize val="0"/>
            </c:dLbl>
            <c:dLbl>
              <c:idx val="7"/>
              <c:tx>
                <c:rich>
                  <a:bodyPr/>
                  <a:lstStyle/>
                  <a:p>
                    <a:r>
                      <a:t>88</a:t>
                    </a:r>
                  </a:p>
                </c:rich>
              </c:tx>
              <c:dLblPos val="ctr"/>
              <c:showLegendKey val="0"/>
              <c:showVal val="1"/>
              <c:showCatName val="0"/>
              <c:showSerName val="0"/>
              <c:showPercent val="0"/>
              <c:showBubbleSize val="0"/>
            </c:dLbl>
            <c:dLbl>
              <c:idx val="8"/>
              <c:tx>
                <c:rich>
                  <a:bodyPr/>
                  <a:lstStyle/>
                  <a:p>
                    <a:r>
                      <a:t>88</a:t>
                    </a:r>
                  </a:p>
                </c:rich>
              </c:tx>
              <c:dLblPos val="ctr"/>
              <c:showLegendKey val="0"/>
              <c:showVal val="1"/>
              <c:showCatName val="0"/>
              <c:showSerName val="0"/>
              <c:showPercent val="0"/>
              <c:showBubbleSize val="0"/>
            </c:dLbl>
            <c:dLbl>
              <c:idx val="9"/>
              <c:tx>
                <c:rich>
                  <a:bodyPr/>
                  <a:lstStyle/>
                  <a:p>
                    <a:r>
                      <a:t>83</a:t>
                    </a:r>
                  </a:p>
                </c:rich>
              </c:tx>
              <c:dLblPos val="ctr"/>
              <c:showLegendKey val="0"/>
              <c:showVal val="1"/>
              <c:showCatName val="0"/>
              <c:showSerName val="0"/>
              <c:showPercent val="0"/>
              <c:showBubbleSize val="0"/>
            </c:dLbl>
            <c:dLbl>
              <c:idx val="10"/>
              <c:tx>
                <c:rich>
                  <a:bodyPr/>
                  <a:lstStyle/>
                  <a:p>
                    <a:r>
                      <a:t>79</a:t>
                    </a:r>
                  </a:p>
                </c:rich>
              </c:tx>
              <c:dLblPos val="ctr"/>
              <c:showLegendKey val="0"/>
              <c:showVal val="1"/>
              <c:showCatName val="0"/>
              <c:showSerName val="0"/>
              <c:showPercent val="0"/>
              <c:showBubbleSize val="0"/>
            </c:dLbl>
            <c:dLbl>
              <c:idx val="11"/>
              <c:tx>
                <c:rich>
                  <a:bodyPr/>
                  <a:lstStyle/>
                  <a:p>
                    <a:r>
                      <a:t>86</a:t>
                    </a:r>
                  </a:p>
                </c:rich>
              </c:tx>
              <c:dLblPos val="ctr"/>
              <c:showLegendKey val="0"/>
              <c:showVal val="1"/>
              <c:showCatName val="0"/>
              <c:showSerName val="0"/>
              <c:showPercent val="0"/>
              <c:showBubbleSize val="0"/>
            </c:dLbl>
            <c:dLbl>
              <c:idx val="12"/>
              <c:tx>
                <c:rich>
                  <a:bodyPr/>
                  <a:lstStyle/>
                  <a:p>
                    <a:r>
                      <a:t>75</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443491786017833</c:v>
                </c:pt>
                <c:pt idx="1">
                  <c:v>0.8492666138743564</c:v>
                </c:pt>
                <c:pt idx="2">
                  <c:v>0.8994199872829902</c:v>
                </c:pt>
                <c:pt idx="3">
                  <c:v>0.8632031548526635</c:v>
                </c:pt>
                <c:pt idx="4">
                  <c:v>0.8904923377956687</c:v>
                </c:pt>
                <c:pt idx="5">
                  <c:v>0.922853743543482</c:v>
                </c:pt>
                <c:pt idx="6">
                  <c:v>0.8663922570792378</c:v>
                </c:pt>
                <c:pt idx="7">
                  <c:v>0.8805708436029777</c:v>
                </c:pt>
                <c:pt idx="8">
                  <c:v>0.8843312026962855</c:v>
                </c:pt>
                <c:pt idx="9">
                  <c:v>0.83479644686207</c:v>
                </c:pt>
                <c:pt idx="10">
                  <c:v>0.7851569552845993</c:v>
                </c:pt>
                <c:pt idx="11">
                  <c:v>0.8634111223911352</c:v>
                </c:pt>
                <c:pt idx="12">
                  <c:v>0.752439300161642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21.3</a:t>
                    </a:r>
                  </a:p>
                </c:rich>
              </c:tx>
              <c:showLegendKey val="0"/>
              <c:showVal val="1"/>
              <c:showCatName val="0"/>
              <c:showSerName val="0"/>
              <c:showPercent val="0"/>
              <c:showBubbleSize val="0"/>
            </c:dLbl>
            <c:dLbl>
              <c:idx val="1"/>
              <c:tx>
                <c:rich>
                  <a:bodyPr/>
                  <a:lstStyle/>
                  <a:p>
                    <a:r>
                      <a:rPr>
                        <a:solidFill>
                          <a:srgbClr val="FFFFFF"/>
                        </a:solidFill>
                      </a:rPr>
                      <a:t>20.6</a:t>
                    </a:r>
                  </a:p>
                </c:rich>
              </c:tx>
              <c:showLegendKey val="0"/>
              <c:showVal val="1"/>
              <c:showCatName val="0"/>
              <c:showSerName val="0"/>
              <c:showPercent val="0"/>
              <c:showBubbleSize val="0"/>
            </c:dLbl>
            <c:dLbl>
              <c:idx val="2"/>
              <c:tx>
                <c:rich>
                  <a:bodyPr/>
                  <a:lstStyle/>
                  <a:p>
                    <a:r>
                      <a:rPr>
                        <a:solidFill>
                          <a:srgbClr val="FFFFFF"/>
                        </a:solidFill>
                      </a:rPr>
                      <a:t>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273827</c:v>
                </c:pt>
                <c:pt idx="1">
                  <c:v>20.630972</c:v>
                </c:pt>
                <c:pt idx="2">
                  <c:v>6.7524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7.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550667</c:v>
                </c:pt>
                <c:pt idx="1">
                  <c:v>7.681794</c:v>
                </c:pt>
                <c:pt idx="2">
                  <c:v>2.74994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560551</c:v>
                </c:pt>
                <c:pt idx="1">
                  <c:v>6.094717</c:v>
                </c:pt>
                <c:pt idx="2">
                  <c:v>2.5246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6.9</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6.900121</c:v>
                </c:pt>
                <c:pt idx="1">
                  <c:v>5.144706</c:v>
                </c:pt>
                <c:pt idx="2">
                  <c:v>1.53332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354925</c:v>
                </c:pt>
                <c:pt idx="1">
                  <c:v>3.530193</c:v>
                </c:pt>
                <c:pt idx="2">
                  <c:v>1.4172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3.8</a:t>
                    </a:r>
                  </a:p>
                </c:rich>
              </c:tx>
              <c:showLegendKey val="0"/>
              <c:showVal val="1"/>
              <c:showCatName val="0"/>
              <c:showSerName val="0"/>
              <c:showPercent val="0"/>
              <c:showBubbleSize val="0"/>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816791</c:v>
                </c:pt>
                <c:pt idx="1">
                  <c:v>3.417925</c:v>
                </c:pt>
                <c:pt idx="2">
                  <c:v>1.50302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62423</c:v>
                </c:pt>
                <c:pt idx="1">
                  <c:v>3.15558</c:v>
                </c:pt>
                <c:pt idx="2">
                  <c:v>1.42650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93471</c:v>
                </c:pt>
                <c:pt idx="1">
                  <c:v>2.589655</c:v>
                </c:pt>
                <c:pt idx="2">
                  <c:v>1.07274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973332</c:v>
                </c:pt>
                <c:pt idx="1">
                  <c:v>2.4674</c:v>
                </c:pt>
                <c:pt idx="2">
                  <c:v>1.03795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9.8</a:t>
                    </a:r>
                  </a:p>
                </c:rich>
              </c:tx>
              <c:showLegendKey val="0"/>
              <c:showVal val="1"/>
              <c:showCatName val="0"/>
              <c:showSerName val="0"/>
              <c:showPercent val="0"/>
              <c:showBubbleSize val="0"/>
            </c:dLbl>
            <c:dLbl>
              <c:idx val="1"/>
              <c:tx>
                <c:rich>
                  <a:bodyPr/>
                  <a:lstStyle/>
                  <a:p>
                    <a:r>
                      <a:rPr>
                        <a:solidFill>
                          <a:srgbClr val="FFFFFF"/>
                        </a:solidFill>
                      </a:rPr>
                      <a:t>18.5</a:t>
                    </a:r>
                  </a:p>
                </c:rich>
              </c:tx>
              <c:showLegendKey val="0"/>
              <c:showVal val="1"/>
              <c:showCatName val="0"/>
              <c:showSerName val="0"/>
              <c:showPercent val="0"/>
              <c:showBubbleSize val="0"/>
            </c:dLbl>
            <c:dLbl>
              <c:idx val="2"/>
              <c:tx>
                <c:rich>
                  <a:bodyPr/>
                  <a:lstStyle/>
                  <a:p>
                    <a:r>
                      <a:rPr>
                        <a:solidFill>
                          <a:srgbClr val="FFFFFF"/>
                        </a:solidFill>
                      </a:rPr>
                      <a:t>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9.772068</c:v>
                </c:pt>
                <c:pt idx="1">
                  <c:v>18.478585</c:v>
                </c:pt>
                <c:pt idx="2">
                  <c:v>7.2579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43.903524</c:v>
                </c:pt>
                <c:pt idx="1">
                  <c:v>2.967209</c:v>
                </c:pt>
                <c:pt idx="2">
                  <c:v>0.474208</c:v>
                </c:pt>
                <c:pt idx="3">
                  <c:v>0.239411</c:v>
                </c:pt>
                <c:pt idx="4">
                  <c:v>0.13089</c:v>
                </c:pt>
                <c:pt idx="5">
                  <c:v>0.112908</c:v>
                </c:pt>
                <c:pt idx="6">
                  <c:v>0.096852</c:v>
                </c:pt>
                <c:pt idx="7">
                  <c:v>0.081816</c:v>
                </c:pt>
                <c:pt idx="8">
                  <c:v>0.056597</c:v>
                </c:pt>
                <c:pt idx="9">
                  <c:v>0.044133</c:v>
                </c:pt>
                <c:pt idx="10">
                  <c:v>0.035762</c:v>
                </c:pt>
                <c:pt idx="11">
                  <c:v>0.026387</c:v>
                </c:pt>
                <c:pt idx="12">
                  <c:v>0.02246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1.98</a:t>
                    </a:r>
                  </a:p>
                </c:rich>
              </c:tx>
              <c:dLblPos val="t"/>
              <c:showLegendKey val="0"/>
              <c:showVal val="1"/>
              <c:showCatName val="0"/>
              <c:showSerName val="0"/>
              <c:showPercent val="0"/>
              <c:showBubbleSize val="0"/>
            </c:dLbl>
            <c:dLbl>
              <c:idx val="1"/>
              <c:tx>
                <c:rich>
                  <a:bodyPr/>
                  <a:lstStyle/>
                  <a:p>
                    <a:r>
                      <a:t>76.94</a:t>
                    </a:r>
                  </a:p>
                </c:rich>
              </c:tx>
              <c:dLblPos val="t"/>
              <c:showLegendKey val="0"/>
              <c:showVal val="1"/>
              <c:showCatName val="0"/>
              <c:showSerName val="0"/>
              <c:showPercent val="0"/>
              <c:showBubbleSize val="0"/>
            </c:dLbl>
            <c:dLbl>
              <c:idx val="2"/>
              <c:tx>
                <c:rich>
                  <a:bodyPr/>
                  <a:lstStyle/>
                  <a:p>
                    <a:r>
                      <a:t>77.96</a:t>
                    </a:r>
                  </a:p>
                </c:rich>
              </c:tx>
              <c:dLblPos val="t"/>
              <c:showLegendKey val="0"/>
              <c:showVal val="1"/>
              <c:showCatName val="0"/>
              <c:showSerName val="0"/>
              <c:showPercent val="0"/>
              <c:showBubbleSize val="0"/>
            </c:dLbl>
            <c:dLbl>
              <c:idx val="3"/>
              <c:tx>
                <c:rich>
                  <a:bodyPr/>
                  <a:lstStyle/>
                  <a:p>
                    <a:r>
                      <a:t>73.64</a:t>
                    </a:r>
                  </a:p>
                </c:rich>
              </c:tx>
              <c:dLblPos val="t"/>
              <c:showLegendKey val="0"/>
              <c:showVal val="1"/>
              <c:showCatName val="0"/>
              <c:showSerName val="0"/>
              <c:showPercent val="0"/>
              <c:showBubbleSize val="0"/>
            </c:dLbl>
            <c:dLbl>
              <c:idx val="4"/>
              <c:tx>
                <c:rich>
                  <a:bodyPr/>
                  <a:lstStyle/>
                  <a:p>
                    <a:r>
                      <a:t>69.88</a:t>
                    </a:r>
                  </a:p>
                </c:rich>
              </c:tx>
              <c:dLblPos val="t"/>
              <c:showLegendKey val="0"/>
              <c:showVal val="1"/>
              <c:showCatName val="0"/>
              <c:showSerName val="0"/>
              <c:showPercent val="0"/>
              <c:showBubbleSize val="0"/>
            </c:dLbl>
            <c:dLbl>
              <c:idx val="5"/>
              <c:tx>
                <c:rich>
                  <a:bodyPr/>
                  <a:lstStyle/>
                  <a:p>
                    <a:r>
                      <a:t>64.33</a:t>
                    </a:r>
                  </a:p>
                </c:rich>
              </c:tx>
              <c:dLblPos val="t"/>
              <c:showLegendKey val="0"/>
              <c:showVal val="1"/>
              <c:showCatName val="0"/>
              <c:showSerName val="0"/>
              <c:showPercent val="0"/>
              <c:showBubbleSize val="0"/>
            </c:dLbl>
            <c:dLbl>
              <c:idx val="6"/>
              <c:tx>
                <c:rich>
                  <a:bodyPr/>
                  <a:lstStyle/>
                  <a:p>
                    <a:r>
                      <a:t>68.64</a:t>
                    </a:r>
                  </a:p>
                </c:rich>
              </c:tx>
              <c:dLblPos val="t"/>
              <c:showLegendKey val="0"/>
              <c:showVal val="1"/>
              <c:showCatName val="0"/>
              <c:showSerName val="0"/>
              <c:showPercent val="0"/>
              <c:showBubbleSize val="0"/>
            </c:dLbl>
            <c:dLbl>
              <c:idx val="7"/>
              <c:tx>
                <c:rich>
                  <a:bodyPr/>
                  <a:lstStyle/>
                  <a:p>
                    <a:r>
                      <a:t>72.08</a:t>
                    </a:r>
                  </a:p>
                </c:rich>
              </c:tx>
              <c:dLblPos val="t"/>
              <c:showLegendKey val="0"/>
              <c:showVal val="1"/>
              <c:showCatName val="0"/>
              <c:showSerName val="0"/>
              <c:showPercent val="0"/>
              <c:showBubbleSize val="0"/>
            </c:dLbl>
            <c:dLbl>
              <c:idx val="8"/>
              <c:tx>
                <c:rich>
                  <a:bodyPr/>
                  <a:lstStyle/>
                  <a:p>
                    <a:r>
                      <a:t>70.48</a:t>
                    </a:r>
                  </a:p>
                </c:rich>
              </c:tx>
              <c:dLblPos val="t"/>
              <c:showLegendKey val="0"/>
              <c:showVal val="1"/>
              <c:showCatName val="0"/>
              <c:showSerName val="0"/>
              <c:showPercent val="0"/>
              <c:showBubbleSize val="0"/>
            </c:dLbl>
            <c:dLbl>
              <c:idx val="9"/>
              <c:tx>
                <c:rich>
                  <a:bodyPr/>
                  <a:lstStyle/>
                  <a:p>
                    <a:r>
                      <a:t>66.27</a:t>
                    </a:r>
                  </a:p>
                </c:rich>
              </c:tx>
              <c:dLblPos val="t"/>
              <c:showLegendKey val="0"/>
              <c:showVal val="1"/>
              <c:showCatName val="0"/>
              <c:showSerName val="0"/>
              <c:showPercent val="0"/>
              <c:showBubbleSize val="0"/>
            </c:dLbl>
            <c:dLbl>
              <c:idx val="10"/>
              <c:tx>
                <c:rich>
                  <a:bodyPr/>
                  <a:lstStyle/>
                  <a:p>
                    <a:r>
                      <a:t>66.97</a:t>
                    </a:r>
                  </a:p>
                </c:rich>
              </c:tx>
              <c:dLblPos val="t"/>
              <c:showLegendKey val="0"/>
              <c:showVal val="1"/>
              <c:showCatName val="0"/>
              <c:showSerName val="0"/>
              <c:showPercent val="0"/>
              <c:showBubbleSize val="0"/>
            </c:dLbl>
            <c:dLbl>
              <c:idx val="11"/>
              <c:tx>
                <c:rich>
                  <a:bodyPr/>
                  <a:lstStyle/>
                  <a:p>
                    <a:r>
                      <a:t>71.32</a:t>
                    </a:r>
                  </a:p>
                </c:rich>
              </c:tx>
              <c:dLblPos val="t"/>
              <c:showLegendKey val="0"/>
              <c:showVal val="1"/>
              <c:showCatName val="0"/>
              <c:showSerName val="0"/>
              <c:showPercent val="0"/>
              <c:showBubbleSize val="0"/>
            </c:dLbl>
            <c:dLbl>
              <c:idx val="12"/>
              <c:tx>
                <c:rich>
                  <a:bodyPr/>
                  <a:lstStyle/>
                  <a:p>
                    <a:r>
                      <a:t>67.8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C$2:$C$14</c:f>
              <c:numCache>
                <c:formatCode>General</c:formatCode>
                <c:ptCount val="13"/>
                <c:pt idx="0">
                  <c:v>41.9837</c:v>
                </c:pt>
                <c:pt idx="1">
                  <c:v>76.9445</c:v>
                </c:pt>
                <c:pt idx="2">
                  <c:v>77.9563</c:v>
                </c:pt>
                <c:pt idx="3">
                  <c:v>73.6423</c:v>
                </c:pt>
                <c:pt idx="4">
                  <c:v>69.8825</c:v>
                </c:pt>
                <c:pt idx="5">
                  <c:v>64.335</c:v>
                </c:pt>
                <c:pt idx="6">
                  <c:v>68.6407</c:v>
                </c:pt>
                <c:pt idx="7">
                  <c:v>72.0846</c:v>
                </c:pt>
                <c:pt idx="8">
                  <c:v>70.4819</c:v>
                </c:pt>
                <c:pt idx="9">
                  <c:v>66.2658</c:v>
                </c:pt>
                <c:pt idx="10">
                  <c:v>66.97</c:v>
                </c:pt>
                <c:pt idx="11">
                  <c:v>71.3162</c:v>
                </c:pt>
                <c:pt idx="12">
                  <c:v>67.85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0</a:t>
                    </a:r>
                  </a:p>
                </c:rich>
              </c:tx>
              <c:dLblPos val="ctr"/>
              <c:showLegendKey val="0"/>
              <c:showVal val="1"/>
              <c:showCatName val="0"/>
              <c:showSerName val="0"/>
              <c:showPercent val="0"/>
              <c:showBubbleSize val="0"/>
            </c:dLbl>
            <c:dLbl>
              <c:idx val="1"/>
              <c:tx>
                <c:rich>
                  <a:bodyPr/>
                  <a:lstStyle/>
                  <a:p>
                    <a:r>
                      <a:t>82</a:t>
                    </a:r>
                  </a:p>
                </c:rich>
              </c:tx>
              <c:dLblPos val="ctr"/>
              <c:showLegendKey val="0"/>
              <c:showVal val="1"/>
              <c:showCatName val="0"/>
              <c:showSerName val="0"/>
              <c:showPercent val="0"/>
              <c:showBubbleSize val="0"/>
            </c:dLbl>
            <c:dLbl>
              <c:idx val="2"/>
              <c:tx>
                <c:rich>
                  <a:bodyPr/>
                  <a:lstStyle/>
                  <a:p>
                    <a:r>
                      <a:t>85</a:t>
                    </a:r>
                  </a:p>
                </c:rich>
              </c:tx>
              <c:dLblPos val="ctr"/>
              <c:showLegendKey val="0"/>
              <c:showVal val="1"/>
              <c:showCatName val="0"/>
              <c:showSerName val="0"/>
              <c:showPercent val="0"/>
              <c:showBubbleSize val="0"/>
            </c:dLbl>
            <c:dLbl>
              <c:idx val="3"/>
              <c:tx>
                <c:rich>
                  <a:bodyPr/>
                  <a:lstStyle/>
                  <a:p>
                    <a:r>
                      <a:t>74</a:t>
                    </a:r>
                  </a:p>
                </c:rich>
              </c:tx>
              <c:dLblPos val="ctr"/>
              <c:showLegendKey val="0"/>
              <c:showVal val="1"/>
              <c:showCatName val="0"/>
              <c:showSerName val="0"/>
              <c:showPercent val="0"/>
              <c:showBubbleSize val="0"/>
            </c:dLbl>
            <c:dLbl>
              <c:idx val="4"/>
              <c:tx>
                <c:rich>
                  <a:bodyPr/>
                  <a:lstStyle/>
                  <a:p>
                    <a:r>
                      <a:t>90</a:t>
                    </a:r>
                  </a:p>
                </c:rich>
              </c:tx>
              <c:dLblPos val="ctr"/>
              <c:showLegendKey val="0"/>
              <c:showVal val="1"/>
              <c:showCatName val="0"/>
              <c:showSerName val="0"/>
              <c:showPercent val="0"/>
              <c:showBubbleSize val="0"/>
            </c:dLbl>
            <c:dLbl>
              <c:idx val="5"/>
              <c:tx>
                <c:rich>
                  <a:bodyPr/>
                  <a:lstStyle/>
                  <a:p>
                    <a:r>
                      <a:t>101</a:t>
                    </a:r>
                  </a:p>
                </c:rich>
              </c:tx>
              <c:dLblPos val="ctr"/>
              <c:showLegendKey val="0"/>
              <c:showVal val="1"/>
              <c:showCatName val="0"/>
              <c:showSerName val="0"/>
              <c:showPercent val="0"/>
              <c:showBubbleSize val="0"/>
            </c:dLbl>
            <c:dLbl>
              <c:idx val="6"/>
              <c:tx>
                <c:rich>
                  <a:bodyPr/>
                  <a:lstStyle/>
                  <a:p>
                    <a:r>
                      <a:t>80</a:t>
                    </a:r>
                  </a:p>
                </c:rich>
              </c:tx>
              <c:dLblPos val="ctr"/>
              <c:showLegendKey val="0"/>
              <c:showVal val="1"/>
              <c:showCatName val="0"/>
              <c:showSerName val="0"/>
              <c:showPercent val="0"/>
              <c:showBubbleSize val="0"/>
            </c:dLbl>
            <c:dLbl>
              <c:idx val="7"/>
              <c:tx>
                <c:rich>
                  <a:bodyPr/>
                  <a:lstStyle/>
                  <a:p>
                    <a:r>
                      <a:t>92</a:t>
                    </a:r>
                  </a:p>
                </c:rich>
              </c:tx>
              <c:dLblPos val="ctr"/>
              <c:showLegendKey val="0"/>
              <c:showVal val="1"/>
              <c:showCatName val="0"/>
              <c:showSerName val="0"/>
              <c:showPercent val="0"/>
              <c:showBubbleSize val="0"/>
            </c:dLbl>
            <c:dLbl>
              <c:idx val="8"/>
              <c:tx>
                <c:rich>
                  <a:bodyPr/>
                  <a:lstStyle/>
                  <a:p>
                    <a:r>
                      <a:t>86</a:t>
                    </a:r>
                  </a:p>
                </c:rich>
              </c:tx>
              <c:dLblPos val="ctr"/>
              <c:showLegendKey val="0"/>
              <c:showVal val="1"/>
              <c:showCatName val="0"/>
              <c:showSerName val="0"/>
              <c:showPercent val="0"/>
              <c:showBubbleSize val="0"/>
            </c:dLbl>
            <c:dLbl>
              <c:idx val="9"/>
              <c:tx>
                <c:rich>
                  <a:bodyPr/>
                  <a:lstStyle/>
                  <a:p>
                    <a:r>
                      <a:t>82</a:t>
                    </a:r>
                  </a:p>
                </c:rich>
              </c:tx>
              <c:dLblPos val="ctr"/>
              <c:showLegendKey val="0"/>
              <c:showVal val="1"/>
              <c:showCatName val="0"/>
              <c:showSerName val="0"/>
              <c:showPercent val="0"/>
              <c:showBubbleSize val="0"/>
            </c:dLbl>
            <c:dLbl>
              <c:idx val="10"/>
              <c:tx>
                <c:rich>
                  <a:bodyPr/>
                  <a:lstStyle/>
                  <a:p>
                    <a:r>
                      <a:t>68</a:t>
                    </a:r>
                  </a:p>
                </c:rich>
              </c:tx>
              <c:dLblPos val="ctr"/>
              <c:showLegendKey val="0"/>
              <c:showVal val="1"/>
              <c:showCatName val="0"/>
              <c:showSerName val="0"/>
              <c:showPercent val="0"/>
              <c:showBubbleSize val="0"/>
            </c:dLbl>
            <c:dLbl>
              <c:idx val="11"/>
              <c:tx>
                <c:rich>
                  <a:bodyPr/>
                  <a:lstStyle/>
                  <a:p>
                    <a:r>
                      <a:t>86</a:t>
                    </a:r>
                  </a:p>
                </c:rich>
              </c:tx>
              <c:dLblPos val="ctr"/>
              <c:showLegendKey val="0"/>
              <c:showVal val="1"/>
              <c:showCatName val="0"/>
              <c:showSerName val="0"/>
              <c:showPercent val="0"/>
              <c:showBubbleSize val="0"/>
            </c:dLbl>
            <c:dLbl>
              <c:idx val="12"/>
              <c:tx>
                <c:rich>
                  <a:bodyPr/>
                  <a:lstStyle/>
                  <a:p>
                    <a:r>
                      <a:t>9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0.9983118968556904</c:v>
                </c:pt>
                <c:pt idx="1">
                  <c:v>0.815770395091536</c:v>
                </c:pt>
                <c:pt idx="2">
                  <c:v>0.8523294875504838</c:v>
                </c:pt>
                <c:pt idx="3">
                  <c:v>0.7444395038541787</c:v>
                </c:pt>
                <c:pt idx="4">
                  <c:v>0.8967648227572316</c:v>
                </c:pt>
                <c:pt idx="5">
                  <c:v>1.0136095949439816</c:v>
                </c:pt>
                <c:pt idx="6">
                  <c:v>0.8026054097056484</c:v>
                </c:pt>
                <c:pt idx="7">
                  <c:v>0.9249030624357046</c:v>
                </c:pt>
                <c:pt idx="8">
                  <c:v>0.8648950151288243</c:v>
                </c:pt>
                <c:pt idx="9">
                  <c:v>0.8168693431062246</c:v>
                </c:pt>
                <c:pt idx="10">
                  <c:v>0.6833677291141176</c:v>
                </c:pt>
                <c:pt idx="11">
                  <c:v>0.8615881930385947</c:v>
                </c:pt>
                <c:pt idx="12">
                  <c:v>0.902374352175485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20.041641</c:v>
                </c:pt>
                <c:pt idx="1">
                  <c:v>15.039604</c:v>
                </c:pt>
                <c:pt idx="2">
                  <c:v>12.07809</c:v>
                </c:pt>
                <c:pt idx="3">
                  <c:v>11.035236</c:v>
                </c:pt>
                <c:pt idx="4">
                  <c:v>9.73847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1.38</a:t>
                    </a:r>
                  </a:p>
                </c:rich>
              </c:tx>
              <c:dLblPos val="t"/>
              <c:showLegendKey val="0"/>
              <c:showVal val="1"/>
              <c:showCatName val="0"/>
              <c:showSerName val="0"/>
              <c:showPercent val="0"/>
              <c:showBubbleSize val="0"/>
            </c:dLbl>
            <c:dLbl>
              <c:idx val="1"/>
              <c:tx>
                <c:rich>
                  <a:bodyPr/>
                  <a:lstStyle/>
                  <a:p>
                    <a:r>
                      <a:t>46.63</a:t>
                    </a:r>
                  </a:p>
                </c:rich>
              </c:tx>
              <c:dLblPos val="t"/>
              <c:showLegendKey val="0"/>
              <c:showVal val="1"/>
              <c:showCatName val="0"/>
              <c:showSerName val="0"/>
              <c:showPercent val="0"/>
              <c:showBubbleSize val="0"/>
            </c:dLbl>
            <c:dLbl>
              <c:idx val="2"/>
              <c:tx>
                <c:rich>
                  <a:bodyPr/>
                  <a:lstStyle/>
                  <a:p>
                    <a:r>
                      <a:t>46.11</a:t>
                    </a:r>
                  </a:p>
                </c:rich>
              </c:tx>
              <c:dLblPos val="t"/>
              <c:showLegendKey val="0"/>
              <c:showVal val="1"/>
              <c:showCatName val="0"/>
              <c:showSerName val="0"/>
              <c:showPercent val="0"/>
              <c:showBubbleSize val="0"/>
            </c:dLbl>
            <c:dLbl>
              <c:idx val="3"/>
              <c:tx>
                <c:rich>
                  <a:bodyPr/>
                  <a:lstStyle/>
                  <a:p>
                    <a:r>
                      <a:t>44.87</a:t>
                    </a:r>
                  </a:p>
                </c:rich>
              </c:tx>
              <c:dLblPos val="t"/>
              <c:showLegendKey val="0"/>
              <c:showVal val="1"/>
              <c:showCatName val="0"/>
              <c:showSerName val="0"/>
              <c:showPercent val="0"/>
              <c:showBubbleSize val="0"/>
            </c:dLbl>
            <c:dLbl>
              <c:idx val="4"/>
              <c:tx>
                <c:rich>
                  <a:bodyPr/>
                  <a:lstStyle/>
                  <a:p>
                    <a:r>
                      <a:t>46.2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51.3803</c:v>
                </c:pt>
                <c:pt idx="1">
                  <c:v>46.6336</c:v>
                </c:pt>
                <c:pt idx="2">
                  <c:v>46.1138</c:v>
                </c:pt>
                <c:pt idx="3">
                  <c:v>44.8727</c:v>
                </c:pt>
                <c:pt idx="4">
                  <c:v>46.196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9</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85</a:t>
                    </a:r>
                  </a:p>
                </c:rich>
              </c:tx>
              <c:dLblPos val="ctr"/>
              <c:showLegendKey val="0"/>
              <c:showVal val="1"/>
              <c:showCatName val="0"/>
              <c:showSerName val="0"/>
              <c:showPercent val="0"/>
              <c:showBubbleSize val="0"/>
            </c:dLbl>
            <c:dLbl>
              <c:idx val="3"/>
              <c:tx>
                <c:rich>
                  <a:bodyPr/>
                  <a:lstStyle/>
                  <a:p>
                    <a:r>
                      <a:t>84</a:t>
                    </a:r>
                  </a:p>
                </c:rich>
              </c:tx>
              <c:dLblPos val="ctr"/>
              <c:showLegendKey val="0"/>
              <c:showVal val="1"/>
              <c:showCatName val="0"/>
              <c:showSerName val="0"/>
              <c:showPercent val="0"/>
              <c:showBubbleSize val="0"/>
            </c:dLbl>
            <c:dLbl>
              <c:idx val="4"/>
              <c:tx>
                <c:rich>
                  <a:bodyPr/>
                  <a:lstStyle/>
                  <a:p>
                    <a:r>
                      <a:t>8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871673516566494</c:v>
                </c:pt>
                <c:pt idx="1">
                  <c:v>0.8615122665048386</c:v>
                </c:pt>
                <c:pt idx="2">
                  <c:v>0.8510330518678867</c:v>
                </c:pt>
                <c:pt idx="3">
                  <c:v>0.8415351835780991</c:v>
                </c:pt>
                <c:pt idx="4">
                  <c:v>0.877321483010445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2.768574</c:v>
                </c:pt>
                <c:pt idx="1">
                  <c:v>1.724601</c:v>
                </c:pt>
                <c:pt idx="2">
                  <c:v>1.376618</c:v>
                </c:pt>
                <c:pt idx="3">
                  <c:v>1.251245</c:v>
                </c:pt>
                <c:pt idx="4">
                  <c:v>0.99798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3.52</a:t>
                    </a:r>
                  </a:p>
                </c:rich>
              </c:tx>
              <c:dLblPos val="t"/>
              <c:showLegendKey val="0"/>
              <c:showVal val="1"/>
              <c:showCatName val="0"/>
              <c:showSerName val="0"/>
              <c:showPercent val="0"/>
              <c:showBubbleSize val="0"/>
            </c:dLbl>
            <c:dLbl>
              <c:idx val="1"/>
              <c:tx>
                <c:rich>
                  <a:bodyPr/>
                  <a:lstStyle/>
                  <a:p>
                    <a:r>
                      <a:t>95.07</a:t>
                    </a:r>
                  </a:p>
                </c:rich>
              </c:tx>
              <c:dLblPos val="t"/>
              <c:showLegendKey val="0"/>
              <c:showVal val="1"/>
              <c:showCatName val="0"/>
              <c:showSerName val="0"/>
              <c:showPercent val="0"/>
              <c:showBubbleSize val="0"/>
            </c:dLbl>
            <c:dLbl>
              <c:idx val="2"/>
              <c:tx>
                <c:rich>
                  <a:bodyPr/>
                  <a:lstStyle/>
                  <a:p>
                    <a:r>
                      <a:t>96.24</a:t>
                    </a:r>
                  </a:p>
                </c:rich>
              </c:tx>
              <c:dLblPos val="t"/>
              <c:showLegendKey val="0"/>
              <c:showVal val="1"/>
              <c:showCatName val="0"/>
              <c:showSerName val="0"/>
              <c:showPercent val="0"/>
              <c:showBubbleSize val="0"/>
            </c:dLbl>
            <c:dLbl>
              <c:idx val="3"/>
              <c:tx>
                <c:rich>
                  <a:bodyPr/>
                  <a:lstStyle/>
                  <a:p>
                    <a:r>
                      <a:t>91.79</a:t>
                    </a:r>
                  </a:p>
                </c:rich>
              </c:tx>
              <c:dLblPos val="t"/>
              <c:showLegendKey val="0"/>
              <c:showVal val="1"/>
              <c:showCatName val="0"/>
              <c:showSerName val="0"/>
              <c:showPercent val="0"/>
              <c:showBubbleSize val="0"/>
            </c:dLbl>
            <c:dLbl>
              <c:idx val="4"/>
              <c:tx>
                <c:rich>
                  <a:bodyPr/>
                  <a:lstStyle/>
                  <a:p>
                    <a:r>
                      <a:t>96.4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103.5174</c:v>
                </c:pt>
                <c:pt idx="1">
                  <c:v>95.0717</c:v>
                </c:pt>
                <c:pt idx="2">
                  <c:v>96.2401</c:v>
                </c:pt>
                <c:pt idx="3">
                  <c:v>91.7941</c:v>
                </c:pt>
                <c:pt idx="4">
                  <c:v>96.432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1</a:t>
                    </a:r>
                  </a:p>
                </c:rich>
              </c:tx>
              <c:dLblPos val="ctr"/>
              <c:showLegendKey val="0"/>
              <c:showVal val="1"/>
              <c:showCatName val="0"/>
              <c:showSerName val="0"/>
              <c:showPercent val="0"/>
              <c:showBubbleSize val="0"/>
            </c:dLbl>
            <c:dLbl>
              <c:idx val="1"/>
              <c:tx>
                <c:rich>
                  <a:bodyPr/>
                  <a:lstStyle/>
                  <a:p>
                    <a:r>
                      <a:t>74</a:t>
                    </a:r>
                  </a:p>
                </c:rich>
              </c:tx>
              <c:dLblPos val="ctr"/>
              <c:showLegendKey val="0"/>
              <c:showVal val="1"/>
              <c:showCatName val="0"/>
              <c:showSerName val="0"/>
              <c:showPercent val="0"/>
              <c:showBubbleSize val="0"/>
            </c:dLbl>
            <c:dLbl>
              <c:idx val="2"/>
              <c:tx>
                <c:rich>
                  <a:bodyPr/>
                  <a:lstStyle/>
                  <a:p>
                    <a:r>
                      <a:t>66</a:t>
                    </a:r>
                  </a:p>
                </c:rich>
              </c:tx>
              <c:dLblPos val="ctr"/>
              <c:showLegendKey val="0"/>
              <c:showVal val="1"/>
              <c:showCatName val="0"/>
              <c:showSerName val="0"/>
              <c:showPercent val="0"/>
              <c:showBubbleSize val="0"/>
            </c:dLbl>
            <c:dLbl>
              <c:idx val="3"/>
              <c:tx>
                <c:rich>
                  <a:bodyPr/>
                  <a:lstStyle/>
                  <a:p>
                    <a:r>
                      <a:t>72</a:t>
                    </a:r>
                  </a:p>
                </c:rich>
              </c:tx>
              <c:dLblPos val="ctr"/>
              <c:showLegendKey val="0"/>
              <c:showVal val="1"/>
              <c:showCatName val="0"/>
              <c:showSerName val="0"/>
              <c:showPercent val="0"/>
              <c:showBubbleSize val="0"/>
            </c:dLbl>
            <c:dLbl>
              <c:idx val="4"/>
              <c:tx>
                <c:rich>
                  <a:bodyPr/>
                  <a:lstStyle/>
                  <a:p>
                    <a:r>
                      <a:t>76</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11496830894267</c:v>
                </c:pt>
                <c:pt idx="1">
                  <c:v>0.7417447291682795</c:v>
                </c:pt>
                <c:pt idx="2">
                  <c:v>0.657046403593805</c:v>
                </c:pt>
                <c:pt idx="3">
                  <c:v>0.7232947805799561</c:v>
                </c:pt>
                <c:pt idx="4">
                  <c:v>0.76405174816180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11.844374</c:v>
                </c:pt>
                <c:pt idx="1">
                  <c:v>9.433797</c:v>
                </c:pt>
                <c:pt idx="2">
                  <c:v>7.551887</c:v>
                </c:pt>
                <c:pt idx="3">
                  <c:v>6.923696</c:v>
                </c:pt>
                <c:pt idx="4">
                  <c:v>6.2112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3.78</a:t>
                    </a:r>
                  </a:p>
                </c:rich>
              </c:tx>
              <c:dLblPos val="t"/>
              <c:showLegendKey val="0"/>
              <c:showVal val="1"/>
              <c:showCatName val="0"/>
              <c:showSerName val="0"/>
              <c:showPercent val="0"/>
              <c:showBubbleSize val="0"/>
            </c:dLbl>
            <c:dLbl>
              <c:idx val="1"/>
              <c:tx>
                <c:rich>
                  <a:bodyPr/>
                  <a:lstStyle/>
                  <a:p>
                    <a:r>
                      <a:t>51.91</a:t>
                    </a:r>
                  </a:p>
                </c:rich>
              </c:tx>
              <c:dLblPos val="t"/>
              <c:showLegendKey val="0"/>
              <c:showVal val="1"/>
              <c:showCatName val="0"/>
              <c:showSerName val="0"/>
              <c:showPercent val="0"/>
              <c:showBubbleSize val="0"/>
            </c:dLbl>
            <c:dLbl>
              <c:idx val="2"/>
              <c:tx>
                <c:rich>
                  <a:bodyPr/>
                  <a:lstStyle/>
                  <a:p>
                    <a:r>
                      <a:t>52.09</a:t>
                    </a:r>
                  </a:p>
                </c:rich>
              </c:tx>
              <c:dLblPos val="t"/>
              <c:showLegendKey val="0"/>
              <c:showVal val="1"/>
              <c:showCatName val="0"/>
              <c:showSerName val="0"/>
              <c:showPercent val="0"/>
              <c:showBubbleSize val="0"/>
            </c:dLbl>
            <c:dLbl>
              <c:idx val="3"/>
              <c:tx>
                <c:rich>
                  <a:bodyPr/>
                  <a:lstStyle/>
                  <a:p>
                    <a:r>
                      <a:t>51.55</a:t>
                    </a:r>
                  </a:p>
                </c:rich>
              </c:tx>
              <c:dLblPos val="t"/>
              <c:showLegendKey val="0"/>
              <c:showVal val="1"/>
              <c:showCatName val="0"/>
              <c:showSerName val="0"/>
              <c:showPercent val="0"/>
              <c:showBubbleSize val="0"/>
            </c:dLbl>
            <c:dLbl>
              <c:idx val="4"/>
              <c:tx>
                <c:rich>
                  <a:bodyPr/>
                  <a:lstStyle/>
                  <a:p>
                    <a:r>
                      <a:t>52.29</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53.7772</c:v>
                </c:pt>
                <c:pt idx="1">
                  <c:v>51.9136</c:v>
                </c:pt>
                <c:pt idx="2">
                  <c:v>52.087</c:v>
                </c:pt>
                <c:pt idx="3">
                  <c:v>51.5532</c:v>
                </c:pt>
                <c:pt idx="4">
                  <c:v>52.288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90</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88</a:t>
                    </a:r>
                  </a:p>
                </c:rich>
              </c:tx>
              <c:dLblPos val="ctr"/>
              <c:showLegendKey val="0"/>
              <c:showVal val="1"/>
              <c:showCatName val="0"/>
              <c:showSerName val="0"/>
              <c:showPercent val="0"/>
              <c:showBubbleSize val="0"/>
            </c:dLbl>
            <c:dLbl>
              <c:idx val="3"/>
              <c:tx>
                <c:rich>
                  <a:bodyPr/>
                  <a:lstStyle/>
                  <a:p>
                    <a:r>
                      <a:t>85</a:t>
                    </a:r>
                  </a:p>
                </c:rich>
              </c:tx>
              <c:dLblPos val="ctr"/>
              <c:showLegendKey val="0"/>
              <c:showVal val="1"/>
              <c:showCatName val="0"/>
              <c:showSerName val="0"/>
              <c:showPercent val="0"/>
              <c:showBubbleSize val="0"/>
            </c:dLbl>
            <c:dLbl>
              <c:idx val="4"/>
              <c:tx>
                <c:rich>
                  <a:bodyPr/>
                  <a:lstStyle/>
                  <a:p>
                    <a:r>
                      <a:t>8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976311440585804</c:v>
                </c:pt>
                <c:pt idx="1">
                  <c:v>0.8641659300243206</c:v>
                </c:pt>
                <c:pt idx="2">
                  <c:v>0.8764408772478137</c:v>
                </c:pt>
                <c:pt idx="3">
                  <c:v>0.8541786207370464</c:v>
                </c:pt>
                <c:pt idx="4">
                  <c:v>0.887285269119465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11.844374</c:v>
                </c:pt>
                <c:pt idx="1">
                  <c:v>9.433797</c:v>
                </c:pt>
                <c:pt idx="2">
                  <c:v>7.551887</c:v>
                </c:pt>
                <c:pt idx="3">
                  <c:v>6.923696</c:v>
                </c:pt>
                <c:pt idx="4">
                  <c:v>6.2112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3.78</a:t>
                    </a:r>
                  </a:p>
                </c:rich>
              </c:tx>
              <c:dLblPos val="t"/>
              <c:showLegendKey val="0"/>
              <c:showVal val="1"/>
              <c:showCatName val="0"/>
              <c:showSerName val="0"/>
              <c:showPercent val="0"/>
              <c:showBubbleSize val="0"/>
            </c:dLbl>
            <c:dLbl>
              <c:idx val="1"/>
              <c:tx>
                <c:rich>
                  <a:bodyPr/>
                  <a:lstStyle/>
                  <a:p>
                    <a:r>
                      <a:t>51.91</a:t>
                    </a:r>
                  </a:p>
                </c:rich>
              </c:tx>
              <c:dLblPos val="t"/>
              <c:showLegendKey val="0"/>
              <c:showVal val="1"/>
              <c:showCatName val="0"/>
              <c:showSerName val="0"/>
              <c:showPercent val="0"/>
              <c:showBubbleSize val="0"/>
            </c:dLbl>
            <c:dLbl>
              <c:idx val="2"/>
              <c:tx>
                <c:rich>
                  <a:bodyPr/>
                  <a:lstStyle/>
                  <a:p>
                    <a:r>
                      <a:t>52.09</a:t>
                    </a:r>
                  </a:p>
                </c:rich>
              </c:tx>
              <c:dLblPos val="t"/>
              <c:showLegendKey val="0"/>
              <c:showVal val="1"/>
              <c:showCatName val="0"/>
              <c:showSerName val="0"/>
              <c:showPercent val="0"/>
              <c:showBubbleSize val="0"/>
            </c:dLbl>
            <c:dLbl>
              <c:idx val="3"/>
              <c:tx>
                <c:rich>
                  <a:bodyPr/>
                  <a:lstStyle/>
                  <a:p>
                    <a:r>
                      <a:t>51.55</a:t>
                    </a:r>
                  </a:p>
                </c:rich>
              </c:tx>
              <c:dLblPos val="t"/>
              <c:showLegendKey val="0"/>
              <c:showVal val="1"/>
              <c:showCatName val="0"/>
              <c:showSerName val="0"/>
              <c:showPercent val="0"/>
              <c:showBubbleSize val="0"/>
            </c:dLbl>
            <c:dLbl>
              <c:idx val="4"/>
              <c:tx>
                <c:rich>
                  <a:bodyPr/>
                  <a:lstStyle/>
                  <a:p>
                    <a:r>
                      <a:t>52.29</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53.7772</c:v>
                </c:pt>
                <c:pt idx="1">
                  <c:v>51.9136</c:v>
                </c:pt>
                <c:pt idx="2">
                  <c:v>52.087</c:v>
                </c:pt>
                <c:pt idx="3">
                  <c:v>51.5532</c:v>
                </c:pt>
                <c:pt idx="4">
                  <c:v>52.288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90</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88</a:t>
                    </a:r>
                  </a:p>
                </c:rich>
              </c:tx>
              <c:dLblPos val="ctr"/>
              <c:showLegendKey val="0"/>
              <c:showVal val="1"/>
              <c:showCatName val="0"/>
              <c:showSerName val="0"/>
              <c:showPercent val="0"/>
              <c:showBubbleSize val="0"/>
            </c:dLbl>
            <c:dLbl>
              <c:idx val="3"/>
              <c:tx>
                <c:rich>
                  <a:bodyPr/>
                  <a:lstStyle/>
                  <a:p>
                    <a:r>
                      <a:t>85</a:t>
                    </a:r>
                  </a:p>
                </c:rich>
              </c:tx>
              <c:dLblPos val="ctr"/>
              <c:showLegendKey val="0"/>
              <c:showVal val="1"/>
              <c:showCatName val="0"/>
              <c:showSerName val="0"/>
              <c:showPercent val="0"/>
              <c:showBubbleSize val="0"/>
            </c:dLbl>
            <c:dLbl>
              <c:idx val="4"/>
              <c:tx>
                <c:rich>
                  <a:bodyPr/>
                  <a:lstStyle/>
                  <a:p>
                    <a:r>
                      <a:t>8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976311440585804</c:v>
                </c:pt>
                <c:pt idx="1">
                  <c:v>0.8641659300243206</c:v>
                </c:pt>
                <c:pt idx="2">
                  <c:v>0.8764408772478137</c:v>
                </c:pt>
                <c:pt idx="3">
                  <c:v>0.8541786207370464</c:v>
                </c:pt>
                <c:pt idx="4">
                  <c:v>0.887285269119465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6549</c:v>
                </c:pt>
                <c:pt idx="1">
                  <c:v>0.059138</c:v>
                </c:pt>
                <c:pt idx="2">
                  <c:v>0.02675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4741</c:v>
                </c:pt>
                <c:pt idx="1">
                  <c:v>2.349605</c:v>
                </c:pt>
                <c:pt idx="2">
                  <c:v>1.0730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335</c:v>
                </c:pt>
                <c:pt idx="1">
                  <c:v>0.00097</c:v>
                </c:pt>
                <c:pt idx="2">
                  <c:v>0.00047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8e-05</c:v>
                </c:pt>
                <c:pt idx="1">
                  <c:v>8.3e-05</c:v>
                </c:pt>
                <c:pt idx="2">
                  <c:v>0.0001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2901</c:v>
                </c:pt>
                <c:pt idx="1">
                  <c:v>0.039874</c:v>
                </c:pt>
                <c:pt idx="2">
                  <c:v>0.01998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648</c:v>
                </c:pt>
                <c:pt idx="1">
                  <c:v>0.004947</c:v>
                </c:pt>
                <c:pt idx="2">
                  <c:v>0.00718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728</c:v>
                </c:pt>
                <c:pt idx="1">
                  <c:v>0.001278</c:v>
                </c:pt>
                <c:pt idx="2">
                  <c:v>0.0004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11</c:v>
                </c:pt>
                <c:pt idx="1">
                  <c:v>0.000116</c:v>
                </c:pt>
                <c:pt idx="2">
                  <c:v>0.0002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7262</c:v>
                </c:pt>
                <c:pt idx="1">
                  <c:v>0.052767</c:v>
                </c:pt>
                <c:pt idx="2">
                  <c:v>0.02006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324</c:v>
                </c:pt>
                <c:pt idx="1">
                  <c:v>0.006694</c:v>
                </c:pt>
                <c:pt idx="2">
                  <c:v>0.0133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184</c:v>
                </c:pt>
                <c:pt idx="1">
                  <c:v>0.000972</c:v>
                </c:pt>
                <c:pt idx="2">
                  <c:v>0.0003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8e-05</c:v>
                </c:pt>
                <c:pt idx="1">
                  <c:v>8.2e-05</c:v>
                </c:pt>
                <c:pt idx="2">
                  <c:v>0.0001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661</c:v>
                </c:pt>
                <c:pt idx="1">
                  <c:v>0.039675</c:v>
                </c:pt>
                <c:pt idx="2">
                  <c:v>0.01519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131</c:v>
                </c:pt>
                <c:pt idx="1">
                  <c:v>0.004658</c:v>
                </c:pt>
                <c:pt idx="2">
                  <c:v>0.00655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71</c:v>
                </c:pt>
                <c:pt idx="1">
                  <c:v>0.000911</c:v>
                </c:pt>
                <c:pt idx="2">
                  <c:v>0.00038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2e-05</c:v>
                </c:pt>
                <c:pt idx="1">
                  <c:v>5.5e-05</c:v>
                </c:pt>
                <c:pt idx="2">
                  <c:v>6.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7726</c:v>
                </c:pt>
                <c:pt idx="1">
                  <c:v>0.03644</c:v>
                </c:pt>
                <c:pt idx="2">
                  <c:v>0.0166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381</c:v>
                </c:pt>
                <c:pt idx="1">
                  <c:v>0.002999</c:v>
                </c:pt>
                <c:pt idx="2">
                  <c:v>0.0037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883</c:v>
                </c:pt>
                <c:pt idx="1">
                  <c:v>0.000921</c:v>
                </c:pt>
                <c:pt idx="2">
                  <c:v>0.0002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41</c:v>
                </c:pt>
                <c:pt idx="1">
                  <c:v>0.00012</c:v>
                </c:pt>
                <c:pt idx="2">
                  <c:v>0.000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494</c:v>
                </c:pt>
                <c:pt idx="1">
                  <c:v>0.037892</c:v>
                </c:pt>
                <c:pt idx="2">
                  <c:v>0.01052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699</c:v>
                </c:pt>
                <c:pt idx="1">
                  <c:v>0.006002</c:v>
                </c:pt>
                <c:pt idx="2">
                  <c:v>0.0057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79</c:v>
                </c:pt>
                <c:pt idx="1">
                  <c:v>0.000171</c:v>
                </c:pt>
                <c:pt idx="2">
                  <c:v>6.9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e-05</c:v>
                </c:pt>
                <c:pt idx="1">
                  <c:v>1.3e-05</c:v>
                </c:pt>
                <c:pt idx="2">
                  <c:v>2.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749</c:v>
                </c:pt>
                <c:pt idx="1">
                  <c:v>0.007093</c:v>
                </c:pt>
                <c:pt idx="2">
                  <c:v>0.0027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27</c:v>
                </c:pt>
                <c:pt idx="1">
                  <c:v>0.000592</c:v>
                </c:pt>
                <c:pt idx="2">
                  <c:v>0.0014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91</c:v>
                </c:pt>
                <c:pt idx="1">
                  <c:v>0.001059</c:v>
                </c:pt>
                <c:pt idx="2">
                  <c:v>0.0004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6307</c:v>
                </c:pt>
                <c:pt idx="1">
                  <c:v>0.099242</c:v>
                </c:pt>
                <c:pt idx="2">
                  <c:v>0.04250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251</c:v>
                </c:pt>
                <c:pt idx="1">
                  <c:v>0.001848</c:v>
                </c:pt>
                <c:pt idx="2">
                  <c:v>0.0006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31</c:v>
                </c:pt>
                <c:pt idx="1">
                  <c:v>0.003862</c:v>
                </c:pt>
                <c:pt idx="2">
                  <c:v>0.0016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6</c:v>
                </c:pt>
                <c:pt idx="1">
                  <c:v>0.001875</c:v>
                </c:pt>
                <c:pt idx="2">
                  <c:v>0.0002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89</c:v>
                </c:pt>
                <c:pt idx="1">
                  <c:v>0.000505</c:v>
                </c:pt>
                <c:pt idx="2">
                  <c:v>0.0001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77</c:v>
                </c:pt>
                <c:pt idx="1">
                  <c:v>0.000852</c:v>
                </c:pt>
                <c:pt idx="2">
                  <c:v>0.000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615</c:v>
                </c:pt>
                <c:pt idx="1">
                  <c:v>0.00052</c:v>
                </c:pt>
                <c:pt idx="2">
                  <c:v>0.000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446</c:v>
                </c:pt>
                <c:pt idx="1">
                  <c:v>0.000408</c:v>
                </c:pt>
                <c:pt idx="2">
                  <c:v>0.00022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282</c:v>
                </c:pt>
                <c:pt idx="1">
                  <c:v>0.000273</c:v>
                </c:pt>
                <c:pt idx="2">
                  <c:v>9.5e-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383</c:v>
                </c:pt>
                <c:pt idx="1">
                  <c:v>0.000419</c:v>
                </c:pt>
                <c:pt idx="2">
                  <c:v>0.0001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268</c:v>
                </c:pt>
                <c:pt idx="1">
                  <c:v>0.000198</c:v>
                </c:pt>
                <c:pt idx="2">
                  <c:v>8.3e-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233</c:v>
                </c:pt>
                <c:pt idx="1">
                  <c:v>0.000258</c:v>
                </c:pt>
                <c:pt idx="2">
                  <c:v>9.1e-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4815</c:v>
                </c:pt>
                <c:pt idx="1">
                  <c:v>0.004974</c:v>
                </c:pt>
                <c:pt idx="2">
                  <c:v>0.00205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3835</c:v>
                </c:pt>
                <c:pt idx="1">
                  <c:v>0.469785</c:v>
                </c:pt>
                <c:pt idx="2">
                  <c:v>0.17002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49563</c:v>
                </c:pt>
                <c:pt idx="1">
                  <c:v>0.462579</c:v>
                </c:pt>
                <c:pt idx="2">
                  <c:v>0.18565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93</c:v>
                </c:pt>
                <c:pt idx="1">
                  <c:v>0.000276</c:v>
                </c:pt>
                <c:pt idx="2">
                  <c:v>0.0001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09</c:v>
                </c:pt>
                <c:pt idx="1">
                  <c:v>0.000141</c:v>
                </c:pt>
                <c:pt idx="2">
                  <c:v>3.5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06</c:v>
                </c:pt>
                <c:pt idx="1">
                  <c:v>0.000188</c:v>
                </c:pt>
                <c:pt idx="2">
                  <c:v>7.2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1115</c:v>
                </c:pt>
                <c:pt idx="1">
                  <c:v>0.202</c:v>
                </c:pt>
                <c:pt idx="2">
                  <c:v>0.02456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3293</c:v>
                </c:pt>
                <c:pt idx="1">
                  <c:v>0.035579</c:v>
                </c:pt>
                <c:pt idx="2">
                  <c:v>0.009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1323</c:v>
                </c:pt>
                <c:pt idx="1">
                  <c:v>0.027871</c:v>
                </c:pt>
                <c:pt idx="2">
                  <c:v>0.01219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7195</c:v>
                </c:pt>
                <c:pt idx="1">
                  <c:v>0.024958</c:v>
                </c:pt>
                <c:pt idx="2">
                  <c:v>0.00602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102</c:v>
                </c:pt>
                <c:pt idx="1">
                  <c:v>0.017358</c:v>
                </c:pt>
                <c:pt idx="2">
                  <c:v>0.0092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7311</c:v>
                </c:pt>
                <c:pt idx="1">
                  <c:v>0.017064</c:v>
                </c:pt>
                <c:pt idx="2">
                  <c:v>0.00606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5787</c:v>
                </c:pt>
                <c:pt idx="1">
                  <c:v>0.017918</c:v>
                </c:pt>
                <c:pt idx="2">
                  <c:v>0.00553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5952</c:v>
                </c:pt>
                <c:pt idx="1">
                  <c:v>0.011852</c:v>
                </c:pt>
                <c:pt idx="2">
                  <c:v>0.0051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2997</c:v>
                </c:pt>
                <c:pt idx="1">
                  <c:v>0.014776</c:v>
                </c:pt>
                <c:pt idx="2">
                  <c:v>0.00507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2296</c:v>
                </c:pt>
                <c:pt idx="1">
                  <c:v>0.129151</c:v>
                </c:pt>
                <c:pt idx="2">
                  <c:v>0.05221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3551</c:v>
                </c:pt>
                <c:pt idx="1">
                  <c:v>0.08115</c:v>
                </c:pt>
                <c:pt idx="2">
                  <c:v>0.0305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4247</c:v>
                </c:pt>
                <c:pt idx="1">
                  <c:v>0.040744</c:v>
                </c:pt>
                <c:pt idx="2">
                  <c:v>0.01084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317</c:v>
                </c:pt>
                <c:pt idx="1">
                  <c:v>0.015985</c:v>
                </c:pt>
                <c:pt idx="2">
                  <c:v>0.0072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22</c:v>
                </c:pt>
                <c:pt idx="1">
                  <c:v>0.000237</c:v>
                </c:pt>
                <c:pt idx="2">
                  <c:v>6.4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99</c:v>
                </c:pt>
                <c:pt idx="1">
                  <c:v>0.000261</c:v>
                </c:pt>
                <c:pt idx="2">
                  <c:v>0.00010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7994</c:v>
                </c:pt>
                <c:pt idx="1">
                  <c:v>0.070695</c:v>
                </c:pt>
                <c:pt idx="2">
                  <c:v>0.01685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3809</c:v>
                </c:pt>
                <c:pt idx="1">
                  <c:v>0.03766</c:v>
                </c:pt>
                <c:pt idx="2">
                  <c:v>0.01398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0912</c:v>
                </c:pt>
                <c:pt idx="1">
                  <c:v>0.067641</c:v>
                </c:pt>
                <c:pt idx="2">
                  <c:v>0.02217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167</c:v>
                </c:pt>
                <c:pt idx="1">
                  <c:v>0.031185</c:v>
                </c:pt>
                <c:pt idx="2">
                  <c:v>0.01049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535</c:v>
                </c:pt>
                <c:pt idx="1">
                  <c:v>0.049237</c:v>
                </c:pt>
                <c:pt idx="2">
                  <c:v>0.02054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9072</c:v>
                </c:pt>
                <c:pt idx="1">
                  <c:v>0.028515</c:v>
                </c:pt>
                <c:pt idx="2">
                  <c:v>0.00896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6816</c:v>
                </c:pt>
                <c:pt idx="1">
                  <c:v>0.015685</c:v>
                </c:pt>
                <c:pt idx="2">
                  <c:v>0.00753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088</c:v>
                </c:pt>
                <c:pt idx="1">
                  <c:v>0.016199</c:v>
                </c:pt>
                <c:pt idx="2">
                  <c:v>0.00626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699</c:v>
                </c:pt>
                <c:pt idx="1">
                  <c:v>0.020563</c:v>
                </c:pt>
                <c:pt idx="2">
                  <c:v>0.00919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87</c:v>
                </c:pt>
                <c:pt idx="1">
                  <c:v>0.015792</c:v>
                </c:pt>
                <c:pt idx="2">
                  <c:v>0.00666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3655</c:v>
                </c:pt>
                <c:pt idx="1">
                  <c:v>0.011567</c:v>
                </c:pt>
                <c:pt idx="2">
                  <c:v>0.0048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68165</c:v>
                </c:pt>
                <c:pt idx="1">
                  <c:v>0.163103</c:v>
                </c:pt>
                <c:pt idx="2">
                  <c:v>0.06283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56</c:v>
                </c:pt>
                <c:pt idx="1">
                  <c:v>0.000137</c:v>
                </c:pt>
                <c:pt idx="2">
                  <c:v>5.8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36</c:v>
                </c:pt>
                <c:pt idx="1">
                  <c:v>0.000194</c:v>
                </c:pt>
                <c:pt idx="2">
                  <c:v>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7414</c:v>
                </c:pt>
                <c:pt idx="1">
                  <c:v>0.035254</c:v>
                </c:pt>
                <c:pt idx="2">
                  <c:v>0.0135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8784</c:v>
                </c:pt>
                <c:pt idx="1">
                  <c:v>0.025722</c:v>
                </c:pt>
                <c:pt idx="2">
                  <c:v>0.0085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68</c:v>
                </c:pt>
                <c:pt idx="1">
                  <c:v>0.000142</c:v>
                </c:pt>
                <c:pt idx="2">
                  <c:v>4.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11</c:v>
                </c:pt>
                <c:pt idx="1">
                  <c:v>0.000319</c:v>
                </c:pt>
                <c:pt idx="2">
                  <c:v>0.000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276</c:v>
                </c:pt>
                <c:pt idx="1">
                  <c:v>0.030561</c:v>
                </c:pt>
                <c:pt idx="2">
                  <c:v>0.01133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4482</c:v>
                </c:pt>
                <c:pt idx="1">
                  <c:v>0.034398</c:v>
                </c:pt>
                <c:pt idx="2">
                  <c:v>0.0165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4.3</a:t>
                    </a:r>
                  </a:p>
                </c:rich>
              </c:tx>
              <c:showLegendKey val="0"/>
              <c:showVal val="1"/>
              <c:showCatName val="0"/>
              <c:showSerName val="0"/>
              <c:showPercent val="0"/>
              <c:showBubbleSize val="0"/>
            </c:dLbl>
            <c:dLbl>
              <c:idx val="2"/>
              <c:tx>
                <c:rich>
                  <a:bodyPr/>
                  <a:lstStyle/>
                  <a:p>
                    <a:r>
                      <a:rPr>
                        <a:solidFill>
                          <a:srgbClr val="FFFFFF"/>
                        </a:solidFill>
                      </a:rPr>
                      <a:t>1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021369</c:v>
                </c:pt>
                <c:pt idx="1">
                  <c:v>34.252904</c:v>
                </c:pt>
                <c:pt idx="2">
                  <c:v>17.34503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9</a:t>
                    </a:r>
                  </a:p>
                </c:rich>
              </c:tx>
              <c:showLegendKey val="0"/>
              <c:showVal val="1"/>
              <c:showCatName val="0"/>
              <c:showSerName val="0"/>
              <c:showPercent val="0"/>
              <c:showBubbleSize val="0"/>
            </c:dLbl>
            <c:dLbl>
              <c:idx val="2"/>
              <c:tx>
                <c:rich>
                  <a:bodyPr/>
                  <a:lstStyle/>
                  <a:p>
                    <a:r>
                      <a:rPr>
                        <a:solidFill>
                          <a:srgbClr val="FFFFFF"/>
                        </a:solidFill>
                      </a:rPr>
                      <a:t>1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037728</c:v>
                </c:pt>
                <c:pt idx="1">
                  <c:v>23.943911</c:v>
                </c:pt>
                <c:pt idx="2">
                  <c:v>11.8024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268812</c:v>
                </c:pt>
                <c:pt idx="1">
                  <c:v>5.080104</c:v>
                </c:pt>
                <c:pt idx="2">
                  <c:v>2.31434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hc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74482</c:v>
                </c:pt>
                <c:pt idx="1">
                  <c:v>0.892736</c:v>
                </c:pt>
                <c:pt idx="2">
                  <c:v>0.43976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62257</c:v>
                </c:pt>
                <c:pt idx="1">
                  <c:v>1.229288</c:v>
                </c:pt>
                <c:pt idx="2">
                  <c:v>0.54196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Pernod Ric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08047</c:v>
                </c:pt>
                <c:pt idx="1">
                  <c:v>0.997501</c:v>
                </c:pt>
                <c:pt idx="2">
                  <c:v>0.505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Freixen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520174</c:v>
                </c:pt>
                <c:pt idx="1">
                  <c:v>5.721334</c:v>
                </c:pt>
                <c:pt idx="2">
                  <c:v>2.65418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Wolfber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aison Burt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67636</c:v>
                </c:pt>
                <c:pt idx="1">
                  <c:v>1.046274</c:v>
                </c:pt>
                <c:pt idx="2">
                  <c:v>0.47615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8.5</a:t>
                    </a:r>
                  </a:p>
                </c:rich>
              </c:tx>
              <c:showLegendKey val="0"/>
              <c:showVal val="1"/>
              <c:showCatName val="0"/>
              <c:showSerName val="0"/>
              <c:showPercent val="0"/>
              <c:showBubbleSize val="0"/>
            </c:dLbl>
            <c:dLbl>
              <c:idx val="2"/>
              <c:tx>
                <c:rich>
                  <a:bodyPr/>
                  <a:lstStyle/>
                  <a:p>
                    <a:r>
                      <a:rPr>
                        <a:solidFill>
                          <a:srgbClr val="FFFFFF"/>
                        </a:solidFill>
                      </a:rPr>
                      <a:t>2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4.491856</c:v>
                </c:pt>
                <c:pt idx="1">
                  <c:v>58.538707</c:v>
                </c:pt>
                <c:pt idx="2">
                  <c:v>28.9224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6.5</a:t>
                    </a:r>
                  </a:p>
                </c:rich>
              </c:tx>
              <c:showLegendKey val="0"/>
              <c:showVal val="1"/>
              <c:showCatName val="0"/>
              <c:showSerName val="0"/>
              <c:showPercent val="0"/>
              <c:showBubbleSize val="0"/>
            </c:dLbl>
            <c:dLbl>
              <c:idx val="1"/>
              <c:tx>
                <c:rich>
                  <a:bodyPr/>
                  <a:lstStyle/>
                  <a:p>
                    <a:r>
                      <a:rPr>
                        <a:solidFill>
                          <a:srgbClr val="FFFFFF"/>
                        </a:solidFill>
                      </a:rPr>
                      <a:t>6.7</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535785</c:v>
                </c:pt>
                <c:pt idx="1">
                  <c:v>6.667637</c:v>
                </c:pt>
                <c:pt idx="2">
                  <c:v>2.24196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12412</c:v>
                </c:pt>
                <c:pt idx="1">
                  <c:v>2.421622</c:v>
                </c:pt>
                <c:pt idx="2">
                  <c:v>0.86848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374246</c:v>
                </c:pt>
                <c:pt idx="1">
                  <c:v>1.564119</c:v>
                </c:pt>
                <c:pt idx="2">
                  <c:v>0.6540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95534</c:v>
                </c:pt>
                <c:pt idx="1">
                  <c:v>1.344268</c:v>
                </c:pt>
                <c:pt idx="2">
                  <c:v>0.41068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165837</c:v>
                </c:pt>
                <c:pt idx="1">
                  <c:v>1.083229</c:v>
                </c:pt>
                <c:pt idx="2">
                  <c:v>0.4837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45987</c:v>
                </c:pt>
                <c:pt idx="1">
                  <c:v>1.046528</c:v>
                </c:pt>
                <c:pt idx="2">
                  <c:v>0.41898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950637</c:v>
                </c:pt>
                <c:pt idx="1">
                  <c:v>0.865662</c:v>
                </c:pt>
                <c:pt idx="2">
                  <c:v>0.38645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802846</c:v>
                </c:pt>
                <c:pt idx="1">
                  <c:v>0.674786</c:v>
                </c:pt>
                <c:pt idx="2">
                  <c:v>0.28826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795531</c:v>
                </c:pt>
                <c:pt idx="1">
                  <c:v>0.664918</c:v>
                </c:pt>
                <c:pt idx="2">
                  <c:v>0.27234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4</a:t>
                    </a:r>
                  </a:p>
                </c:rich>
              </c:tx>
              <c:showLegendKey val="0"/>
              <c:showVal val="1"/>
              <c:showCatName val="0"/>
              <c:showSerName val="0"/>
              <c:showPercent val="0"/>
              <c:showBubbleSize val="0"/>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383596</c:v>
                </c:pt>
                <c:pt idx="1">
                  <c:v>5.181656</c:v>
                </c:pt>
                <c:pt idx="2">
                  <c:v>2.0087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286</c:v>
                </c:pt>
                <c:pt idx="1">
                  <c:v>0.011482</c:v>
                </c:pt>
                <c:pt idx="2">
                  <c:v>0.00378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095</c:v>
                </c:pt>
                <c:pt idx="1">
                  <c:v>0.007999</c:v>
                </c:pt>
                <c:pt idx="2">
                  <c:v>0.00339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177</c:v>
                </c:pt>
                <c:pt idx="1">
                  <c:v>0.011877</c:v>
                </c:pt>
                <c:pt idx="2">
                  <c:v>0.00511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8386</c:v>
                </c:pt>
                <c:pt idx="1">
                  <c:v>0.031005</c:v>
                </c:pt>
                <c:pt idx="2">
                  <c:v>0.01185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04552</c:v>
                </c:pt>
                <c:pt idx="1">
                  <c:v>1.549448</c:v>
                </c:pt>
                <c:pt idx="2">
                  <c:v>0.52167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24258</c:v>
                </c:pt>
                <c:pt idx="1">
                  <c:v>0.709763</c:v>
                </c:pt>
                <c:pt idx="2">
                  <c:v>0.3053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24486</c:v>
                </c:pt>
                <c:pt idx="1">
                  <c:v>0.455925</c:v>
                </c:pt>
                <c:pt idx="2">
                  <c:v>0.196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62813</c:v>
                </c:pt>
                <c:pt idx="1">
                  <c:v>1.970305</c:v>
                </c:pt>
                <c:pt idx="2">
                  <c:v>0.7435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9684</c:v>
                </c:pt>
                <c:pt idx="1">
                  <c:v>0.302041</c:v>
                </c:pt>
                <c:pt idx="2">
                  <c:v>0.1447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5811</c:v>
                </c:pt>
                <c:pt idx="1">
                  <c:v>0.74028</c:v>
                </c:pt>
                <c:pt idx="2">
                  <c:v>0.3438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5.1</a:t>
                    </a:r>
                  </a:p>
                </c:rich>
              </c:tx>
              <c:showLegendKey val="0"/>
              <c:showVal val="1"/>
              <c:showCatName val="0"/>
              <c:showSerName val="0"/>
              <c:showPercent val="0"/>
              <c:showBubbleSize val="0"/>
            </c:dLbl>
            <c:dLbl>
              <c:idx val="1"/>
              <c:tx>
                <c:rich>
                  <a:bodyPr/>
                  <a:lstStyle/>
                  <a:p>
                    <a:r>
                      <a:rPr>
                        <a:solidFill>
                          <a:srgbClr val="FFFFFF"/>
                        </a:solidFill>
                      </a:rPr>
                      <a:t>12.0</a:t>
                    </a:r>
                  </a:p>
                </c:rich>
              </c:tx>
              <c:showLegendKey val="0"/>
              <c:showVal val="1"/>
              <c:showCatName val="0"/>
              <c:showSerName val="0"/>
              <c:showPercent val="0"/>
              <c:showBubbleSize val="0"/>
            </c:dLbl>
            <c:dLbl>
              <c:idx val="2"/>
              <c:tx>
                <c:rich>
                  <a:bodyPr/>
                  <a:lstStyle/>
                  <a:p>
                    <a:r>
                      <a:rPr>
                        <a:solidFill>
                          <a:srgbClr val="FFFFFF"/>
                        </a:solidFill>
                      </a:rPr>
                      <a:t>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124895</c:v>
                </c:pt>
                <c:pt idx="1">
                  <c:v>11.955404</c:v>
                </c:pt>
                <c:pt idx="2">
                  <c:v>5.73895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2.8</a:t>
                    </a:r>
                  </a:p>
                </c:rich>
              </c:tx>
              <c:showLegendKey val="0"/>
              <c:showVal val="1"/>
              <c:showCatName val="0"/>
              <c:showSerName val="0"/>
              <c:showPercent val="0"/>
              <c:showBubbleSize val="0"/>
            </c:dLbl>
            <c:dLbl>
              <c:idx val="1"/>
              <c:tx>
                <c:rich>
                  <a:bodyPr/>
                  <a:lstStyle/>
                  <a:p>
                    <a:r>
                      <a:rPr>
                        <a:solidFill>
                          <a:srgbClr val="FFFFFF"/>
                        </a:solidFill>
                      </a:rPr>
                      <a:t>29.4</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763796</c:v>
                </c:pt>
                <c:pt idx="1">
                  <c:v>29.363381</c:v>
                </c:pt>
                <c:pt idx="2">
                  <c:v>13.8544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859</c:v>
                </c:pt>
                <c:pt idx="1">
                  <c:v>0.004491</c:v>
                </c:pt>
                <c:pt idx="2">
                  <c:v>0.001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859</c:v>
                </c:pt>
                <c:pt idx="1">
                  <c:v>0.003395</c:v>
                </c:pt>
                <c:pt idx="2">
                  <c:v>0.00146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28</c:v>
                </c:pt>
                <c:pt idx="1">
                  <c:v>0.005167</c:v>
                </c:pt>
                <c:pt idx="2">
                  <c:v>0.00231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7384</c:v>
                </c:pt>
                <c:pt idx="1">
                  <c:v>0.013911</c:v>
                </c:pt>
                <c:pt idx="2">
                  <c:v>0.0054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29108</c:v>
                </c:pt>
                <c:pt idx="1">
                  <c:v>0.639426</c:v>
                </c:pt>
                <c:pt idx="2">
                  <c:v>0.22170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357</c:v>
                </c:pt>
                <c:pt idx="1">
                  <c:v>0.306916</c:v>
                </c:pt>
                <c:pt idx="2">
                  <c:v>0.1319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3143</c:v>
                </c:pt>
                <c:pt idx="1">
                  <c:v>0.199702</c:v>
                </c:pt>
                <c:pt idx="2">
                  <c:v>0.0889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47875</c:v>
                </c:pt>
                <c:pt idx="1">
                  <c:v>0.868991</c:v>
                </c:pt>
                <c:pt idx="2">
                  <c:v>0.3403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72</c:v>
                </c:pt>
                <c:pt idx="1">
                  <c:v>0.000511</c:v>
                </c:pt>
                <c:pt idx="2">
                  <c:v>0.00016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8</c:v>
                </c:pt>
                <c:pt idx="1">
                  <c:v>0.000572</c:v>
                </c:pt>
                <c:pt idx="2">
                  <c:v>0.0002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831</c:v>
                </c:pt>
                <c:pt idx="1">
                  <c:v>0.001575</c:v>
                </c:pt>
                <c:pt idx="2">
                  <c:v>0.000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1483</c:v>
                </c:pt>
                <c:pt idx="1">
                  <c:v>0.066517</c:v>
                </c:pt>
                <c:pt idx="2">
                  <c:v>0.0229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7791</c:v>
                </c:pt>
                <c:pt idx="1">
                  <c:v>0.021605</c:v>
                </c:pt>
                <c:pt idx="2">
                  <c:v>0.0081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4924</c:v>
                </c:pt>
                <c:pt idx="1">
                  <c:v>0.113988</c:v>
                </c:pt>
                <c:pt idx="2">
                  <c:v>0.0352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06</c:v>
                </c:pt>
                <c:pt idx="1">
                  <c:v>0.000499</c:v>
                </c:pt>
                <c:pt idx="2">
                  <c:v>0.0001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526</c:v>
                </c:pt>
                <c:pt idx="1">
                  <c:v>0.000504</c:v>
                </c:pt>
                <c:pt idx="2">
                  <c:v>0.00016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629</c:v>
                </c:pt>
                <c:pt idx="1">
                  <c:v>0.001261</c:v>
                </c:pt>
                <c:pt idx="2">
                  <c:v>0.0004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4466</c:v>
                </c:pt>
                <c:pt idx="1">
                  <c:v>0.062163</c:v>
                </c:pt>
                <c:pt idx="2">
                  <c:v>0.01752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8904</c:v>
                </c:pt>
                <c:pt idx="1">
                  <c:v>0.018831</c:v>
                </c:pt>
                <c:pt idx="2">
                  <c:v>0.0061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7957</c:v>
                </c:pt>
                <c:pt idx="1">
                  <c:v>0.084596</c:v>
                </c:pt>
                <c:pt idx="2">
                  <c:v>0.0293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56</c:v>
                </c:pt>
                <c:pt idx="1">
                  <c:v>0.000331</c:v>
                </c:pt>
                <c:pt idx="2">
                  <c:v>9.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84</c:v>
                </c:pt>
                <c:pt idx="1">
                  <c:v>0.000267</c:v>
                </c:pt>
                <c:pt idx="2">
                  <c:v>0.00011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499</c:v>
                </c:pt>
                <c:pt idx="1">
                  <c:v>0.000423</c:v>
                </c:pt>
                <c:pt idx="2">
                  <c:v>0.00017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157</c:v>
                </c:pt>
                <c:pt idx="1">
                  <c:v>0.000967</c:v>
                </c:pt>
                <c:pt idx="2">
                  <c:v>0.00031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3782</c:v>
                </c:pt>
                <c:pt idx="1">
                  <c:v>0.040697</c:v>
                </c:pt>
                <c:pt idx="2">
                  <c:v>0.01200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2165</c:v>
                </c:pt>
                <c:pt idx="1">
                  <c:v>0.021803</c:v>
                </c:pt>
                <c:pt idx="2">
                  <c:v>0.0090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869</c:v>
                </c:pt>
                <c:pt idx="1">
                  <c:v>0.015813</c:v>
                </c:pt>
                <c:pt idx="2">
                  <c:v>0.00658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897</c:v>
                </c:pt>
                <c:pt idx="1">
                  <c:v>0.059696</c:v>
                </c:pt>
                <c:pt idx="2">
                  <c:v>0.0195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57</c:v>
                </c:pt>
                <c:pt idx="1">
                  <c:v>0.000243</c:v>
                </c:pt>
                <c:pt idx="2">
                  <c:v>6.8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08</c:v>
                </c:pt>
                <c:pt idx="1">
                  <c:v>0.000489</c:v>
                </c:pt>
                <c:pt idx="2">
                  <c:v>0.00023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049</c:v>
                </c:pt>
                <c:pt idx="1">
                  <c:v>0.001025</c:v>
                </c:pt>
                <c:pt idx="2">
                  <c:v>0.00039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2862</c:v>
                </c:pt>
                <c:pt idx="1">
                  <c:v>0.029652</c:v>
                </c:pt>
                <c:pt idx="2">
                  <c:v>0.00851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736</c:v>
                </c:pt>
                <c:pt idx="1">
                  <c:v>0.018134</c:v>
                </c:pt>
                <c:pt idx="2">
                  <c:v>0.0081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103</c:v>
                </c:pt>
                <c:pt idx="1">
                  <c:v>0.068132</c:v>
                </c:pt>
                <c:pt idx="2">
                  <c:v>0.02549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5e-05</c:v>
                </c:pt>
                <c:pt idx="1">
                  <c:v>5.4e-05</c:v>
                </c:pt>
                <c:pt idx="2">
                  <c:v>8e-0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1e-05</c:v>
                </c:pt>
                <c:pt idx="1">
                  <c:v>7.8e-05</c:v>
                </c:pt>
                <c:pt idx="2">
                  <c:v>3.6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1</c:v>
                </c:pt>
                <c:pt idx="1">
                  <c:v>0.000243</c:v>
                </c:pt>
                <c:pt idx="2">
                  <c:v>7.8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502</c:v>
                </c:pt>
                <c:pt idx="1">
                  <c:v>0.006644</c:v>
                </c:pt>
                <c:pt idx="2">
                  <c:v>0.0014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506</c:v>
                </c:pt>
                <c:pt idx="1">
                  <c:v>0.003005</c:v>
                </c:pt>
                <c:pt idx="2">
                  <c:v>0.00154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929</c:v>
                </c:pt>
                <c:pt idx="1">
                  <c:v>0.016545</c:v>
                </c:pt>
                <c:pt idx="2">
                  <c:v>0.0047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892</c:v>
                </c:pt>
                <c:pt idx="1">
                  <c:v>0.003659</c:v>
                </c:pt>
                <c:pt idx="2">
                  <c:v>0.001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058</c:v>
                </c:pt>
                <c:pt idx="1">
                  <c:v>0.00269</c:v>
                </c:pt>
                <c:pt idx="2">
                  <c:v>0.00110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949</c:v>
                </c:pt>
                <c:pt idx="1">
                  <c:v>0.003288</c:v>
                </c:pt>
                <c:pt idx="2">
                  <c:v>0.00133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1446</c:v>
                </c:pt>
                <c:pt idx="1">
                  <c:v>0.009674</c:v>
                </c:pt>
                <c:pt idx="2">
                  <c:v>0.0036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2757</c:v>
                </c:pt>
                <c:pt idx="1">
                  <c:v>0.569259</c:v>
                </c:pt>
                <c:pt idx="2">
                  <c:v>0.20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653</c:v>
                </c:pt>
                <c:pt idx="1">
                  <c:v>0.283461</c:v>
                </c:pt>
                <c:pt idx="2">
                  <c:v>0.12261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2065</c:v>
                </c:pt>
                <c:pt idx="1">
                  <c:v>0.12484</c:v>
                </c:pt>
                <c:pt idx="2">
                  <c:v>0.05090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38913</c:v>
                </c:pt>
                <c:pt idx="1">
                  <c:v>0.655764</c:v>
                </c:pt>
                <c:pt idx="2">
                  <c:v>0.2408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646</c:v>
                </c:pt>
                <c:pt idx="1">
                  <c:v>0.038031</c:v>
                </c:pt>
                <c:pt idx="2">
                  <c:v>0.013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2162</c:v>
                </c:pt>
                <c:pt idx="1">
                  <c:v>0.623823</c:v>
                </c:pt>
                <c:pt idx="2">
                  <c:v>0.2425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8697</c:v>
                </c:pt>
                <c:pt idx="1">
                  <c:v>1.680031</c:v>
                </c:pt>
                <c:pt idx="2">
                  <c:v>0.8357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5446</c:v>
                </c:pt>
                <c:pt idx="1">
                  <c:v>1.389988</c:v>
                </c:pt>
                <c:pt idx="2">
                  <c:v>0.6677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45302</c:v>
                </c:pt>
                <c:pt idx="1">
                  <c:v>1.296514</c:v>
                </c:pt>
                <c:pt idx="2">
                  <c:v>0.6366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15.6</a:t>
                    </a:r>
                  </a:p>
                </c:rich>
              </c:tx>
              <c:showLegendKey val="0"/>
              <c:showVal val="1"/>
              <c:showCatName val="0"/>
              <c:showSerName val="0"/>
              <c:showPercent val="0"/>
              <c:showBubbleSize val="0"/>
            </c:dLbl>
            <c:dLbl>
              <c:idx val="2"/>
              <c:tx>
                <c:rich>
                  <a:bodyPr/>
                  <a:lstStyle/>
                  <a:p>
                    <a:r>
                      <a:rPr>
                        <a:solidFill>
                          <a:srgbClr val="FFFFFF"/>
                        </a:solidFill>
                      </a:rPr>
                      <a:t>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418419</c:v>
                </c:pt>
                <c:pt idx="1">
                  <c:v>15.637544</c:v>
                </c:pt>
                <c:pt idx="2">
                  <c:v>7.8950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12.5</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335408</c:v>
                </c:pt>
                <c:pt idx="1">
                  <c:v>12.535428</c:v>
                </c:pt>
                <c:pt idx="2">
                  <c:v>6.0693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5.0</a:t>
                    </a:r>
                  </a:p>
                </c:rich>
              </c:tx>
              <c:showLegendKey val="0"/>
              <c:showVal val="1"/>
              <c:showCatName val="0"/>
              <c:showSerName val="0"/>
              <c:showPercent val="0"/>
              <c:showBubbleSize val="0"/>
            </c:dLbl>
            <c:dLbl>
              <c:idx val="1"/>
              <c:tx>
                <c:rich>
                  <a:bodyPr/>
                  <a:lstStyle/>
                  <a:p>
                    <a:r>
                      <a:rPr>
                        <a:solidFill>
                          <a:srgbClr val="FFFFFF"/>
                        </a:solidFill>
                      </a:rPr>
                      <a:t>12.2</a:t>
                    </a:r>
                  </a:p>
                </c:rich>
              </c:tx>
              <c:showLegendKey val="0"/>
              <c:showVal val="1"/>
              <c:showCatName val="0"/>
              <c:showSerName val="0"/>
              <c:showPercent val="0"/>
              <c:showBubbleSize val="0"/>
            </c:dLbl>
            <c:dLbl>
              <c:idx val="2"/>
              <c:tx>
                <c:rich>
                  <a:bodyPr/>
                  <a:lstStyle/>
                  <a:p>
                    <a:r>
                      <a:rPr>
                        <a:solidFill>
                          <a:srgbClr val="FFFFFF"/>
                        </a:solidFill>
                      </a:rPr>
                      <a:t>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984677</c:v>
                </c:pt>
                <c:pt idx="1">
                  <c:v>12.242826</c:v>
                </c:pt>
                <c:pt idx="2">
                  <c:v>6.23625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60.7</a:t>
                    </a:r>
                  </a:p>
                </c:rich>
              </c:tx>
              <c:showLegendKey val="0"/>
              <c:showVal val="1"/>
              <c:showCatName val="0"/>
              <c:showSerName val="0"/>
              <c:showPercent val="0"/>
              <c:showBubbleSize val="0"/>
            </c:dLbl>
            <c:dLbl>
              <c:idx val="1"/>
              <c:tx>
                <c:rich>
                  <a:bodyPr/>
                  <a:lstStyle/>
                  <a:p>
                    <a:r>
                      <a:rPr>
                        <a:solidFill>
                          <a:srgbClr val="FFFFFF"/>
                        </a:solidFill>
                      </a:rPr>
                      <a:t>145.4</a:t>
                    </a:r>
                  </a:p>
                </c:rich>
              </c:tx>
              <c:showLegendKey val="0"/>
              <c:showVal val="1"/>
              <c:showCatName val="0"/>
              <c:showSerName val="0"/>
              <c:showPercent val="0"/>
              <c:showBubbleSize val="0"/>
            </c:dLbl>
            <c:dLbl>
              <c:idx val="2"/>
              <c:tx>
                <c:rich>
                  <a:bodyPr/>
                  <a:lstStyle/>
                  <a:p>
                    <a:r>
                      <a:rPr>
                        <a:solidFill>
                          <a:srgbClr val="FFFFFF"/>
                        </a:solidFill>
                      </a:rPr>
                      <a:t>7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0.724853</c:v>
                </c:pt>
                <c:pt idx="1">
                  <c:v>145.427158</c:v>
                </c:pt>
                <c:pt idx="2">
                  <c:v>72.012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56.0</a:t>
                    </a:r>
                  </a:p>
                </c:rich>
              </c:tx>
              <c:showLegendKey val="0"/>
              <c:showVal val="1"/>
              <c:showCatName val="0"/>
              <c:showSerName val="0"/>
              <c:showPercent val="0"/>
              <c:showBubbleSize val="0"/>
            </c:dLbl>
            <c:dLbl>
              <c:idx val="1"/>
              <c:tx>
                <c:rich>
                  <a:bodyPr/>
                  <a:lstStyle/>
                  <a:p>
                    <a:r>
                      <a:rPr>
                        <a:solidFill>
                          <a:srgbClr val="FFFFFF"/>
                        </a:solidFill>
                      </a:rPr>
                      <a:t>134.8</a:t>
                    </a:r>
                  </a:p>
                </c:rich>
              </c:tx>
              <c:showLegendKey val="0"/>
              <c:showVal val="1"/>
              <c:showCatName val="0"/>
              <c:showSerName val="0"/>
              <c:showPercent val="0"/>
              <c:showBubbleSize val="0"/>
            </c:dLbl>
            <c:dLbl>
              <c:idx val="2"/>
              <c:tx>
                <c:rich>
                  <a:bodyPr/>
                  <a:lstStyle/>
                  <a:p>
                    <a:r>
                      <a:rPr>
                        <a:solidFill>
                          <a:srgbClr val="FFFFFF"/>
                        </a:solidFill>
                      </a:rPr>
                      <a:t>6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6.012961</c:v>
                </c:pt>
                <c:pt idx="1">
                  <c:v>134.840931</c:v>
                </c:pt>
                <c:pt idx="2">
                  <c:v>67.167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34.2</a:t>
                    </a:r>
                  </a:p>
                </c:rich>
              </c:tx>
              <c:showLegendKey val="0"/>
              <c:showVal val="1"/>
              <c:showCatName val="0"/>
              <c:showSerName val="0"/>
              <c:showPercent val="0"/>
              <c:showBubbleSize val="0"/>
            </c:dLbl>
            <c:dLbl>
              <c:idx val="1"/>
              <c:tx>
                <c:rich>
                  <a:bodyPr/>
                  <a:lstStyle/>
                  <a:p>
                    <a:r>
                      <a:rPr>
                        <a:solidFill>
                          <a:srgbClr val="FFFFFF"/>
                        </a:solidFill>
                      </a:rPr>
                      <a:t>77.6</a:t>
                    </a:r>
                  </a:p>
                </c:rich>
              </c:tx>
              <c:showLegendKey val="0"/>
              <c:showVal val="1"/>
              <c:showCatName val="0"/>
              <c:showSerName val="0"/>
              <c:showPercent val="0"/>
              <c:showBubbleSize val="0"/>
            </c:dLbl>
            <c:dLbl>
              <c:idx val="2"/>
              <c:tx>
                <c:rich>
                  <a:bodyPr/>
                  <a:lstStyle/>
                  <a:p>
                    <a:r>
                      <a:rPr>
                        <a:solidFill>
                          <a:srgbClr val="FFFFFF"/>
                        </a:solidFill>
                      </a:rPr>
                      <a:t>3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4.226037</c:v>
                </c:pt>
                <c:pt idx="1">
                  <c:v>77.615083</c:v>
                </c:pt>
                <c:pt idx="2">
                  <c:v>35.95511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hcs</c:v>
                </c:pt>
              </c:strCache>
            </c:strRef>
          </c:tx>
          <c:spPr>
            <a:solidFill>
              <a:srgbClr val="7F7F7F"/>
            </a:solidFill>
            <a:ln>
              <a:solidFill>
                <a:schemeClr val="bg1"/>
              </a:solidFill>
            </a:ln>
            <a:effectLst/>
          </c:spPr>
          <c:invertIfNegative val="0"/>
          <c:dLbls>
            <c:dLbl>
              <c:idx val="0"/>
              <c:tx>
                <c:rich>
                  <a:bodyPr/>
                  <a:lstStyle/>
                  <a:p>
                    <a:r>
                      <a:rPr>
                        <a:solidFill>
                          <a:srgbClr val="FFFFFF"/>
                        </a:solidFill>
                      </a:rPr>
                      <a:t>20.5</a:t>
                    </a:r>
                  </a:p>
                </c:rich>
              </c:tx>
              <c:showLegendKey val="0"/>
              <c:showVal val="1"/>
              <c:showCatName val="0"/>
              <c:showSerName val="0"/>
              <c:showPercent val="0"/>
              <c:showBubbleSize val="0"/>
            </c:dLbl>
            <c:dLbl>
              <c:idx val="1"/>
              <c:tx>
                <c:rich>
                  <a:bodyPr/>
                  <a:lstStyle/>
                  <a:p>
                    <a:r>
                      <a:rPr>
                        <a:solidFill>
                          <a:srgbClr val="FFFFFF"/>
                        </a:solidFill>
                      </a:rPr>
                      <a:t>49.8</a:t>
                    </a:r>
                  </a:p>
                </c:rich>
              </c:tx>
              <c:showLegendKey val="0"/>
              <c:showVal val="1"/>
              <c:showCatName val="0"/>
              <c:showSerName val="0"/>
              <c:showPercent val="0"/>
              <c:showBubbleSize val="0"/>
            </c:dLbl>
            <c:dLbl>
              <c:idx val="2"/>
              <c:tx>
                <c:rich>
                  <a:bodyPr/>
                  <a:lstStyle/>
                  <a:p>
                    <a:r>
                      <a:rPr>
                        <a:solidFill>
                          <a:srgbClr val="FFFFFF"/>
                        </a:solidFill>
                      </a:rPr>
                      <a:t>2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0.500453</c:v>
                </c:pt>
                <c:pt idx="1">
                  <c:v>49.774842</c:v>
                </c:pt>
                <c:pt idx="2">
                  <c:v>25.0342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18.1</a:t>
                    </a:r>
                  </a:p>
                </c:rich>
              </c:tx>
              <c:showLegendKey val="0"/>
              <c:showVal val="1"/>
              <c:showCatName val="0"/>
              <c:showSerName val="0"/>
              <c:showPercent val="0"/>
              <c:showBubbleSize val="0"/>
            </c:dLbl>
            <c:dLbl>
              <c:idx val="1"/>
              <c:tx>
                <c:rich>
                  <a:bodyPr/>
                  <a:lstStyle/>
                  <a:p>
                    <a:r>
                      <a:rPr>
                        <a:solidFill>
                          <a:srgbClr val="FFFFFF"/>
                        </a:solidFill>
                      </a:rPr>
                      <a:t>40.4</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8.104881</c:v>
                </c:pt>
                <c:pt idx="1">
                  <c:v>40.384925</c:v>
                </c:pt>
                <c:pt idx="2">
                  <c:v>18.30416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Pernod Ricard</c:v>
                </c:pt>
              </c:strCache>
            </c:strRef>
          </c:tx>
          <c:spPr>
            <a:solidFill>
              <a:srgbClr val="575555"/>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9</a:t>
                    </a:r>
                  </a:p>
                </c:rich>
              </c:tx>
              <c:showLegendKey val="0"/>
              <c:showVal val="1"/>
              <c:showCatName val="0"/>
              <c:showSerName val="0"/>
              <c:showPercent val="0"/>
              <c:showBubbleSize val="0"/>
            </c:dLbl>
            <c:dLbl>
              <c:idx val="2"/>
              <c:tx>
                <c:rich>
                  <a:bodyPr/>
                  <a:lstStyle/>
                  <a:p>
                    <a:r>
                      <a:rPr>
                        <a:solidFill>
                          <a:srgbClr val="FFFFFF"/>
                        </a:solidFill>
                      </a:rPr>
                      <a:t>2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5.621185</c:v>
                </c:pt>
                <c:pt idx="1">
                  <c:v>38.861922</c:v>
                </c:pt>
                <c:pt idx="2">
                  <c:v>20.07020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Freixenet</c:v>
                </c:pt>
              </c:strCache>
            </c:strRef>
          </c:tx>
          <c:spPr>
            <a:solidFill>
              <a:srgbClr val="575555"/>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37.0</a:t>
                    </a:r>
                  </a:p>
                </c:rich>
              </c:tx>
              <c:showLegendKey val="0"/>
              <c:showVal val="1"/>
              <c:showCatName val="0"/>
              <c:showSerName val="0"/>
              <c:showPercent val="0"/>
              <c:showBubbleSize val="0"/>
            </c:dLbl>
            <c:dLbl>
              <c:idx val="2"/>
              <c:tx>
                <c:rich>
                  <a:bodyPr/>
                  <a:lstStyle/>
                  <a:p>
                    <a:r>
                      <a:rPr>
                        <a:solidFill>
                          <a:srgbClr val="FFFFFF"/>
                        </a:solidFill>
                      </a:rPr>
                      <a:t>1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6.018488</c:v>
                </c:pt>
                <c:pt idx="1">
                  <c:v>36.96891</c:v>
                </c:pt>
                <c:pt idx="2">
                  <c:v>17.5128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Wolfberger</c:v>
                </c:pt>
              </c:strCache>
            </c:strRef>
          </c:tx>
          <c:spPr>
            <a:solidFill>
              <a:srgbClr val="575555"/>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aison Burtin</c:v>
                </c:pt>
              </c:strCache>
            </c:strRef>
          </c:tx>
          <c:spPr>
            <a:solidFill>
              <a:srgbClr val="575555"/>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2.216065</c:v>
                </c:pt>
                <c:pt idx="1">
                  <c:v>28.73963</c:v>
                </c:pt>
                <c:pt idx="2">
                  <c:v>13.93731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17.5</a:t>
                    </a:r>
                  </a:p>
                </c:rich>
              </c:tx>
              <c:showLegendKey val="0"/>
              <c:showVal val="1"/>
              <c:showCatName val="0"/>
              <c:showSerName val="0"/>
              <c:showPercent val="0"/>
              <c:showBubbleSize val="0"/>
            </c:dLbl>
            <c:dLbl>
              <c:idx val="1"/>
              <c:tx>
                <c:rich>
                  <a:bodyPr/>
                  <a:lstStyle/>
                  <a:p>
                    <a:r>
                      <a:rPr>
                        <a:solidFill>
                          <a:srgbClr val="FFFFFF"/>
                        </a:solidFill>
                      </a:rPr>
                      <a:t>520.8</a:t>
                    </a:r>
                  </a:p>
                </c:rich>
              </c:tx>
              <c:showLegendKey val="0"/>
              <c:showVal val="1"/>
              <c:showCatName val="0"/>
              <c:showSerName val="0"/>
              <c:showPercent val="0"/>
              <c:showBubbleSize val="0"/>
            </c:dLbl>
            <c:dLbl>
              <c:idx val="2"/>
              <c:tx>
                <c:rich>
                  <a:bodyPr/>
                  <a:lstStyle/>
                  <a:p>
                    <a:r>
                      <a:rPr>
                        <a:solidFill>
                          <a:srgbClr val="FFFFFF"/>
                        </a:solidFill>
                      </a:rPr>
                      <a:t>25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17.512355</c:v>
                </c:pt>
                <c:pt idx="1">
                  <c:v>520.767808</c:v>
                </c:pt>
                <c:pt idx="2">
                  <c:v>257.79278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48</c:v>
                </c:pt>
                <c:pt idx="1">
                  <c:v>0.000684</c:v>
                </c:pt>
                <c:pt idx="2">
                  <c:v>0.0002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27</c:v>
                </c:pt>
                <c:pt idx="1">
                  <c:v>0.011094</c:v>
                </c:pt>
                <c:pt idx="2">
                  <c:v>0.0041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55</c:v>
                </c:pt>
                <c:pt idx="1">
                  <c:v>0.025657</c:v>
                </c:pt>
                <c:pt idx="2">
                  <c:v>0.0091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2974</c:v>
                </c:pt>
                <c:pt idx="1">
                  <c:v>0.417366</c:v>
                </c:pt>
                <c:pt idx="2">
                  <c:v>0.1665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754</c:v>
                </c:pt>
                <c:pt idx="1">
                  <c:v>0.219352</c:v>
                </c:pt>
                <c:pt idx="2">
                  <c:v>0.071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474</c:v>
                </c:pt>
                <c:pt idx="1">
                  <c:v>0.105868</c:v>
                </c:pt>
                <c:pt idx="2">
                  <c:v>0.0358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146</c:v>
                </c:pt>
                <c:pt idx="1">
                  <c:v>0.191707</c:v>
                </c:pt>
                <c:pt idx="2">
                  <c:v>0.0791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0803</c:v>
                </c:pt>
                <c:pt idx="1">
                  <c:v>0.110259</c:v>
                </c:pt>
                <c:pt idx="2">
                  <c:v>0.03367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2229</c:v>
                </c:pt>
                <c:pt idx="1">
                  <c:v>0.056505</c:v>
                </c:pt>
                <c:pt idx="2">
                  <c:v>0.02191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5237</c:v>
                </c:pt>
                <c:pt idx="1">
                  <c:v>0.081244</c:v>
                </c:pt>
                <c:pt idx="2">
                  <c:v>0.03566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827</c:v>
                </c:pt>
                <c:pt idx="1">
                  <c:v>0.04761</c:v>
                </c:pt>
                <c:pt idx="2">
                  <c:v>0.02278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104</c:v>
                </c:pt>
                <c:pt idx="1">
                  <c:v>0.045228</c:v>
                </c:pt>
                <c:pt idx="2">
                  <c:v>0.0190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73836</c:v>
                </c:pt>
                <c:pt idx="1">
                  <c:v>0.05822</c:v>
                </c:pt>
                <c:pt idx="2">
                  <c:v>0.0240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6107</c:v>
                </c:pt>
                <c:pt idx="1">
                  <c:v>0.265452</c:v>
                </c:pt>
                <c:pt idx="2">
                  <c:v>0.0934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1</c:v>
                </c:pt>
                <c:pt idx="1">
                  <c:v>0.000757</c:v>
                </c:pt>
                <c:pt idx="2">
                  <c:v>0.000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06</c:v>
                </c:pt>
                <c:pt idx="1">
                  <c:v>0.012276</c:v>
                </c:pt>
                <c:pt idx="2">
                  <c:v>0.0043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52</c:v>
                </c:pt>
                <c:pt idx="1">
                  <c:v>0.000747</c:v>
                </c:pt>
                <c:pt idx="2">
                  <c:v>0.0002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535</c:v>
                </c:pt>
                <c:pt idx="1">
                  <c:v>0.01214</c:v>
                </c:pt>
                <c:pt idx="2">
                  <c:v>0.00436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21.3</a:t>
                    </a:r>
                  </a:p>
                </c:rich>
              </c:tx>
              <c:showLegendKey val="0"/>
              <c:showVal val="1"/>
              <c:showCatName val="0"/>
              <c:showSerName val="0"/>
              <c:showPercent val="0"/>
              <c:showBubbleSize val="0"/>
            </c:dLbl>
            <c:dLbl>
              <c:idx val="1"/>
              <c:tx>
                <c:rich>
                  <a:bodyPr/>
                  <a:lstStyle/>
                  <a:p>
                    <a:r>
                      <a:rPr>
                        <a:solidFill>
                          <a:srgbClr val="FFFFFF"/>
                        </a:solidFill>
                      </a:rPr>
                      <a:t>20.6</a:t>
                    </a:r>
                  </a:p>
                </c:rich>
              </c:tx>
              <c:showLegendKey val="0"/>
              <c:showVal val="1"/>
              <c:showCatName val="0"/>
              <c:showSerName val="0"/>
              <c:showPercent val="0"/>
              <c:showBubbleSize val="0"/>
            </c:dLbl>
            <c:dLbl>
              <c:idx val="2"/>
              <c:tx>
                <c:rich>
                  <a:bodyPr/>
                  <a:lstStyle/>
                  <a:p>
                    <a:r>
                      <a:rPr>
                        <a:solidFill>
                          <a:srgbClr val="FFFFFF"/>
                        </a:solidFill>
                      </a:rPr>
                      <a:t>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273827</c:v>
                </c:pt>
                <c:pt idx="1">
                  <c:v>20.630972</c:v>
                </c:pt>
                <c:pt idx="2">
                  <c:v>6.7524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7.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550667</c:v>
                </c:pt>
                <c:pt idx="1">
                  <c:v>7.681794</c:v>
                </c:pt>
                <c:pt idx="2">
                  <c:v>2.74994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560551</c:v>
                </c:pt>
                <c:pt idx="1">
                  <c:v>6.094717</c:v>
                </c:pt>
                <c:pt idx="2">
                  <c:v>2.5246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6.9</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6.900121</c:v>
                </c:pt>
                <c:pt idx="1">
                  <c:v>5.144706</c:v>
                </c:pt>
                <c:pt idx="2">
                  <c:v>1.53332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354925</c:v>
                </c:pt>
                <c:pt idx="1">
                  <c:v>3.530193</c:v>
                </c:pt>
                <c:pt idx="2">
                  <c:v>1.4172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3.8</a:t>
                    </a:r>
                  </a:p>
                </c:rich>
              </c:tx>
              <c:showLegendKey val="0"/>
              <c:showVal val="1"/>
              <c:showCatName val="0"/>
              <c:showSerName val="0"/>
              <c:showPercent val="0"/>
              <c:showBubbleSize val="0"/>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816791</c:v>
                </c:pt>
                <c:pt idx="1">
                  <c:v>3.417925</c:v>
                </c:pt>
                <c:pt idx="2">
                  <c:v>1.50302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62423</c:v>
                </c:pt>
                <c:pt idx="1">
                  <c:v>3.15558</c:v>
                </c:pt>
                <c:pt idx="2">
                  <c:v>1.42650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93471</c:v>
                </c:pt>
                <c:pt idx="1">
                  <c:v>2.589655</c:v>
                </c:pt>
                <c:pt idx="2">
                  <c:v>1.07274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973332</c:v>
                </c:pt>
                <c:pt idx="1">
                  <c:v>2.4674</c:v>
                </c:pt>
                <c:pt idx="2">
                  <c:v>1.03795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4.9</a:t>
                    </a:r>
                  </a:p>
                </c:rich>
              </c:tx>
              <c:showLegendKey val="0"/>
              <c:showVal val="1"/>
              <c:showCatName val="0"/>
              <c:showSerName val="0"/>
              <c:showPercent val="0"/>
              <c:showBubbleSize val="0"/>
            </c:dLbl>
            <c:dLbl>
              <c:idx val="1"/>
              <c:tx>
                <c:rich>
                  <a:bodyPr/>
                  <a:lstStyle/>
                  <a:p>
                    <a:r>
                      <a:rPr>
                        <a:solidFill>
                          <a:srgbClr val="FFFFFF"/>
                        </a:solidFill>
                      </a:rPr>
                      <a:t>13.3</a:t>
                    </a:r>
                  </a:p>
                </c:rich>
              </c:tx>
              <c:showLegendKey val="0"/>
              <c:showVal val="1"/>
              <c:showCatName val="0"/>
              <c:showSerName val="0"/>
              <c:showPercent val="0"/>
              <c:showBubbleSize val="0"/>
            </c:dLbl>
            <c:dLbl>
              <c:idx val="2"/>
              <c:tx>
                <c:rich>
                  <a:bodyPr/>
                  <a:lstStyle/>
                  <a:p>
                    <a:r>
                      <a:rPr>
                        <a:solidFill>
                          <a:srgbClr val="FFFFFF"/>
                        </a:solidFill>
                      </a:rPr>
                      <a:t>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874689</c:v>
                </c:pt>
                <c:pt idx="1">
                  <c:v>13.321442</c:v>
                </c:pt>
                <c:pt idx="2">
                  <c:v>4.8660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22715</c:v>
                </c:pt>
                <c:pt idx="1">
                  <c:v>2.743414</c:v>
                </c:pt>
                <c:pt idx="2">
                  <c:v>1.3896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268812</c:v>
                </c:pt>
                <c:pt idx="1">
                  <c:v>5.080082</c:v>
                </c:pt>
                <c:pt idx="2">
                  <c:v>2.3143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74482</c:v>
                </c:pt>
                <c:pt idx="1">
                  <c:v>0.892736</c:v>
                </c:pt>
                <c:pt idx="2">
                  <c:v>0.43976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mp;C Sas Franc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62257</c:v>
                </c:pt>
                <c:pt idx="1">
                  <c:v>1.229288</c:v>
                </c:pt>
                <c:pt idx="2">
                  <c:v>0.54196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ernod Ric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08047</c:v>
                </c:pt>
                <c:pt idx="1">
                  <c:v>0.997501</c:v>
                </c:pt>
                <c:pt idx="2">
                  <c:v>0.505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67636</c:v>
                </c:pt>
                <c:pt idx="1">
                  <c:v>1.046274</c:v>
                </c:pt>
                <c:pt idx="2">
                  <c:v>0.4761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82936</c:v>
                </c:pt>
                <c:pt idx="1">
                  <c:v>0.658001</c:v>
                </c:pt>
                <c:pt idx="2">
                  <c:v>0.31470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66896</c:v>
                </c:pt>
                <c:pt idx="1">
                  <c:v>0.661289</c:v>
                </c:pt>
                <c:pt idx="2">
                  <c:v>0.34005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ntaud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87618</c:v>
                </c:pt>
                <c:pt idx="1">
                  <c:v>0.431415</c:v>
                </c:pt>
                <c:pt idx="2">
                  <c:v>0.20344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8</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412106</c:v>
                </c:pt>
                <c:pt idx="1">
                  <c:v>5.847825</c:v>
                </c:pt>
                <c:pt idx="2">
                  <c:v>2.9366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33.3</a:t>
                    </a:r>
                  </a:p>
                </c:rich>
              </c:tx>
              <c:showLegendKey val="0"/>
              <c:showVal val="1"/>
              <c:showCatName val="0"/>
              <c:showSerName val="0"/>
              <c:showPercent val="0"/>
              <c:showBubbleSize val="0"/>
            </c:dLbl>
            <c:dLbl>
              <c:idx val="1"/>
              <c:tx>
                <c:rich>
                  <a:bodyPr/>
                  <a:lstStyle/>
                  <a:p>
                    <a:r>
                      <a:rPr>
                        <a:solidFill>
                          <a:srgbClr val="FFFFFF"/>
                        </a:solidFill>
                      </a:rPr>
                      <a:t>80.5</a:t>
                    </a:r>
                  </a:p>
                </c:rich>
              </c:tx>
              <c:showLegendKey val="0"/>
              <c:showVal val="1"/>
              <c:showCatName val="0"/>
              <c:showSerName val="0"/>
              <c:showPercent val="0"/>
              <c:showBubbleSize val="0"/>
            </c:dLbl>
            <c:dLbl>
              <c:idx val="2"/>
              <c:tx>
                <c:rich>
                  <a:bodyPr/>
                  <a:lstStyle/>
                  <a:p>
                    <a:r>
                      <a:rPr>
                        <a:solidFill>
                          <a:srgbClr val="FFFFFF"/>
                        </a:solidFill>
                      </a:rPr>
                      <a:t>4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3.315707</c:v>
                </c:pt>
                <c:pt idx="1">
                  <c:v>80.506093</c:v>
                </c:pt>
                <c:pt idx="2">
                  <c:v>40.27479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a:solidFill>
                          <a:srgbClr val="FFFFFF"/>
                        </a:solidFill>
                      </a:rPr>
                      <a:t>34.2</a:t>
                    </a:r>
                  </a:p>
                </c:rich>
              </c:tx>
              <c:showLegendKey val="0"/>
              <c:showVal val="1"/>
              <c:showCatName val="0"/>
              <c:showSerName val="0"/>
              <c:showPercent val="0"/>
              <c:showBubbleSize val="0"/>
            </c:dLbl>
            <c:dLbl>
              <c:idx val="1"/>
              <c:tx>
                <c:rich>
                  <a:bodyPr/>
                  <a:lstStyle/>
                  <a:p>
                    <a:r>
                      <a:rPr>
                        <a:solidFill>
                          <a:srgbClr val="FFFFFF"/>
                        </a:solidFill>
                      </a:rPr>
                      <a:t>77.6</a:t>
                    </a:r>
                  </a:p>
                </c:rich>
              </c:tx>
              <c:showLegendKey val="0"/>
              <c:showVal val="1"/>
              <c:showCatName val="0"/>
              <c:showSerName val="0"/>
              <c:showPercent val="0"/>
              <c:showBubbleSize val="0"/>
            </c:dLbl>
            <c:dLbl>
              <c:idx val="2"/>
              <c:tx>
                <c:rich>
                  <a:bodyPr/>
                  <a:lstStyle/>
                  <a:p>
                    <a:r>
                      <a:rPr>
                        <a:solidFill>
                          <a:srgbClr val="FFFFFF"/>
                        </a:solidFill>
                      </a:rPr>
                      <a:t>3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4.226037</c:v>
                </c:pt>
                <c:pt idx="1">
                  <c:v>77.614891</c:v>
                </c:pt>
                <c:pt idx="2">
                  <c:v>35.95491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tx>
                <c:rich>
                  <a:bodyPr/>
                  <a:lstStyle/>
                  <a:p>
                    <a:r>
                      <a:rPr>
                        <a:solidFill>
                          <a:srgbClr val="FFFFFF"/>
                        </a:solidFill>
                      </a:rPr>
                      <a:t>20.5</a:t>
                    </a:r>
                  </a:p>
                </c:rich>
              </c:tx>
              <c:showLegendKey val="0"/>
              <c:showVal val="1"/>
              <c:showCatName val="0"/>
              <c:showSerName val="0"/>
              <c:showPercent val="0"/>
              <c:showBubbleSize val="0"/>
            </c:dLbl>
            <c:dLbl>
              <c:idx val="1"/>
              <c:tx>
                <c:rich>
                  <a:bodyPr/>
                  <a:lstStyle/>
                  <a:p>
                    <a:r>
                      <a:rPr>
                        <a:solidFill>
                          <a:srgbClr val="FFFFFF"/>
                        </a:solidFill>
                      </a:rPr>
                      <a:t>49.8</a:t>
                    </a:r>
                  </a:p>
                </c:rich>
              </c:tx>
              <c:showLegendKey val="0"/>
              <c:showVal val="1"/>
              <c:showCatName val="0"/>
              <c:showSerName val="0"/>
              <c:showPercent val="0"/>
              <c:showBubbleSize val="0"/>
            </c:dLbl>
            <c:dLbl>
              <c:idx val="2"/>
              <c:tx>
                <c:rich>
                  <a:bodyPr/>
                  <a:lstStyle/>
                  <a:p>
                    <a:r>
                      <a:rPr>
                        <a:solidFill>
                          <a:srgbClr val="FFFFFF"/>
                        </a:solidFill>
                      </a:rPr>
                      <a:t>2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0.500453</c:v>
                </c:pt>
                <c:pt idx="1">
                  <c:v>49.774842</c:v>
                </c:pt>
                <c:pt idx="2">
                  <c:v>25.03427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mp;C Sas France</c:v>
                </c:pt>
              </c:strCache>
            </c:strRef>
          </c:tx>
          <c:spPr>
            <a:solidFill>
              <a:srgbClr val="7F7F7F"/>
            </a:solidFill>
            <a:ln>
              <a:solidFill>
                <a:schemeClr val="bg1"/>
              </a:solidFill>
            </a:ln>
            <a:effectLst/>
          </c:spPr>
          <c:invertIfNegative val="0"/>
          <c:dLbls>
            <c:dLbl>
              <c:idx val="0"/>
              <c:tx>
                <c:rich>
                  <a:bodyPr/>
                  <a:lstStyle/>
                  <a:p>
                    <a:r>
                      <a:rPr>
                        <a:solidFill>
                          <a:srgbClr val="FFFFFF"/>
                        </a:solidFill>
                      </a:rPr>
                      <a:t>18.1</a:t>
                    </a:r>
                  </a:p>
                </c:rich>
              </c:tx>
              <c:showLegendKey val="0"/>
              <c:showVal val="1"/>
              <c:showCatName val="0"/>
              <c:showSerName val="0"/>
              <c:showPercent val="0"/>
              <c:showBubbleSize val="0"/>
            </c:dLbl>
            <c:dLbl>
              <c:idx val="1"/>
              <c:tx>
                <c:rich>
                  <a:bodyPr/>
                  <a:lstStyle/>
                  <a:p>
                    <a:r>
                      <a:rPr>
                        <a:solidFill>
                          <a:srgbClr val="FFFFFF"/>
                        </a:solidFill>
                      </a:rPr>
                      <a:t>40.4</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8.104881</c:v>
                </c:pt>
                <c:pt idx="1">
                  <c:v>40.384925</c:v>
                </c:pt>
                <c:pt idx="2">
                  <c:v>18.30416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ernod Ricard</c:v>
                </c:pt>
              </c:strCache>
            </c:strRef>
          </c:tx>
          <c:spPr>
            <a:solidFill>
              <a:srgbClr val="575555"/>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9</a:t>
                    </a:r>
                  </a:p>
                </c:rich>
              </c:tx>
              <c:showLegendKey val="0"/>
              <c:showVal val="1"/>
              <c:showCatName val="0"/>
              <c:showSerName val="0"/>
              <c:showPercent val="0"/>
              <c:showBubbleSize val="0"/>
            </c:dLbl>
            <c:dLbl>
              <c:idx val="2"/>
              <c:tx>
                <c:rich>
                  <a:bodyPr/>
                  <a:lstStyle/>
                  <a:p>
                    <a:r>
                      <a:rPr>
                        <a:solidFill>
                          <a:srgbClr val="FFFFFF"/>
                        </a:solidFill>
                      </a:rPr>
                      <a:t>2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5.621185</c:v>
                </c:pt>
                <c:pt idx="1">
                  <c:v>38.861922</c:v>
                </c:pt>
                <c:pt idx="2">
                  <c:v>20.07020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216065</c:v>
                </c:pt>
                <c:pt idx="1">
                  <c:v>28.73963</c:v>
                </c:pt>
                <c:pt idx="2">
                  <c:v>13.93731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11.3</a:t>
                    </a:r>
                  </a:p>
                </c:rich>
              </c:tx>
              <c:showLegendKey val="0"/>
              <c:showVal val="1"/>
              <c:showCatName val="0"/>
              <c:showSerName val="0"/>
              <c:showPercent val="0"/>
              <c:showBubbleSize val="0"/>
            </c:dLbl>
            <c:dLbl>
              <c:idx val="1"/>
              <c:tx>
                <c:rich>
                  <a:bodyPr/>
                  <a:lstStyle/>
                  <a:p>
                    <a:r>
                      <a:rPr>
                        <a:solidFill>
                          <a:srgbClr val="FFFFFF"/>
                        </a:solidFill>
                      </a:rPr>
                      <a:t>26.3</a:t>
                    </a:r>
                  </a:p>
                </c:rich>
              </c:tx>
              <c:showLegendKey val="0"/>
              <c:showVal val="1"/>
              <c:showCatName val="0"/>
              <c:showSerName val="0"/>
              <c:showPercent val="0"/>
              <c:showBubbleSize val="0"/>
            </c:dLbl>
            <c:dLbl>
              <c:idx val="2"/>
              <c:tx>
                <c:rich>
                  <a:bodyPr/>
                  <a:lstStyle/>
                  <a:p>
                    <a:r>
                      <a:rPr>
                        <a:solidFill>
                          <a:srgbClr val="FFFFFF"/>
                        </a:solidFill>
                      </a:rPr>
                      <a:t>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1.326661</c:v>
                </c:pt>
                <c:pt idx="1">
                  <c:v>26.293673</c:v>
                </c:pt>
                <c:pt idx="2">
                  <c:v>12.54620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7.8</a:t>
                    </a:r>
                  </a:p>
                </c:rich>
              </c:tx>
              <c:showLegendKey val="0"/>
              <c:showVal val="1"/>
              <c:showCatName val="0"/>
              <c:showSerName val="0"/>
              <c:showPercent val="0"/>
              <c:showBubbleSize val="0"/>
            </c:dLbl>
            <c:dLbl>
              <c:idx val="1"/>
              <c:tx>
                <c:rich>
                  <a:bodyPr/>
                  <a:lstStyle/>
                  <a:p>
                    <a:r>
                      <a:rPr>
                        <a:solidFill>
                          <a:srgbClr val="FFFFFF"/>
                        </a:solidFill>
                      </a:rPr>
                      <a:t>19.4</a:t>
                    </a:r>
                  </a:p>
                </c:rich>
              </c:tx>
              <c:showLegendKey val="0"/>
              <c:showVal val="1"/>
              <c:showCatName val="0"/>
              <c:showSerName val="0"/>
              <c:showPercent val="0"/>
              <c:showBubbleSize val="0"/>
            </c:dLbl>
            <c:dLbl>
              <c:idx val="2"/>
              <c:tx>
                <c:rich>
                  <a:bodyPr/>
                  <a:lstStyle/>
                  <a:p>
                    <a:r>
                      <a:rPr>
                        <a:solidFill>
                          <a:srgbClr val="FFFFFF"/>
                        </a:solidFill>
                      </a:rPr>
                      <a:t>1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7.757324</c:v>
                </c:pt>
                <c:pt idx="1">
                  <c:v>19.359139</c:v>
                </c:pt>
                <c:pt idx="2">
                  <c:v>10.03130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ntaudon</c:v>
                </c:pt>
              </c:strCache>
            </c:strRef>
          </c:tx>
          <c:spPr>
            <a:solidFill>
              <a:srgbClr val="575555"/>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13.0</a:t>
                    </a:r>
                  </a:p>
                </c:rich>
              </c:tx>
              <c:showLegendKey val="0"/>
              <c:showVal val="1"/>
              <c:showCatName val="0"/>
              <c:showSerName val="0"/>
              <c:showPercent val="0"/>
              <c:showBubbleSize val="0"/>
            </c:dLbl>
            <c:dLbl>
              <c:idx val="2"/>
              <c:tx>
                <c:rich>
                  <a:bodyPr/>
                  <a:lstStyle/>
                  <a:p>
                    <a:r>
                      <a:rPr>
                        <a:solidFill>
                          <a:srgbClr val="FFFFFF"/>
                        </a:solidFill>
                      </a:rPr>
                      <a:t>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5.639246</c:v>
                </c:pt>
                <c:pt idx="1">
                  <c:v>13.007644</c:v>
                </c:pt>
                <c:pt idx="2">
                  <c:v>6.1577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8.2</a:t>
                    </a:r>
                  </a:p>
                </c:rich>
              </c:tx>
              <c:showLegendKey val="0"/>
              <c:showVal val="1"/>
              <c:showCatName val="0"/>
              <c:showSerName val="0"/>
              <c:showPercent val="0"/>
              <c:showBubbleSize val="0"/>
            </c:dLbl>
            <c:dLbl>
              <c:idx val="1"/>
              <c:tx>
                <c:rich>
                  <a:bodyPr/>
                  <a:lstStyle/>
                  <a:p>
                    <a:r>
                      <a:rPr>
                        <a:solidFill>
                          <a:srgbClr val="FFFFFF"/>
                        </a:solidFill>
                      </a:rPr>
                      <a:t>138.0</a:t>
                    </a:r>
                  </a:p>
                </c:rich>
              </c:tx>
              <c:showLegendKey val="0"/>
              <c:showVal val="1"/>
              <c:showCatName val="0"/>
              <c:showSerName val="0"/>
              <c:showPercent val="0"/>
              <c:showBubbleSize val="0"/>
            </c:dLbl>
            <c:dLbl>
              <c:idx val="2"/>
              <c:tx>
                <c:rich>
                  <a:bodyPr/>
                  <a:lstStyle/>
                  <a:p>
                    <a:r>
                      <a:rPr>
                        <a:solidFill>
                          <a:srgbClr val="FFFFFF"/>
                        </a:solidFill>
                      </a:rPr>
                      <a:t>6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8.195906</c:v>
                </c:pt>
                <c:pt idx="1">
                  <c:v>138.002269</c:v>
                </c:pt>
                <c:pt idx="2">
                  <c:v>67.5567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3583</c:v>
                </c:pt>
                <c:pt idx="1">
                  <c:v>0.025212</c:v>
                </c:pt>
                <c:pt idx="2">
                  <c:v>0.01102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5548</c:v>
                </c:pt>
                <c:pt idx="1">
                  <c:v>0.309998</c:v>
                </c:pt>
                <c:pt idx="2">
                  <c:v>0.1378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947</c:v>
                </c:pt>
                <c:pt idx="1">
                  <c:v>0.016362</c:v>
                </c:pt>
                <c:pt idx="2">
                  <c:v>0.00716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4564</c:v>
                </c:pt>
                <c:pt idx="1">
                  <c:v>0.205311</c:v>
                </c:pt>
                <c:pt idx="2">
                  <c:v>0.0906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526</c:v>
                </c:pt>
                <c:pt idx="1">
                  <c:v>0.002477</c:v>
                </c:pt>
                <c:pt idx="2">
                  <c:v>0.00112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513</c:v>
                </c:pt>
                <c:pt idx="1">
                  <c:v>0.03132</c:v>
                </c:pt>
                <c:pt idx="2">
                  <c:v>0.01456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14</c:v>
                </c:pt>
                <c:pt idx="1">
                  <c:v>0.000998</c:v>
                </c:pt>
                <c:pt idx="2">
                  <c:v>0.0002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666</c:v>
                </c:pt>
                <c:pt idx="1">
                  <c:v>0.003257</c:v>
                </c:pt>
                <c:pt idx="2">
                  <c:v>0.000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907</c:v>
                </c:pt>
                <c:pt idx="1">
                  <c:v>0.015514</c:v>
                </c:pt>
                <c:pt idx="2">
                  <c:v>0.00447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977</c:v>
                </c:pt>
                <c:pt idx="1">
                  <c:v>0.033635</c:v>
                </c:pt>
                <c:pt idx="2">
                  <c:v>0.01059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8751</c:v>
                </c:pt>
                <c:pt idx="1">
                  <c:v>0.097835</c:v>
                </c:pt>
                <c:pt idx="2">
                  <c:v>0.0464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25199</c:v>
                </c:pt>
                <c:pt idx="1">
                  <c:v>1.226263</c:v>
                </c:pt>
                <c:pt idx="2">
                  <c:v>0.5816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09</c:v>
                </c:pt>
                <c:pt idx="1">
                  <c:v>0.003191</c:v>
                </c:pt>
                <c:pt idx="2">
                  <c:v>0.001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329</c:v>
                </c:pt>
                <c:pt idx="1">
                  <c:v>0.037383</c:v>
                </c:pt>
                <c:pt idx="2">
                  <c:v>0.0155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4</c:v>
                </c:pt>
                <c:pt idx="1">
                  <c:v>0.001845</c:v>
                </c:pt>
                <c:pt idx="2">
                  <c:v>0.0007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0836</c:v>
                </c:pt>
                <c:pt idx="1">
                  <c:v>0.022653</c:v>
                </c:pt>
                <c:pt idx="2">
                  <c:v>0.0098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171</c:v>
                </c:pt>
                <c:pt idx="1">
                  <c:v>0.033808</c:v>
                </c:pt>
                <c:pt idx="2">
                  <c:v>0.01583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6439</c:v>
                </c:pt>
                <c:pt idx="1">
                  <c:v>0.421811</c:v>
                </c:pt>
                <c:pt idx="2">
                  <c:v>0.1984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8104</c:v>
                </c:pt>
                <c:pt idx="1">
                  <c:v>0.036093</c:v>
                </c:pt>
                <c:pt idx="2">
                  <c:v>0.01704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6538</c:v>
                </c:pt>
                <c:pt idx="1">
                  <c:v>0.550447</c:v>
                </c:pt>
                <c:pt idx="2">
                  <c:v>0.27414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6492</c:v>
                </c:pt>
                <c:pt idx="1">
                  <c:v>0.014723</c:v>
                </c:pt>
                <c:pt idx="2">
                  <c:v>0.0063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4112</c:v>
                </c:pt>
                <c:pt idx="1">
                  <c:v>0.22183</c:v>
                </c:pt>
                <c:pt idx="2">
                  <c:v>0.1007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077</c:v>
                </c:pt>
                <c:pt idx="1">
                  <c:v>0.00572</c:v>
                </c:pt>
                <c:pt idx="2">
                  <c:v>0.0026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9439</c:v>
                </c:pt>
                <c:pt idx="1">
                  <c:v>0.090112</c:v>
                </c:pt>
                <c:pt idx="2">
                  <c:v>0.0441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973</c:v>
                </c:pt>
                <c:pt idx="1">
                  <c:v>0.001838</c:v>
                </c:pt>
                <c:pt idx="2">
                  <c:v>0.00076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8143</c:v>
                </c:pt>
                <c:pt idx="1">
                  <c:v>0.027601</c:v>
                </c:pt>
                <c:pt idx="2">
                  <c:v>0.0121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22</c:v>
                </c:pt>
                <c:pt idx="1">
                  <c:v>0.000851</c:v>
                </c:pt>
                <c:pt idx="2">
                  <c:v>0.000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93</c:v>
                </c:pt>
                <c:pt idx="1">
                  <c:v>0.013235</c:v>
                </c:pt>
                <c:pt idx="2">
                  <c:v>0.0058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3427</c:v>
                </c:pt>
                <c:pt idx="1">
                  <c:v>0.013611</c:v>
                </c:pt>
                <c:pt idx="2">
                  <c:v>0.0044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242</c:v>
                </c:pt>
                <c:pt idx="1">
                  <c:v>0.004991</c:v>
                </c:pt>
                <c:pt idx="2">
                  <c:v>0.00144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11</c:v>
                </c:pt>
                <c:pt idx="1">
                  <c:v>0.00864</c:v>
                </c:pt>
                <c:pt idx="2">
                  <c:v>0.00306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996</c:v>
                </c:pt>
                <c:pt idx="1">
                  <c:v>0.004734</c:v>
                </c:pt>
                <c:pt idx="2">
                  <c:v>0.00137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75</c:v>
                </c:pt>
                <c:pt idx="1">
                  <c:v>0.002085</c:v>
                </c:pt>
                <c:pt idx="2">
                  <c:v>0.00069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974</c:v>
                </c:pt>
                <c:pt idx="1">
                  <c:v>0.003256</c:v>
                </c:pt>
                <c:pt idx="2">
                  <c:v>0.0013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112</c:v>
                </c:pt>
                <c:pt idx="1">
                  <c:v>0.001894</c:v>
                </c:pt>
                <c:pt idx="2">
                  <c:v>0.00071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308</c:v>
                </c:pt>
                <c:pt idx="1">
                  <c:v>0.001809</c:v>
                </c:pt>
                <c:pt idx="2">
                  <c:v>0.00064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3147</c:v>
                </c:pt>
                <c:pt idx="1">
                  <c:v>0.002916</c:v>
                </c:pt>
                <c:pt idx="2">
                  <c:v>0.00078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3041</c:v>
                </c:pt>
                <c:pt idx="1">
                  <c:v>0.011789</c:v>
                </c:pt>
                <c:pt idx="2">
                  <c:v>0.0032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9</c:v>
                </c:pt>
                <c:pt idx="1">
                  <c:v>0.001777</c:v>
                </c:pt>
                <c:pt idx="2">
                  <c:v>0.0006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1052</c:v>
                </c:pt>
                <c:pt idx="1">
                  <c:v>0.02703</c:v>
                </c:pt>
                <c:pt idx="2">
                  <c:v>0.0102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21768</c:v>
                </c:pt>
                <c:pt idx="1">
                  <c:v>1.337717</c:v>
                </c:pt>
                <c:pt idx="2">
                  <c:v>0.4520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84339</c:v>
                </c:pt>
                <c:pt idx="1">
                  <c:v>0.359349</c:v>
                </c:pt>
                <c:pt idx="2">
                  <c:v>0.11261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6715</c:v>
                </c:pt>
                <c:pt idx="1">
                  <c:v>0.276699</c:v>
                </c:pt>
                <c:pt idx="2">
                  <c:v>0.09759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09219</c:v>
                </c:pt>
                <c:pt idx="1">
                  <c:v>0.228709</c:v>
                </c:pt>
                <c:pt idx="2">
                  <c:v>0.06546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3047</c:v>
                </c:pt>
                <c:pt idx="1">
                  <c:v>0.138576</c:v>
                </c:pt>
                <c:pt idx="2">
                  <c:v>0.05025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60802</c:v>
                </c:pt>
                <c:pt idx="1">
                  <c:v>0.138544</c:v>
                </c:pt>
                <c:pt idx="2">
                  <c:v>0.05556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45827</c:v>
                </c:pt>
                <c:pt idx="1">
                  <c:v>0.126863</c:v>
                </c:pt>
                <c:pt idx="2">
                  <c:v>0.04641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45617</c:v>
                </c:pt>
                <c:pt idx="1">
                  <c:v>0.111901</c:v>
                </c:pt>
                <c:pt idx="2">
                  <c:v>0.03819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29821</c:v>
                </c:pt>
                <c:pt idx="1">
                  <c:v>0.125461</c:v>
                </c:pt>
                <c:pt idx="2">
                  <c:v>0.03399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50947</c:v>
                </c:pt>
                <c:pt idx="1">
                  <c:v>0.618243</c:v>
                </c:pt>
                <c:pt idx="2">
                  <c:v>0.1717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215</c:v>
                </c:pt>
                <c:pt idx="1">
                  <c:v>0.016501</c:v>
                </c:pt>
                <c:pt idx="2">
                  <c:v>0.00771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6995</c:v>
                </c:pt>
                <c:pt idx="1">
                  <c:v>0.252153</c:v>
                </c:pt>
                <c:pt idx="2">
                  <c:v>0.1241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188</c:v>
                </c:pt>
                <c:pt idx="1">
                  <c:v>0.013349</c:v>
                </c:pt>
                <c:pt idx="2">
                  <c:v>0.00587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892</c:v>
                </c:pt>
                <c:pt idx="1">
                  <c:v>0.008163</c:v>
                </c:pt>
                <c:pt idx="2">
                  <c:v>0.00247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083</c:v>
                </c:pt>
                <c:pt idx="1">
                  <c:v>0.004686</c:v>
                </c:pt>
                <c:pt idx="2">
                  <c:v>0.00134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47</c:v>
                </c:pt>
                <c:pt idx="1">
                  <c:v>0.00905</c:v>
                </c:pt>
                <c:pt idx="2">
                  <c:v>0.003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037</c:v>
                </c:pt>
                <c:pt idx="1">
                  <c:v>0.004365</c:v>
                </c:pt>
                <c:pt idx="2">
                  <c:v>0.00115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869</c:v>
                </c:pt>
                <c:pt idx="1">
                  <c:v>0.002419</c:v>
                </c:pt>
                <c:pt idx="2">
                  <c:v>0.00090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47</c:v>
                </c:pt>
                <c:pt idx="1">
                  <c:v>0.002808</c:v>
                </c:pt>
                <c:pt idx="2">
                  <c:v>0.00094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817</c:v>
                </c:pt>
                <c:pt idx="1">
                  <c:v>0.001532</c:v>
                </c:pt>
                <c:pt idx="2">
                  <c:v>0.00069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151</c:v>
                </c:pt>
                <c:pt idx="1">
                  <c:v>0.001667</c:v>
                </c:pt>
                <c:pt idx="2">
                  <c:v>0.00062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77</c:v>
                </c:pt>
                <c:pt idx="1">
                  <c:v>0.002225</c:v>
                </c:pt>
                <c:pt idx="2">
                  <c:v>0.0007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9979</c:v>
                </c:pt>
                <c:pt idx="1">
                  <c:v>0.009139</c:v>
                </c:pt>
                <c:pt idx="2">
                  <c:v>0.0030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2451</c:v>
                </c:pt>
                <c:pt idx="1">
                  <c:v>0.202993</c:v>
                </c:pt>
                <c:pt idx="2">
                  <c:v>0.09377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014</c:v>
                </c:pt>
                <c:pt idx="1">
                  <c:v>0.010992</c:v>
                </c:pt>
                <c:pt idx="2">
                  <c:v>0.0045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48027</c:v>
                </c:pt>
                <c:pt idx="1">
                  <c:v>0.795314</c:v>
                </c:pt>
                <c:pt idx="2">
                  <c:v>0.24324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9908</c:v>
                </c:pt>
                <c:pt idx="1">
                  <c:v>0.351685</c:v>
                </c:pt>
                <c:pt idx="2">
                  <c:v>0.10299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4757</c:v>
                </c:pt>
                <c:pt idx="1">
                  <c:v>0.282397</c:v>
                </c:pt>
                <c:pt idx="2">
                  <c:v>0.1043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6611</c:v>
                </c:pt>
                <c:pt idx="1">
                  <c:v>0.199038</c:v>
                </c:pt>
                <c:pt idx="2">
                  <c:v>0.05088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2819</c:v>
                </c:pt>
                <c:pt idx="1">
                  <c:v>0.152336</c:v>
                </c:pt>
                <c:pt idx="2">
                  <c:v>0.05717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40864</c:v>
                </c:pt>
                <c:pt idx="1">
                  <c:v>0.118042</c:v>
                </c:pt>
                <c:pt idx="2">
                  <c:v>0.0400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28307</c:v>
                </c:pt>
                <c:pt idx="1">
                  <c:v>0.107036</c:v>
                </c:pt>
                <c:pt idx="2">
                  <c:v>0.04560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24123</c:v>
                </c:pt>
                <c:pt idx="1">
                  <c:v>0.095931</c:v>
                </c:pt>
                <c:pt idx="2">
                  <c:v>0.03503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1813</c:v>
                </c:pt>
                <c:pt idx="1">
                  <c:v>0.090334</c:v>
                </c:pt>
                <c:pt idx="2">
                  <c:v>0.02880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1544</c:v>
                </c:pt>
                <c:pt idx="1">
                  <c:v>0.488881</c:v>
                </c:pt>
                <c:pt idx="2">
                  <c:v>0.1630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4966</c:v>
                </c:pt>
                <c:pt idx="1">
                  <c:v>0.229377</c:v>
                </c:pt>
                <c:pt idx="2">
                  <c:v>0.0950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893</c:v>
                </c:pt>
                <c:pt idx="1">
                  <c:v>0.003716</c:v>
                </c:pt>
                <c:pt idx="2">
                  <c:v>0.00143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8309</c:v>
                </c:pt>
                <c:pt idx="1">
                  <c:v>0.084599</c:v>
                </c:pt>
                <c:pt idx="2">
                  <c:v>0.0330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551</c:v>
                </c:pt>
                <c:pt idx="1">
                  <c:v>0.009074</c:v>
                </c:pt>
                <c:pt idx="2">
                  <c:v>0.0028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54</c:v>
                </c:pt>
                <c:pt idx="1">
                  <c:v>0.004417</c:v>
                </c:pt>
                <c:pt idx="2">
                  <c:v>0.00113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79</c:v>
                </c:pt>
                <c:pt idx="1">
                  <c:v>0.008677</c:v>
                </c:pt>
                <c:pt idx="2">
                  <c:v>0.0030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114</c:v>
                </c:pt>
                <c:pt idx="1">
                  <c:v>0.004222</c:v>
                </c:pt>
                <c:pt idx="2">
                  <c:v>0.0011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986</c:v>
                </c:pt>
                <c:pt idx="1">
                  <c:v>0.001922</c:v>
                </c:pt>
                <c:pt idx="2">
                  <c:v>0.00057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338</c:v>
                </c:pt>
                <c:pt idx="1">
                  <c:v>0.002693</c:v>
                </c:pt>
                <c:pt idx="2">
                  <c:v>0.00099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55</c:v>
                </c:pt>
                <c:pt idx="1">
                  <c:v>0.001532</c:v>
                </c:pt>
                <c:pt idx="2">
                  <c:v>0.0006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873</c:v>
                </c:pt>
                <c:pt idx="1">
                  <c:v>0.001406</c:v>
                </c:pt>
                <c:pt idx="2">
                  <c:v>0.00067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987</c:v>
                </c:pt>
                <c:pt idx="1">
                  <c:v>0.00194</c:v>
                </c:pt>
                <c:pt idx="2">
                  <c:v>0.00057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587</c:v>
                </c:pt>
                <c:pt idx="1">
                  <c:v>0.008313</c:v>
                </c:pt>
                <c:pt idx="2">
                  <c:v>0.0026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38</c:v>
                </c:pt>
                <c:pt idx="1">
                  <c:v>0.001225</c:v>
                </c:pt>
                <c:pt idx="2">
                  <c:v>0.0005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386</c:v>
                </c:pt>
                <c:pt idx="1">
                  <c:v>0.020237</c:v>
                </c:pt>
                <c:pt idx="2">
                  <c:v>0.0085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35</c:v>
                </c:pt>
                <c:pt idx="1">
                  <c:v>0.001389</c:v>
                </c:pt>
                <c:pt idx="2">
                  <c:v>0.0005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4492</c:v>
                </c:pt>
                <c:pt idx="1">
                  <c:v>0.022601</c:v>
                </c:pt>
                <c:pt idx="2">
                  <c:v>0.00971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0031</c:v>
                </c:pt>
                <c:pt idx="1">
                  <c:v>0.87929</c:v>
                </c:pt>
                <c:pt idx="2">
                  <c:v>0.27435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34673</c:v>
                </c:pt>
                <c:pt idx="1">
                  <c:v>0.306086</c:v>
                </c:pt>
                <c:pt idx="2">
                  <c:v>0.0878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9926</c:v>
                </c:pt>
                <c:pt idx="1">
                  <c:v>0.274816</c:v>
                </c:pt>
                <c:pt idx="2">
                  <c:v>0.09898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65324</c:v>
                </c:pt>
                <c:pt idx="1">
                  <c:v>0.194115</c:v>
                </c:pt>
                <c:pt idx="2">
                  <c:v>0.0522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29325</c:v>
                </c:pt>
                <c:pt idx="1">
                  <c:v>0.12358</c:v>
                </c:pt>
                <c:pt idx="2">
                  <c:v>0.03822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32115</c:v>
                </c:pt>
                <c:pt idx="1">
                  <c:v>0.112149</c:v>
                </c:pt>
                <c:pt idx="2">
                  <c:v>0.04149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18784</c:v>
                </c:pt>
                <c:pt idx="1">
                  <c:v>0.10148</c:v>
                </c:pt>
                <c:pt idx="2">
                  <c:v>0.03885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11049</c:v>
                </c:pt>
                <c:pt idx="1">
                  <c:v>0.084786</c:v>
                </c:pt>
                <c:pt idx="2">
                  <c:v>0.0407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1814</c:v>
                </c:pt>
                <c:pt idx="1">
                  <c:v>0.081015</c:v>
                </c:pt>
                <c:pt idx="2">
                  <c:v>0.02464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12835</c:v>
                </c:pt>
                <c:pt idx="1">
                  <c:v>0.42237</c:v>
                </c:pt>
                <c:pt idx="2">
                  <c:v>0.13956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8</c:v>
                </c:pt>
                <c:pt idx="1">
                  <c:v>0.000387</c:v>
                </c:pt>
                <c:pt idx="2">
                  <c:v>0.00012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546</c:v>
                </c:pt>
                <c:pt idx="1">
                  <c:v>0.009199</c:v>
                </c:pt>
                <c:pt idx="2">
                  <c:v>0.0030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89</c:v>
                </c:pt>
                <c:pt idx="1">
                  <c:v>0.000267</c:v>
                </c:pt>
                <c:pt idx="2">
                  <c:v>0.0001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846</c:v>
                </c:pt>
                <c:pt idx="1">
                  <c:v>0.006316</c:v>
                </c:pt>
                <c:pt idx="2">
                  <c:v>0.00289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47</c:v>
                </c:pt>
                <c:pt idx="1">
                  <c:v>0.00018</c:v>
                </c:pt>
                <c:pt idx="2">
                  <c:v>6.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06</c:v>
                </c:pt>
                <c:pt idx="1">
                  <c:v>0.004239</c:v>
                </c:pt>
                <c:pt idx="2">
                  <c:v>0.0014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928</c:v>
                </c:pt>
                <c:pt idx="1">
                  <c:v>0.006602</c:v>
                </c:pt>
                <c:pt idx="2">
                  <c:v>0.0026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109</c:v>
                </c:pt>
                <c:pt idx="1">
                  <c:v>0.126367</c:v>
                </c:pt>
                <c:pt idx="2">
                  <c:v>0.050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93</c:v>
                </c:pt>
                <c:pt idx="1">
                  <c:v>0.000393</c:v>
                </c:pt>
                <c:pt idx="2">
                  <c:v>9.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766</c:v>
                </c:pt>
                <c:pt idx="1">
                  <c:v>0.005124</c:v>
                </c:pt>
                <c:pt idx="2">
                  <c:v>0.00128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19</c:v>
                </c:pt>
                <c:pt idx="1">
                  <c:v>0.000367</c:v>
                </c:pt>
                <c:pt idx="2">
                  <c:v>8.3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869</c:v>
                </c:pt>
                <c:pt idx="1">
                  <c:v>0.004913</c:v>
                </c:pt>
                <c:pt idx="2">
                  <c:v>0.00115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612</c:v>
                </c:pt>
                <c:pt idx="1">
                  <c:v>0.006135</c:v>
                </c:pt>
                <c:pt idx="2">
                  <c:v>0.00163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361</c:v>
                </c:pt>
                <c:pt idx="1">
                  <c:v>0.082789</c:v>
                </c:pt>
                <c:pt idx="2">
                  <c:v>0.02203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31</c:v>
                </c:pt>
                <c:pt idx="1">
                  <c:v>0.000589</c:v>
                </c:pt>
                <c:pt idx="2">
                  <c:v>0.0001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01</c:v>
                </c:pt>
                <c:pt idx="1">
                  <c:v>0.007901</c:v>
                </c:pt>
                <c:pt idx="2">
                  <c:v>0.0026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701</c:v>
                </c:pt>
                <c:pt idx="1">
                  <c:v>0.0004</c:v>
                </c:pt>
                <c:pt idx="2">
                  <c:v>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028</c:v>
                </c:pt>
                <c:pt idx="1">
                  <c:v>0.005367</c:v>
                </c:pt>
                <c:pt idx="2">
                  <c:v>0.0008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72</c:v>
                </c:pt>
                <c:pt idx="1">
                  <c:v>0.000218</c:v>
                </c:pt>
                <c:pt idx="2">
                  <c:v>4.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629</c:v>
                </c:pt>
                <c:pt idx="1">
                  <c:v>0.002916</c:v>
                </c:pt>
                <c:pt idx="2">
                  <c:v>0.0006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99</c:v>
                </c:pt>
                <c:pt idx="1">
                  <c:v>0.001916</c:v>
                </c:pt>
                <c:pt idx="2">
                  <c:v>0.0005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8018</c:v>
                </c:pt>
                <c:pt idx="1">
                  <c:v>0.026038</c:v>
                </c:pt>
                <c:pt idx="2">
                  <c:v>0.0071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9</a:t>
                    </a:r>
                  </a:p>
                </c:rich>
              </c:tx>
              <c:showLegendKey val="0"/>
              <c:showVal val="1"/>
              <c:showCatName val="0"/>
              <c:showSerName val="0"/>
              <c:showPercent val="0"/>
              <c:showBubbleSize val="0"/>
            </c:dLbl>
            <c:dLbl>
              <c:idx val="2"/>
              <c:tx>
                <c:rich>
                  <a:bodyPr/>
                  <a:lstStyle/>
                  <a:p>
                    <a:r>
                      <a:rPr>
                        <a:solidFill>
                          <a:srgbClr val="FFFFFF"/>
                        </a:solidFill>
                      </a:rPr>
                      <a:t>1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37728</c:v>
                </c:pt>
                <c:pt idx="1">
                  <c:v>23.943911</c:v>
                </c:pt>
                <c:pt idx="2">
                  <c:v>11.8024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58911</c:v>
                </c:pt>
                <c:pt idx="1">
                  <c:v>2.801588</c:v>
                </c:pt>
                <c:pt idx="2">
                  <c:v>1.41370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89745</c:v>
                </c:pt>
                <c:pt idx="1">
                  <c:v>1.278907</c:v>
                </c:pt>
                <c:pt idx="2">
                  <c:v>0.5573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0</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7.478251</c:v>
                </c:pt>
                <c:pt idx="1">
                  <c:v>19.024683</c:v>
                </c:pt>
                <c:pt idx="2">
                  <c:v>10.05584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07528</c:v>
                </c:pt>
                <c:pt idx="1">
                  <c:v>0.996303</c:v>
                </c:pt>
                <c:pt idx="2">
                  <c:v>0.50493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520174</c:v>
                </c:pt>
                <c:pt idx="1">
                  <c:v>5.721334</c:v>
                </c:pt>
                <c:pt idx="2">
                  <c:v>2.65418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725617</c:v>
                </c:pt>
                <c:pt idx="1">
                  <c:v>3.75325</c:v>
                </c:pt>
                <c:pt idx="2">
                  <c:v>1.64248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6843</c:v>
                </c:pt>
                <c:pt idx="1">
                  <c:v>0.191626</c:v>
                </c:pt>
                <c:pt idx="2">
                  <c:v>0.07925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5.5</a:t>
                    </a:r>
                  </a:p>
                </c:rich>
              </c:tx>
              <c:showLegendKey val="0"/>
              <c:showVal val="1"/>
              <c:showCatName val="0"/>
              <c:showSerName val="0"/>
              <c:showPercent val="0"/>
              <c:showBubbleSize val="0"/>
            </c:dLbl>
            <c:dLbl>
              <c:idx val="2"/>
              <c:tx>
                <c:rich>
                  <a:bodyPr/>
                  <a:lstStyle/>
                  <a:p>
                    <a:r>
                      <a:rPr>
                        <a:solidFill>
                          <a:srgbClr val="FFFFFF"/>
                        </a:solidFill>
                      </a:rPr>
                      <a:t>3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1.980418</c:v>
                </c:pt>
                <c:pt idx="1">
                  <c:v>75.525285</c:v>
                </c:pt>
                <c:pt idx="2">
                  <c:v>36.8824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56.0</a:t>
                    </a:r>
                  </a:p>
                </c:rich>
              </c:tx>
              <c:showLegendKey val="0"/>
              <c:showVal val="1"/>
              <c:showCatName val="0"/>
              <c:showSerName val="0"/>
              <c:showPercent val="0"/>
              <c:showBubbleSize val="0"/>
            </c:dLbl>
            <c:dLbl>
              <c:idx val="1"/>
              <c:tx>
                <c:rich>
                  <a:bodyPr/>
                  <a:lstStyle/>
                  <a:p>
                    <a:r>
                      <a:rPr>
                        <a:solidFill>
                          <a:srgbClr val="FFFFFF"/>
                        </a:solidFill>
                      </a:rPr>
                      <a:t>134.8</a:t>
                    </a:r>
                  </a:p>
                </c:rich>
              </c:tx>
              <c:showLegendKey val="0"/>
              <c:showVal val="1"/>
              <c:showCatName val="0"/>
              <c:showSerName val="0"/>
              <c:showPercent val="0"/>
              <c:showBubbleSize val="0"/>
            </c:dLbl>
            <c:dLbl>
              <c:idx val="2"/>
              <c:tx>
                <c:rich>
                  <a:bodyPr/>
                  <a:lstStyle/>
                  <a:p>
                    <a:r>
                      <a:rPr>
                        <a:solidFill>
                          <a:srgbClr val="FFFFFF"/>
                        </a:solidFill>
                      </a:rPr>
                      <a:t>6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6.012961</c:v>
                </c:pt>
                <c:pt idx="1">
                  <c:v>134.840931</c:v>
                </c:pt>
                <c:pt idx="2">
                  <c:v>67.1678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a:solidFill>
                          <a:srgbClr val="FFFFFF"/>
                        </a:solidFill>
                      </a:rPr>
                      <a:t>34.8</a:t>
                    </a:r>
                  </a:p>
                </c:rich>
              </c:tx>
              <c:showLegendKey val="0"/>
              <c:showVal val="1"/>
              <c:showCatName val="0"/>
              <c:showSerName val="0"/>
              <c:showPercent val="0"/>
              <c:showBubbleSize val="0"/>
            </c:dLbl>
            <c:dLbl>
              <c:idx val="1"/>
              <c:tx>
                <c:rich>
                  <a:bodyPr/>
                  <a:lstStyle/>
                  <a:p>
                    <a:r>
                      <a:rPr>
                        <a:solidFill>
                          <a:srgbClr val="FFFFFF"/>
                        </a:solidFill>
                      </a:rPr>
                      <a:t>83.0</a:t>
                    </a:r>
                  </a:p>
                </c:rich>
              </c:tx>
              <c:showLegendKey val="0"/>
              <c:showVal val="1"/>
              <c:showCatName val="0"/>
              <c:showSerName val="0"/>
              <c:showPercent val="0"/>
              <c:showBubbleSize val="0"/>
            </c:dLbl>
            <c:dLbl>
              <c:idx val="2"/>
              <c:tx>
                <c:rich>
                  <a:bodyPr/>
                  <a:lstStyle/>
                  <a:p>
                    <a:r>
                      <a:rPr>
                        <a:solidFill>
                          <a:srgbClr val="FFFFFF"/>
                        </a:solidFill>
                      </a:rPr>
                      <a:t>4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4.778773</c:v>
                </c:pt>
                <c:pt idx="1">
                  <c:v>82.967833</c:v>
                </c:pt>
                <c:pt idx="2">
                  <c:v>41.31132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tx>
                <c:rich>
                  <a:bodyPr/>
                  <a:lstStyle/>
                  <a:p>
                    <a:r>
                      <a:rPr>
                        <a:solidFill>
                          <a:srgbClr val="FFFFFF"/>
                        </a:solidFill>
                      </a:rPr>
                      <a:t>19.2</a:t>
                    </a:r>
                  </a:p>
                </c:rich>
              </c:tx>
              <c:showLegendKey val="0"/>
              <c:showVal val="1"/>
              <c:showCatName val="0"/>
              <c:showSerName val="0"/>
              <c:showPercent val="0"/>
              <c:showBubbleSize val="0"/>
            </c:dLbl>
            <c:dLbl>
              <c:idx val="1"/>
              <c:tx>
                <c:rich>
                  <a:bodyPr/>
                  <a:lstStyle/>
                  <a:p>
                    <a:r>
                      <a:rPr>
                        <a:solidFill>
                          <a:srgbClr val="FFFFFF"/>
                        </a:solidFill>
                      </a:rPr>
                      <a:t>42.4</a:t>
                    </a:r>
                  </a:p>
                </c:rich>
              </c:tx>
              <c:showLegendKey val="0"/>
              <c:showVal val="1"/>
              <c:showCatName val="0"/>
              <c:showSerName val="0"/>
              <c:showPercent val="0"/>
              <c:showBubbleSize val="0"/>
            </c:dLbl>
            <c:dLbl>
              <c:idx val="2"/>
              <c:tx>
                <c:rich>
                  <a:bodyPr/>
                  <a:lstStyle/>
                  <a:p>
                    <a:r>
                      <a:rPr>
                        <a:solidFill>
                          <a:srgbClr val="FFFFFF"/>
                        </a:solidFill>
                      </a:rPr>
                      <a:t>1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9.200569</c:v>
                </c:pt>
                <c:pt idx="1">
                  <c:v>42.432434</c:v>
                </c:pt>
                <c:pt idx="2">
                  <c:v>18.9632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tx>
                <c:rich>
                  <a:bodyPr/>
                  <a:lstStyle/>
                  <a:p>
                    <a:r>
                      <a:rPr>
                        <a:solidFill>
                          <a:srgbClr val="FFFFFF"/>
                        </a:solidFill>
                      </a:rPr>
                      <a:t>16.5</a:t>
                    </a:r>
                  </a:p>
                </c:rich>
              </c:tx>
              <c:showLegendKey val="0"/>
              <c:showVal val="1"/>
              <c:showCatName val="0"/>
              <c:showSerName val="0"/>
              <c:showPercent val="0"/>
              <c:showBubbleSize val="0"/>
            </c:dLbl>
            <c:dLbl>
              <c:idx val="1"/>
              <c:tx>
                <c:rich>
                  <a:bodyPr/>
                  <a:lstStyle/>
                  <a:p>
                    <a:r>
                      <a:rPr>
                        <a:solidFill>
                          <a:srgbClr val="FFFFFF"/>
                        </a:solidFill>
                      </a:rPr>
                      <a:t>39.5</a:t>
                    </a:r>
                  </a:p>
                </c:rich>
              </c:tx>
              <c:showLegendKey val="0"/>
              <c:showVal val="1"/>
              <c:showCatName val="0"/>
              <c:showSerName val="0"/>
              <c:showPercent val="0"/>
              <c:showBubbleSize val="0"/>
            </c:dLbl>
            <c:dLbl>
              <c:idx val="2"/>
              <c:tx>
                <c:rich>
                  <a:bodyPr/>
                  <a:lstStyle/>
                  <a:p>
                    <a:r>
                      <a:rPr>
                        <a:solidFill>
                          <a:srgbClr val="FFFFFF"/>
                        </a:solidFill>
                      </a:rPr>
                      <a:t>1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48977</c:v>
                </c:pt>
                <c:pt idx="1">
                  <c:v>39.549785</c:v>
                </c:pt>
                <c:pt idx="2">
                  <c:v>19.61789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8</a:t>
                    </a:r>
                  </a:p>
                </c:rich>
              </c:tx>
              <c:showLegendKey val="0"/>
              <c:showVal val="1"/>
              <c:showCatName val="0"/>
              <c:showSerName val="0"/>
              <c:showPercent val="0"/>
              <c:showBubbleSize val="0"/>
            </c:dLbl>
            <c:dLbl>
              <c:idx val="2"/>
              <c:tx>
                <c:rich>
                  <a:bodyPr/>
                  <a:lstStyle/>
                  <a:p>
                    <a:r>
                      <a:rPr>
                        <a:solidFill>
                          <a:srgbClr val="FFFFFF"/>
                        </a:solidFill>
                      </a:rPr>
                      <a:t>2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5.587246</c:v>
                </c:pt>
                <c:pt idx="1">
                  <c:v>38.782579</c:v>
                </c:pt>
                <c:pt idx="2">
                  <c:v>20.03201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37.0</a:t>
                    </a:r>
                  </a:p>
                </c:rich>
              </c:tx>
              <c:showLegendKey val="0"/>
              <c:showVal val="1"/>
              <c:showCatName val="0"/>
              <c:showSerName val="0"/>
              <c:showPercent val="0"/>
              <c:showBubbleSize val="0"/>
            </c:dLbl>
            <c:dLbl>
              <c:idx val="2"/>
              <c:tx>
                <c:rich>
                  <a:bodyPr/>
                  <a:lstStyle/>
                  <a:p>
                    <a:r>
                      <a:rPr>
                        <a:solidFill>
                          <a:srgbClr val="FFFFFF"/>
                        </a:solidFill>
                      </a:rPr>
                      <a:t>1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6.018488</c:v>
                </c:pt>
                <c:pt idx="1">
                  <c:v>36.96891</c:v>
                </c:pt>
                <c:pt idx="2">
                  <c:v>17.51282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tx>
                <c:rich>
                  <a:bodyPr/>
                  <a:lstStyle/>
                  <a:p>
                    <a:r>
                      <a:rPr>
                        <a:solidFill>
                          <a:srgbClr val="FFFFFF"/>
                        </a:solidFill>
                      </a:rPr>
                      <a:t>14.9</a:t>
                    </a:r>
                  </a:p>
                </c:rich>
              </c:tx>
              <c:showLegendKey val="0"/>
              <c:showVal val="1"/>
              <c:showCatName val="0"/>
              <c:showSerName val="0"/>
              <c:showPercent val="0"/>
              <c:showBubbleSize val="0"/>
            </c:dLbl>
            <c:dLbl>
              <c:idx val="1"/>
              <c:tx>
                <c:rich>
                  <a:bodyPr/>
                  <a:lstStyle/>
                  <a:p>
                    <a:r>
                      <a:rPr>
                        <a:solidFill>
                          <a:srgbClr val="FFFFFF"/>
                        </a:solidFill>
                      </a:rPr>
                      <a:t>31.4</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874178</c:v>
                </c:pt>
                <c:pt idx="1">
                  <c:v>31.416822</c:v>
                </c:pt>
                <c:pt idx="2">
                  <c:v>13.16224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658727</c:v>
                </c:pt>
                <c:pt idx="1">
                  <c:v>6.103799</c:v>
                </c:pt>
                <c:pt idx="2">
                  <c:v>2.5303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315.8</a:t>
                    </a:r>
                  </a:p>
                </c:rich>
              </c:tx>
              <c:showLegendKey val="0"/>
              <c:showVal val="1"/>
              <c:showCatName val="0"/>
              <c:showSerName val="0"/>
              <c:showPercent val="0"/>
              <c:showBubbleSize val="0"/>
            </c:dLbl>
            <c:dLbl>
              <c:idx val="1"/>
              <c:tx>
                <c:rich>
                  <a:bodyPr/>
                  <a:lstStyle/>
                  <a:p>
                    <a:r>
                      <a:rPr>
                        <a:solidFill>
                          <a:srgbClr val="FFFFFF"/>
                        </a:solidFill>
                      </a:rPr>
                      <a:t>733.3</a:t>
                    </a:r>
                  </a:p>
                </c:rich>
              </c:tx>
              <c:showLegendKey val="0"/>
              <c:showVal val="1"/>
              <c:showCatName val="0"/>
              <c:showSerName val="0"/>
              <c:showPercent val="0"/>
              <c:showBubbleSize val="0"/>
            </c:dLbl>
            <c:dLbl>
              <c:idx val="2"/>
              <c:tx>
                <c:rich>
                  <a:bodyPr/>
                  <a:lstStyle/>
                  <a:p>
                    <a:r>
                      <a:rPr>
                        <a:solidFill>
                          <a:srgbClr val="FFFFFF"/>
                        </a:solidFill>
                      </a:rPr>
                      <a:t>35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15.756705</c:v>
                </c:pt>
                <c:pt idx="1">
                  <c:v>733.322161</c:v>
                </c:pt>
                <c:pt idx="2">
                  <c:v>354.6877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42</c:v>
                </c:pt>
                <c:pt idx="1">
                  <c:v>0.017998</c:v>
                </c:pt>
                <c:pt idx="2">
                  <c:v>0.00565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641</c:v>
                </c:pt>
                <c:pt idx="1">
                  <c:v>0.007471</c:v>
                </c:pt>
                <c:pt idx="2">
                  <c:v>0.0025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87</c:v>
                </c:pt>
                <c:pt idx="1">
                  <c:v>0.004982</c:v>
                </c:pt>
                <c:pt idx="2">
                  <c:v>0.00284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1257</c:v>
                </c:pt>
                <c:pt idx="1">
                  <c:v>0.011348</c:v>
                </c:pt>
                <c:pt idx="2">
                  <c:v>0.0051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564</c:v>
                </c:pt>
                <c:pt idx="1">
                  <c:v>0.001798</c:v>
                </c:pt>
                <c:pt idx="2">
                  <c:v>0.00082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6029</c:v>
                </c:pt>
                <c:pt idx="1">
                  <c:v>0.005295</c:v>
                </c:pt>
                <c:pt idx="2">
                  <c:v>0.0024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147</c:v>
                </c:pt>
                <c:pt idx="1">
                  <c:v>0.004818</c:v>
                </c:pt>
                <c:pt idx="2">
                  <c:v>0.00219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634</c:v>
                </c:pt>
                <c:pt idx="1">
                  <c:v>0.000457</c:v>
                </c:pt>
                <c:pt idx="2">
                  <c:v>0.00021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559</c:v>
                </c:pt>
                <c:pt idx="1">
                  <c:v>0.0019</c:v>
                </c:pt>
                <c:pt idx="2">
                  <c:v>0.00080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56604</c:v>
                </c:pt>
                <c:pt idx="1">
                  <c:v>0.049627</c:v>
                </c:pt>
                <c:pt idx="2">
                  <c:v>0.0211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46217</c:v>
                </c:pt>
                <c:pt idx="1">
                  <c:v>1.803667</c:v>
                </c:pt>
                <c:pt idx="2">
                  <c:v>0.5880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57008</c:v>
                </c:pt>
                <c:pt idx="1">
                  <c:v>0.496947</c:v>
                </c:pt>
                <c:pt idx="2">
                  <c:v>0.1762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99454</c:v>
                </c:pt>
                <c:pt idx="1">
                  <c:v>0.335036</c:v>
                </c:pt>
                <c:pt idx="2">
                  <c:v>0.17962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46498</c:v>
                </c:pt>
                <c:pt idx="1">
                  <c:v>0.360491</c:v>
                </c:pt>
                <c:pt idx="2">
                  <c:v>0.16424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13978</c:v>
                </c:pt>
                <c:pt idx="1">
                  <c:v>0.216769</c:v>
                </c:pt>
                <c:pt idx="2">
                  <c:v>0.0960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40059</c:v>
                </c:pt>
                <c:pt idx="1">
                  <c:v>0.223757</c:v>
                </c:pt>
                <c:pt idx="2">
                  <c:v>0.10382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50171</c:v>
                </c:pt>
                <c:pt idx="1">
                  <c:v>0.20514</c:v>
                </c:pt>
                <c:pt idx="2">
                  <c:v>0.09498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0796</c:v>
                </c:pt>
                <c:pt idx="1">
                  <c:v>0.172724</c:v>
                </c:pt>
                <c:pt idx="2">
                  <c:v>0.07915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16178</c:v>
                </c:pt>
                <c:pt idx="1">
                  <c:v>0.173426</c:v>
                </c:pt>
                <c:pt idx="2">
                  <c:v>0.06846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331039</c:v>
                </c:pt>
                <c:pt idx="1">
                  <c:v>2.078673</c:v>
                </c:pt>
                <c:pt idx="2">
                  <c:v>0.89021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596</c:v>
                </c:pt>
                <c:pt idx="1">
                  <c:v>0.011745</c:v>
                </c:pt>
                <c:pt idx="2">
                  <c:v>0.00374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626</c:v>
                </c:pt>
                <c:pt idx="1">
                  <c:v>0.008654</c:v>
                </c:pt>
                <c:pt idx="2">
                  <c:v>0.00306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01</c:v>
                </c:pt>
                <c:pt idx="1">
                  <c:v>0.003894</c:v>
                </c:pt>
                <c:pt idx="2">
                  <c:v>0.00108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974</c:v>
                </c:pt>
                <c:pt idx="1">
                  <c:v>0.003256</c:v>
                </c:pt>
                <c:pt idx="2">
                  <c:v>0.0013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111</c:v>
                </c:pt>
                <c:pt idx="1">
                  <c:v>0.001894</c:v>
                </c:pt>
                <c:pt idx="2">
                  <c:v>0.00071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147</c:v>
                </c:pt>
                <c:pt idx="1">
                  <c:v>0.002916</c:v>
                </c:pt>
                <c:pt idx="2">
                  <c:v>0.00078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057</c:v>
                </c:pt>
                <c:pt idx="1">
                  <c:v>0.002055</c:v>
                </c:pt>
                <c:pt idx="2">
                  <c:v>0.00066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755</c:v>
                </c:pt>
                <c:pt idx="1">
                  <c:v>0.001782</c:v>
                </c:pt>
                <c:pt idx="2">
                  <c:v>0.00048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32</c:v>
                </c:pt>
                <c:pt idx="1">
                  <c:v>0.001097</c:v>
                </c:pt>
                <c:pt idx="2">
                  <c:v>0.0003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2386</c:v>
                </c:pt>
                <c:pt idx="1">
                  <c:v>0.039952</c:v>
                </c:pt>
                <c:pt idx="2">
                  <c:v>0.0118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31353</c:v>
                </c:pt>
                <c:pt idx="1">
                  <c:v>1.14481</c:v>
                </c:pt>
                <c:pt idx="2">
                  <c:v>0.3833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8656</c:v>
                </c:pt>
                <c:pt idx="1">
                  <c:v>0.278563</c:v>
                </c:pt>
                <c:pt idx="2">
                  <c:v>0.09826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392</c:v>
                </c:pt>
                <c:pt idx="1">
                  <c:v>0.258917</c:v>
                </c:pt>
                <c:pt idx="2">
                  <c:v>0.076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0802</c:v>
                </c:pt>
                <c:pt idx="1">
                  <c:v>0.138544</c:v>
                </c:pt>
                <c:pt idx="2">
                  <c:v>0.05556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5192</c:v>
                </c:pt>
                <c:pt idx="1">
                  <c:v>0.125463</c:v>
                </c:pt>
                <c:pt idx="2">
                  <c:v>0.04641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9821</c:v>
                </c:pt>
                <c:pt idx="1">
                  <c:v>0.125461</c:v>
                </c:pt>
                <c:pt idx="2">
                  <c:v>0.03399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49947</c:v>
                </c:pt>
                <c:pt idx="1">
                  <c:v>0.082237</c:v>
                </c:pt>
                <c:pt idx="2">
                  <c:v>0.02541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09022</c:v>
                </c:pt>
                <c:pt idx="1">
                  <c:v>0.117634</c:v>
                </c:pt>
                <c:pt idx="2">
                  <c:v>0.03030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20419</c:v>
                </c:pt>
                <c:pt idx="1">
                  <c:v>0.100432</c:v>
                </c:pt>
                <c:pt idx="2">
                  <c:v>0.0357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505021</c:v>
                </c:pt>
                <c:pt idx="1">
                  <c:v>1.397665</c:v>
                </c:pt>
                <c:pt idx="2">
                  <c:v>0.4353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0261</c:v>
                </c:pt>
                <c:pt idx="1">
                  <c:v>0.126574</c:v>
                </c:pt>
                <c:pt idx="2">
                  <c:v>0.03837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794</c:v>
                </c:pt>
                <c:pt idx="1">
                  <c:v>0.127152</c:v>
                </c:pt>
                <c:pt idx="2">
                  <c:v>0.0553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5478</c:v>
                </c:pt>
                <c:pt idx="1">
                  <c:v>0.05945</c:v>
                </c:pt>
                <c:pt idx="2">
                  <c:v>0.02010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824</c:v>
                </c:pt>
                <c:pt idx="1">
                  <c:v>0.059178</c:v>
                </c:pt>
                <c:pt idx="2">
                  <c:v>0.02703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9543</c:v>
                </c:pt>
                <c:pt idx="1">
                  <c:v>0.034452</c:v>
                </c:pt>
                <c:pt idx="2">
                  <c:v>0.01754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4945</c:v>
                </c:pt>
                <c:pt idx="1">
                  <c:v>0.042718</c:v>
                </c:pt>
                <c:pt idx="2">
                  <c:v>0.01868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6068</c:v>
                </c:pt>
                <c:pt idx="1">
                  <c:v>0.035384</c:v>
                </c:pt>
                <c:pt idx="2">
                  <c:v>0.01329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304</c:v>
                </c:pt>
                <c:pt idx="1">
                  <c:v>0.014251</c:v>
                </c:pt>
                <c:pt idx="2">
                  <c:v>0.00609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385</c:v>
                </c:pt>
                <c:pt idx="1">
                  <c:v>0.026621</c:v>
                </c:pt>
                <c:pt idx="2">
                  <c:v>0.0100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52684</c:v>
                </c:pt>
                <c:pt idx="1">
                  <c:v>0.515136</c:v>
                </c:pt>
                <c:pt idx="2">
                  <c:v>0.214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3</a:t>
                    </a:r>
                  </a:p>
                </c:rich>
              </c:tx>
              <c:showLegendKey val="0"/>
              <c:showVal val="1"/>
              <c:showCatName val="0"/>
              <c:showSerName val="0"/>
              <c:showPercent val="0"/>
              <c:showBubbleSize val="0"/>
            </c:dLbl>
            <c:dLbl>
              <c:idx val="1"/>
              <c:tx>
                <c:rich>
                  <a:bodyPr/>
                  <a:lstStyle/>
                  <a:p>
                    <a:r>
                      <a:rPr>
                        <a:solidFill>
                          <a:srgbClr val="FFFFFF"/>
                        </a:solidFill>
                      </a:rPr>
                      <a:t>11.8</a:t>
                    </a:r>
                  </a:p>
                </c:rich>
              </c:tx>
              <c:showLegendKey val="0"/>
              <c:showVal val="1"/>
              <c:showCatName val="0"/>
              <c:showSerName val="0"/>
              <c:showPercent val="0"/>
              <c:showBubbleSize val="0"/>
            </c:dLbl>
            <c:dLbl>
              <c:idx val="2"/>
              <c:tx>
                <c:rich>
                  <a:bodyPr/>
                  <a:lstStyle/>
                  <a:p>
                    <a:r>
                      <a:rPr>
                        <a:solidFill>
                          <a:srgbClr val="FFFFFF"/>
                        </a:solidFill>
                      </a:rPr>
                      <a:t>3.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273636</c:v>
                </c:pt>
                <c:pt idx="1">
                  <c:v>11.782416</c:v>
                </c:pt>
                <c:pt idx="2">
                  <c:v>3.7121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69691</c:v>
                </c:pt>
                <c:pt idx="1">
                  <c:v>4.05903</c:v>
                </c:pt>
                <c:pt idx="2">
                  <c:v>1.7685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163253</c:v>
                </c:pt>
                <c:pt idx="1">
                  <c:v>3.86</c:v>
                </c:pt>
                <c:pt idx="2">
                  <c:v>1.37367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96281</c:v>
                </c:pt>
                <c:pt idx="1">
                  <c:v>2.487287</c:v>
                </c:pt>
                <c:pt idx="2">
                  <c:v>1.13780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632076</c:v>
                </c:pt>
                <c:pt idx="1">
                  <c:v>2.251432</c:v>
                </c:pt>
                <c:pt idx="2">
                  <c:v>1.08735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206439</c:v>
                </c:pt>
                <c:pt idx="1">
                  <c:v>1.806399</c:v>
                </c:pt>
                <c:pt idx="2">
                  <c:v>0.80266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460682</c:v>
                </c:pt>
                <c:pt idx="1">
                  <c:v>1.417028</c:v>
                </c:pt>
                <c:pt idx="2">
                  <c:v>0.50909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942381</c:v>
                </c:pt>
                <c:pt idx="1">
                  <c:v>1.504826</c:v>
                </c:pt>
                <c:pt idx="2">
                  <c:v>0.63390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656057</c:v>
                </c:pt>
                <c:pt idx="1">
                  <c:v>1.365398</c:v>
                </c:pt>
                <c:pt idx="2">
                  <c:v>0.53752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2.0</a:t>
                    </a:r>
                  </a:p>
                </c:rich>
              </c:tx>
              <c:showLegendKey val="0"/>
              <c:showVal val="1"/>
              <c:showCatName val="0"/>
              <c:showSerName val="0"/>
              <c:showPercent val="0"/>
              <c:showBubbleSize val="0"/>
            </c:dLbl>
            <c:dLbl>
              <c:idx val="1"/>
              <c:tx>
                <c:rich>
                  <a:bodyPr/>
                  <a:lstStyle/>
                  <a:p>
                    <a:r>
                      <a:rPr>
                        <a:solidFill>
                          <a:srgbClr val="FFFFFF"/>
                        </a:solidFill>
                      </a:rPr>
                      <a:t>20.1</a:t>
                    </a:r>
                  </a:p>
                </c:rich>
              </c:tx>
              <c:showLegendKey val="0"/>
              <c:showVal val="1"/>
              <c:showCatName val="0"/>
              <c:showSerName val="0"/>
              <c:showPercent val="0"/>
              <c:showBubbleSize val="0"/>
            </c:dLbl>
            <c:dLbl>
              <c:idx val="2"/>
              <c:tx>
                <c:rich>
                  <a:bodyPr/>
                  <a:lstStyle/>
                  <a:p>
                    <a:r>
                      <a:rPr>
                        <a:solidFill>
                          <a:srgbClr val="FFFFFF"/>
                        </a:solidFill>
                      </a:rPr>
                      <a:t>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2.035554</c:v>
                </c:pt>
                <c:pt idx="1">
                  <c:v>20.111675</c:v>
                </c:pt>
                <c:pt idx="2">
                  <c:v>8.14104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778</c:v>
                </c:pt>
                <c:pt idx="1">
                  <c:v>0.020727</c:v>
                </c:pt>
                <c:pt idx="2">
                  <c:v>0.0061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18</c:v>
                </c:pt>
                <c:pt idx="1">
                  <c:v>0.021985</c:v>
                </c:pt>
                <c:pt idx="2">
                  <c:v>0.00779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85</c:v>
                </c:pt>
                <c:pt idx="1">
                  <c:v>0.008306</c:v>
                </c:pt>
                <c:pt idx="2">
                  <c:v>0.00217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634</c:v>
                </c:pt>
                <c:pt idx="1">
                  <c:v>0.004921</c:v>
                </c:pt>
                <c:pt idx="2">
                  <c:v>0.00194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9713</c:v>
                </c:pt>
                <c:pt idx="1">
                  <c:v>0.005617</c:v>
                </c:pt>
                <c:pt idx="2">
                  <c:v>0.0014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63</c:v>
                </c:pt>
                <c:pt idx="1">
                  <c:v>0.002343</c:v>
                </c:pt>
                <c:pt idx="2">
                  <c:v>0.00080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5986</c:v>
                </c:pt>
                <c:pt idx="1">
                  <c:v>0.005127</c:v>
                </c:pt>
                <c:pt idx="2">
                  <c:v>0.0021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5938</c:v>
                </c:pt>
                <c:pt idx="1">
                  <c:v>0.004524</c:v>
                </c:pt>
                <c:pt idx="2">
                  <c:v>0.00173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515</c:v>
                </c:pt>
                <c:pt idx="1">
                  <c:v>0.000515</c:v>
                </c:pt>
                <c:pt idx="2">
                  <c:v>0.00021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68516</c:v>
                </c:pt>
                <c:pt idx="1">
                  <c:v>0.064724</c:v>
                </c:pt>
                <c:pt idx="2">
                  <c:v>0.02326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61488</c:v>
                </c:pt>
                <c:pt idx="1">
                  <c:v>1.986854</c:v>
                </c:pt>
                <c:pt idx="2">
                  <c:v>0.6090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467</c:v>
                </c:pt>
                <c:pt idx="1">
                  <c:v>0.695752</c:v>
                </c:pt>
                <c:pt idx="2">
                  <c:v>0.24862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35444</c:v>
                </c:pt>
                <c:pt idx="1">
                  <c:v>0.539915</c:v>
                </c:pt>
                <c:pt idx="2">
                  <c:v>0.1501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80209</c:v>
                </c:pt>
                <c:pt idx="1">
                  <c:v>0.328353</c:v>
                </c:pt>
                <c:pt idx="2">
                  <c:v>0.12702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59415</c:v>
                </c:pt>
                <c:pt idx="1">
                  <c:v>0.222583</c:v>
                </c:pt>
                <c:pt idx="2">
                  <c:v>0.05741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52409</c:v>
                </c:pt>
                <c:pt idx="1">
                  <c:v>0.251401</c:v>
                </c:pt>
                <c:pt idx="2">
                  <c:v>0.08771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4021</c:v>
                </c:pt>
                <c:pt idx="1">
                  <c:v>0.216432</c:v>
                </c:pt>
                <c:pt idx="2">
                  <c:v>0.09105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1823</c:v>
                </c:pt>
                <c:pt idx="1">
                  <c:v>0.194067</c:v>
                </c:pt>
                <c:pt idx="2">
                  <c:v>0.0755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98431</c:v>
                </c:pt>
                <c:pt idx="1">
                  <c:v>0.185721</c:v>
                </c:pt>
                <c:pt idx="2">
                  <c:v>0.07316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606972</c:v>
                </c:pt>
                <c:pt idx="1">
                  <c:v>2.430491</c:v>
                </c:pt>
                <c:pt idx="2">
                  <c:v>0.85294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7891</c:v>
                </c:pt>
                <c:pt idx="1">
                  <c:v>0.028543</c:v>
                </c:pt>
                <c:pt idx="2">
                  <c:v>0.00862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325</c:v>
                </c:pt>
                <c:pt idx="1">
                  <c:v>0.034233</c:v>
                </c:pt>
                <c:pt idx="2">
                  <c:v>0.0145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5622</c:v>
                </c:pt>
                <c:pt idx="1">
                  <c:v>0.013592</c:v>
                </c:pt>
                <c:pt idx="2">
                  <c:v>0.0044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862</c:v>
                </c:pt>
                <c:pt idx="1">
                  <c:v>0.014712</c:v>
                </c:pt>
                <c:pt idx="2">
                  <c:v>0.0063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393</c:v>
                </c:pt>
                <c:pt idx="1">
                  <c:v>0.009627</c:v>
                </c:pt>
                <c:pt idx="2">
                  <c:v>0.00299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8194</c:v>
                </c:pt>
                <c:pt idx="1">
                  <c:v>0.006711</c:v>
                </c:pt>
                <c:pt idx="2">
                  <c:v>0.00322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2139</c:v>
                </c:pt>
                <c:pt idx="1">
                  <c:v>0.009481</c:v>
                </c:pt>
                <c:pt idx="2">
                  <c:v>0.00370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1491</c:v>
                </c:pt>
                <c:pt idx="1">
                  <c:v>0.008859</c:v>
                </c:pt>
                <c:pt idx="2">
                  <c:v>0.00322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426</c:v>
                </c:pt>
                <c:pt idx="1">
                  <c:v>0.006926</c:v>
                </c:pt>
                <c:pt idx="2">
                  <c:v>0.00237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45568</c:v>
                </c:pt>
                <c:pt idx="1">
                  <c:v>0.13134</c:v>
                </c:pt>
                <c:pt idx="2">
                  <c:v>0.051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37346</c:v>
                </c:pt>
                <c:pt idx="1">
                  <c:v>2.622209</c:v>
                </c:pt>
                <c:pt idx="2">
                  <c:v>0.8182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00399</c:v>
                </c:pt>
                <c:pt idx="1">
                  <c:v>1.104139</c:v>
                </c:pt>
                <c:pt idx="2">
                  <c:v>0.46323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85244</c:v>
                </c:pt>
                <c:pt idx="1">
                  <c:v>0.874598</c:v>
                </c:pt>
                <c:pt idx="2">
                  <c:v>0.29836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48291</c:v>
                </c:pt>
                <c:pt idx="1">
                  <c:v>0.623171</c:v>
                </c:pt>
                <c:pt idx="2">
                  <c:v>0.2661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84856</c:v>
                </c:pt>
                <c:pt idx="1">
                  <c:v>0.384471</c:v>
                </c:pt>
                <c:pt idx="2">
                  <c:v>0.11471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543459</c:v>
                </c:pt>
                <c:pt idx="1">
                  <c:v>0.433524</c:v>
                </c:pt>
                <c:pt idx="2">
                  <c:v>0.20008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90289</c:v>
                </c:pt>
                <c:pt idx="1">
                  <c:v>0.404501</c:v>
                </c:pt>
                <c:pt idx="2">
                  <c:v>0.16167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428861</c:v>
                </c:pt>
                <c:pt idx="1">
                  <c:v>0.363678</c:v>
                </c:pt>
                <c:pt idx="2">
                  <c:v>0.13614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11524</c:v>
                </c:pt>
                <c:pt idx="1">
                  <c:v>0.359902</c:v>
                </c:pt>
                <c:pt idx="2">
                  <c:v>0.12829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4</a:t>
                    </a:r>
                  </a:p>
                </c:rich>
              </c:tx>
              <c:showLegendKey val="0"/>
              <c:showVal val="1"/>
              <c:showCatName val="0"/>
              <c:showSerName val="0"/>
              <c:showPercent val="0"/>
              <c:showBubbleSize val="0"/>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401552</c:v>
                </c:pt>
                <c:pt idx="1">
                  <c:v>4.714553</c:v>
                </c:pt>
                <c:pt idx="2">
                  <c:v>1.8148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58911</c:v>
                </c:pt>
                <c:pt idx="1">
                  <c:v>2.801588</c:v>
                </c:pt>
                <c:pt idx="2">
                  <c:v>1.41370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89745</c:v>
                </c:pt>
                <c:pt idx="1">
                  <c:v>1.278907</c:v>
                </c:pt>
                <c:pt idx="2">
                  <c:v>0.5573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07528</c:v>
                </c:pt>
                <c:pt idx="1">
                  <c:v>0.996303</c:v>
                </c:pt>
                <c:pt idx="2">
                  <c:v>0.50493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725617</c:v>
                </c:pt>
                <c:pt idx="1">
                  <c:v>3.75325</c:v>
                </c:pt>
                <c:pt idx="2">
                  <c:v>1.64248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67636</c:v>
                </c:pt>
                <c:pt idx="1">
                  <c:v>1.046274</c:v>
                </c:pt>
                <c:pt idx="2">
                  <c:v>0.47615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6155</c:v>
                </c:pt>
                <c:pt idx="1">
                  <c:v>0.287096</c:v>
                </c:pt>
                <c:pt idx="2">
                  <c:v>0.11035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91877</c:v>
                </c:pt>
                <c:pt idx="1">
                  <c:v>0.453826</c:v>
                </c:pt>
                <c:pt idx="2">
                  <c:v>0.22230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67712</c:v>
                </c:pt>
                <c:pt idx="1">
                  <c:v>0.579592</c:v>
                </c:pt>
                <c:pt idx="2">
                  <c:v>0.25441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6843</c:v>
                </c:pt>
                <c:pt idx="1">
                  <c:v>0.191626</c:v>
                </c:pt>
                <c:pt idx="2">
                  <c:v>0.07925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4</a:t>
                    </a:r>
                  </a:p>
                </c:rich>
              </c:tx>
              <c:showLegendKey val="0"/>
              <c:showVal val="1"/>
              <c:showCatName val="0"/>
              <c:showSerName val="0"/>
              <c:showPercent val="0"/>
              <c:showBubbleSize val="0"/>
            </c:dLbl>
            <c:dLbl>
              <c:idx val="2"/>
              <c:tx>
                <c:rich>
                  <a:bodyPr/>
                  <a:lstStyle/>
                  <a:p>
                    <a:r>
                      <a:rPr>
                        <a:solidFill>
                          <a:srgbClr val="FFFFFF"/>
                        </a:solidFill>
                      </a:rPr>
                      <a:t>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005892</c:v>
                </c:pt>
                <c:pt idx="1">
                  <c:v>9.380054</c:v>
                </c:pt>
                <c:pt idx="2">
                  <c:v>4.637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34.8</a:t>
                    </a:r>
                  </a:p>
                </c:rich>
              </c:tx>
              <c:showLegendKey val="0"/>
              <c:showVal val="1"/>
              <c:showCatName val="0"/>
              <c:showSerName val="0"/>
              <c:showPercent val="0"/>
              <c:showBubbleSize val="0"/>
            </c:dLbl>
            <c:dLbl>
              <c:idx val="1"/>
              <c:tx>
                <c:rich>
                  <a:bodyPr/>
                  <a:lstStyle/>
                  <a:p>
                    <a:r>
                      <a:rPr>
                        <a:solidFill>
                          <a:srgbClr val="FFFFFF"/>
                        </a:solidFill>
                      </a:rPr>
                      <a:t>83.0</a:t>
                    </a:r>
                  </a:p>
                </c:rich>
              </c:tx>
              <c:showLegendKey val="0"/>
              <c:showVal val="1"/>
              <c:showCatName val="0"/>
              <c:showSerName val="0"/>
              <c:showPercent val="0"/>
              <c:showBubbleSize val="0"/>
            </c:dLbl>
            <c:dLbl>
              <c:idx val="2"/>
              <c:tx>
                <c:rich>
                  <a:bodyPr/>
                  <a:lstStyle/>
                  <a:p>
                    <a:r>
                      <a:rPr>
                        <a:solidFill>
                          <a:srgbClr val="FFFFFF"/>
                        </a:solidFill>
                      </a:rPr>
                      <a:t>4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4.778773</c:v>
                </c:pt>
                <c:pt idx="1">
                  <c:v>82.967833</c:v>
                </c:pt>
                <c:pt idx="2">
                  <c:v>41.3113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tx>
                <c:rich>
                  <a:bodyPr/>
                  <a:lstStyle/>
                  <a:p>
                    <a:r>
                      <a:rPr>
                        <a:solidFill>
                          <a:srgbClr val="FFFFFF"/>
                        </a:solidFill>
                      </a:rPr>
                      <a:t>19.2</a:t>
                    </a:r>
                  </a:p>
                </c:rich>
              </c:tx>
              <c:showLegendKey val="0"/>
              <c:showVal val="1"/>
              <c:showCatName val="0"/>
              <c:showSerName val="0"/>
              <c:showPercent val="0"/>
              <c:showBubbleSize val="0"/>
            </c:dLbl>
            <c:dLbl>
              <c:idx val="1"/>
              <c:tx>
                <c:rich>
                  <a:bodyPr/>
                  <a:lstStyle/>
                  <a:p>
                    <a:r>
                      <a:rPr>
                        <a:solidFill>
                          <a:srgbClr val="FFFFFF"/>
                        </a:solidFill>
                      </a:rPr>
                      <a:t>42.4</a:t>
                    </a:r>
                  </a:p>
                </c:rich>
              </c:tx>
              <c:showLegendKey val="0"/>
              <c:showVal val="1"/>
              <c:showCatName val="0"/>
              <c:showSerName val="0"/>
              <c:showPercent val="0"/>
              <c:showBubbleSize val="0"/>
            </c:dLbl>
            <c:dLbl>
              <c:idx val="2"/>
              <c:tx>
                <c:rich>
                  <a:bodyPr/>
                  <a:lstStyle/>
                  <a:p>
                    <a:r>
                      <a:rPr>
                        <a:solidFill>
                          <a:srgbClr val="FFFFFF"/>
                        </a:solidFill>
                      </a:rPr>
                      <a:t>1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9.200569</c:v>
                </c:pt>
                <c:pt idx="1">
                  <c:v>42.432434</c:v>
                </c:pt>
                <c:pt idx="2">
                  <c:v>18.96328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8</a:t>
                    </a:r>
                  </a:p>
                </c:rich>
              </c:tx>
              <c:showLegendKey val="0"/>
              <c:showVal val="1"/>
              <c:showCatName val="0"/>
              <c:showSerName val="0"/>
              <c:showPercent val="0"/>
              <c:showBubbleSize val="0"/>
            </c:dLbl>
            <c:dLbl>
              <c:idx val="2"/>
              <c:tx>
                <c:rich>
                  <a:bodyPr/>
                  <a:lstStyle/>
                  <a:p>
                    <a:r>
                      <a:rPr>
                        <a:solidFill>
                          <a:srgbClr val="FFFFFF"/>
                        </a:solidFill>
                      </a:rPr>
                      <a:t>2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587246</c:v>
                </c:pt>
                <c:pt idx="1">
                  <c:v>38.782579</c:v>
                </c:pt>
                <c:pt idx="2">
                  <c:v>20.03201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tx>
                <c:rich>
                  <a:bodyPr/>
                  <a:lstStyle/>
                  <a:p>
                    <a:r>
                      <a:rPr>
                        <a:solidFill>
                          <a:srgbClr val="FFFFFF"/>
                        </a:solidFill>
                      </a:rPr>
                      <a:t>14.9</a:t>
                    </a:r>
                  </a:p>
                </c:rich>
              </c:tx>
              <c:showLegendKey val="0"/>
              <c:showVal val="1"/>
              <c:showCatName val="0"/>
              <c:showSerName val="0"/>
              <c:showPercent val="0"/>
              <c:showBubbleSize val="0"/>
            </c:dLbl>
            <c:dLbl>
              <c:idx val="1"/>
              <c:tx>
                <c:rich>
                  <a:bodyPr/>
                  <a:lstStyle/>
                  <a:p>
                    <a:r>
                      <a:rPr>
                        <a:solidFill>
                          <a:srgbClr val="FFFFFF"/>
                        </a:solidFill>
                      </a:rPr>
                      <a:t>31.4</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4.874178</c:v>
                </c:pt>
                <c:pt idx="1">
                  <c:v>31.416822</c:v>
                </c:pt>
                <c:pt idx="2">
                  <c:v>13.16224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2.216065</c:v>
                </c:pt>
                <c:pt idx="1">
                  <c:v>28.73963</c:v>
                </c:pt>
                <c:pt idx="2">
                  <c:v>13.93731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tx>
                <c:rich>
                  <a:bodyPr/>
                  <a:lstStyle/>
                  <a:p>
                    <a:r>
                      <a:rPr>
                        <a:solidFill>
                          <a:srgbClr val="FFFFFF"/>
                        </a:solidFill>
                      </a:rPr>
                      <a:t>12.4</a:t>
                    </a:r>
                  </a:p>
                </c:rich>
              </c:tx>
              <c:showLegendKey val="0"/>
              <c:showVal val="1"/>
              <c:showCatName val="0"/>
              <c:showSerName val="0"/>
              <c:showPercent val="0"/>
              <c:showBubbleSize val="0"/>
            </c:dLbl>
            <c:dLbl>
              <c:idx val="1"/>
              <c:tx>
                <c:rich>
                  <a:bodyPr/>
                  <a:lstStyle/>
                  <a:p>
                    <a:r>
                      <a:rPr>
                        <a:solidFill>
                          <a:srgbClr val="FFFFFF"/>
                        </a:solidFill>
                      </a:rPr>
                      <a:t>26.2</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400694</c:v>
                </c:pt>
                <c:pt idx="1">
                  <c:v>26.202172</c:v>
                </c:pt>
                <c:pt idx="2">
                  <c:v>10.08882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a:solidFill>
                          <a:srgbClr val="FFFFFF"/>
                        </a:solidFill>
                      </a:rPr>
                      <a:t>9.7</a:t>
                    </a:r>
                  </a:p>
                </c:rich>
              </c:tx>
              <c:showLegendKey val="0"/>
              <c:showVal val="1"/>
              <c:showCatName val="0"/>
              <c:showSerName val="0"/>
              <c:showPercent val="0"/>
              <c:showBubbleSize val="0"/>
            </c:dLbl>
            <c:dLbl>
              <c:idx val="1"/>
              <c:tx>
                <c:rich>
                  <a:bodyPr/>
                  <a:lstStyle/>
                  <a:p>
                    <a:r>
                      <a:rPr>
                        <a:solidFill>
                          <a:srgbClr val="FFFFFF"/>
                        </a:solidFill>
                      </a:rPr>
                      <a:t>23.4</a:t>
                    </a:r>
                  </a:p>
                </c:rich>
              </c:tx>
              <c:showLegendKey val="0"/>
              <c:showVal val="1"/>
              <c:showCatName val="0"/>
              <c:showSerName val="0"/>
              <c:showPercent val="0"/>
              <c:showBubbleSize val="0"/>
            </c:dLbl>
            <c:dLbl>
              <c:idx val="2"/>
              <c:tx>
                <c:rich>
                  <a:bodyPr/>
                  <a:lstStyle/>
                  <a:p>
                    <a:r>
                      <a:rPr>
                        <a:solidFill>
                          <a:srgbClr val="FFFFFF"/>
                        </a:solidFill>
                      </a:rPr>
                      <a:t>1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9.691522</c:v>
                </c:pt>
                <c:pt idx="1">
                  <c:v>23.405218</c:v>
                </c:pt>
                <c:pt idx="2">
                  <c:v>11.73197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tx>
                <c:rich>
                  <a:bodyPr/>
                  <a:lstStyle/>
                  <a:p>
                    <a:r>
                      <a:rPr>
                        <a:solidFill>
                          <a:srgbClr val="FFFFFF"/>
                        </a:solidFill>
                      </a:rPr>
                      <a:t>9.4</a:t>
                    </a:r>
                  </a:p>
                </c:rich>
              </c:tx>
              <c:showLegendKey val="0"/>
              <c:showVal val="1"/>
              <c:showCatName val="0"/>
              <c:showSerName val="0"/>
              <c:showPercent val="0"/>
              <c:showBubbleSize val="0"/>
            </c:dLbl>
            <c:dLbl>
              <c:idx val="1"/>
              <c:tx>
                <c:rich>
                  <a:bodyPr/>
                  <a:lstStyle/>
                  <a:p>
                    <a:r>
                      <a:rPr>
                        <a:solidFill>
                          <a:srgbClr val="FFFFFF"/>
                        </a:solidFill>
                      </a:rPr>
                      <a:t>20.7</a:t>
                    </a:r>
                  </a:p>
                </c:rich>
              </c:tx>
              <c:showLegendKey val="0"/>
              <c:showVal val="1"/>
              <c:showCatName val="0"/>
              <c:showSerName val="0"/>
              <c:showPercent val="0"/>
              <c:showBubbleSize val="0"/>
            </c:dLbl>
            <c:dLbl>
              <c:idx val="2"/>
              <c:tx>
                <c:rich>
                  <a:bodyPr/>
                  <a:lstStyle/>
                  <a:p>
                    <a:r>
                      <a:rPr>
                        <a:solidFill>
                          <a:srgbClr val="FFFFFF"/>
                        </a:solidFill>
                      </a:rPr>
                      <a:t>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9.381984</c:v>
                </c:pt>
                <c:pt idx="1">
                  <c:v>20.732666</c:v>
                </c:pt>
                <c:pt idx="2">
                  <c:v>9.38959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658727</c:v>
                </c:pt>
                <c:pt idx="1">
                  <c:v>6.103799</c:v>
                </c:pt>
                <c:pt idx="2">
                  <c:v>2.5303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24.3</a:t>
                    </a:r>
                  </a:p>
                </c:rich>
              </c:tx>
              <c:showLegendKey val="0"/>
              <c:showVal val="1"/>
              <c:showCatName val="0"/>
              <c:showSerName val="0"/>
              <c:showPercent val="0"/>
              <c:showBubbleSize val="0"/>
            </c:dLbl>
            <c:dLbl>
              <c:idx val="1"/>
              <c:tx>
                <c:rich>
                  <a:bodyPr/>
                  <a:lstStyle/>
                  <a:p>
                    <a:r>
                      <a:rPr>
                        <a:solidFill>
                          <a:srgbClr val="FFFFFF"/>
                        </a:solidFill>
                      </a:rPr>
                      <a:t>279.6</a:t>
                    </a:r>
                  </a:p>
                </c:rich>
              </c:tx>
              <c:showLegendKey val="0"/>
              <c:showVal val="1"/>
              <c:showCatName val="0"/>
              <c:showSerName val="0"/>
              <c:showPercent val="0"/>
              <c:showBubbleSize val="0"/>
            </c:dLbl>
            <c:dLbl>
              <c:idx val="2"/>
              <c:tx>
                <c:rich>
                  <a:bodyPr/>
                  <a:lstStyle/>
                  <a:p>
                    <a:r>
                      <a:rPr>
                        <a:solidFill>
                          <a:srgbClr val="FFFFFF"/>
                        </a:solidFill>
                      </a:rPr>
                      <a:t>13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24.329747</c:v>
                </c:pt>
                <c:pt idx="1">
                  <c:v>279.620515</c:v>
                </c:pt>
                <c:pt idx="2">
                  <c:v>133.5312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917</c:v>
                </c:pt>
                <c:pt idx="1">
                  <c:v>0.020911</c:v>
                </c:pt>
                <c:pt idx="2">
                  <c:v>0.00631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112</c:v>
                </c:pt>
                <c:pt idx="1">
                  <c:v>0.020646</c:v>
                </c:pt>
                <c:pt idx="2">
                  <c:v>0.00864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0751</c:v>
                </c:pt>
                <c:pt idx="1">
                  <c:v>0.009759</c:v>
                </c:pt>
                <c:pt idx="2">
                  <c:v>0.00337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8193</c:v>
                </c:pt>
                <c:pt idx="1">
                  <c:v>0.007006</c:v>
                </c:pt>
                <c:pt idx="2">
                  <c:v>0.00351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0256</c:v>
                </c:pt>
                <c:pt idx="1">
                  <c:v>0.008806</c:v>
                </c:pt>
                <c:pt idx="2">
                  <c:v>0.00387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966</c:v>
                </c:pt>
                <c:pt idx="1">
                  <c:v>0.002788</c:v>
                </c:pt>
                <c:pt idx="2">
                  <c:v>0.00111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14</c:v>
                </c:pt>
                <c:pt idx="1">
                  <c:v>0.006716</c:v>
                </c:pt>
                <c:pt idx="2">
                  <c:v>0.00298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505</c:v>
                </c:pt>
                <c:pt idx="1">
                  <c:v>0.003956</c:v>
                </c:pt>
                <c:pt idx="2">
                  <c:v>0.001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276</c:v>
                </c:pt>
                <c:pt idx="1">
                  <c:v>0.004923</c:v>
                </c:pt>
                <c:pt idx="2">
                  <c:v>0.00184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57559</c:v>
                </c:pt>
                <c:pt idx="1">
                  <c:v>0.049798</c:v>
                </c:pt>
                <c:pt idx="2">
                  <c:v>0.0190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43352</c:v>
                </c:pt>
                <c:pt idx="1">
                  <c:v>1.979061</c:v>
                </c:pt>
                <c:pt idx="2">
                  <c:v>0.6163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7678</c:v>
                </c:pt>
                <c:pt idx="1">
                  <c:v>0.65764</c:v>
                </c:pt>
                <c:pt idx="2">
                  <c:v>0.27667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8483</c:v>
                </c:pt>
                <c:pt idx="1">
                  <c:v>0.640193</c:v>
                </c:pt>
                <c:pt idx="2">
                  <c:v>0.2381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6487</c:v>
                </c:pt>
                <c:pt idx="1">
                  <c:v>0.475971</c:v>
                </c:pt>
                <c:pt idx="2">
                  <c:v>0.22370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11996</c:v>
                </c:pt>
                <c:pt idx="1">
                  <c:v>0.370439</c:v>
                </c:pt>
                <c:pt idx="2">
                  <c:v>0.16468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388018</c:v>
                </c:pt>
                <c:pt idx="1">
                  <c:v>0.307762</c:v>
                </c:pt>
                <c:pt idx="2">
                  <c:v>0.13006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70783</c:v>
                </c:pt>
                <c:pt idx="1">
                  <c:v>0.290342</c:v>
                </c:pt>
                <c:pt idx="2">
                  <c:v>0.13155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90147</c:v>
                </c:pt>
                <c:pt idx="1">
                  <c:v>0.269334</c:v>
                </c:pt>
                <c:pt idx="2">
                  <c:v>0.10589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46482</c:v>
                </c:pt>
                <c:pt idx="1">
                  <c:v>0.197529</c:v>
                </c:pt>
                <c:pt idx="2">
                  <c:v>0.07031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301251</c:v>
                </c:pt>
                <c:pt idx="1">
                  <c:v>2.93884</c:v>
                </c:pt>
                <c:pt idx="2">
                  <c:v>1.16543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42</c:v>
                </c:pt>
                <c:pt idx="1">
                  <c:v>0.017998</c:v>
                </c:pt>
                <c:pt idx="2">
                  <c:v>0.00565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641</c:v>
                </c:pt>
                <c:pt idx="1">
                  <c:v>0.007471</c:v>
                </c:pt>
                <c:pt idx="2">
                  <c:v>0.0025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87</c:v>
                </c:pt>
                <c:pt idx="1">
                  <c:v>0.004982</c:v>
                </c:pt>
                <c:pt idx="2">
                  <c:v>0.00284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1257</c:v>
                </c:pt>
                <c:pt idx="1">
                  <c:v>0.011348</c:v>
                </c:pt>
                <c:pt idx="2">
                  <c:v>0.0051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564</c:v>
                </c:pt>
                <c:pt idx="1">
                  <c:v>0.001798</c:v>
                </c:pt>
                <c:pt idx="2">
                  <c:v>0.00082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6029</c:v>
                </c:pt>
                <c:pt idx="1">
                  <c:v>0.005295</c:v>
                </c:pt>
                <c:pt idx="2">
                  <c:v>0.0024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147</c:v>
                </c:pt>
                <c:pt idx="1">
                  <c:v>0.004818</c:v>
                </c:pt>
                <c:pt idx="2">
                  <c:v>0.00219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634</c:v>
                </c:pt>
                <c:pt idx="1">
                  <c:v>0.000457</c:v>
                </c:pt>
                <c:pt idx="2">
                  <c:v>0.00021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559</c:v>
                </c:pt>
                <c:pt idx="1">
                  <c:v>0.0019</c:v>
                </c:pt>
                <c:pt idx="2">
                  <c:v>0.00080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0286</c:v>
                </c:pt>
                <c:pt idx="1">
                  <c:v>0.033015</c:v>
                </c:pt>
                <c:pt idx="2">
                  <c:v>0.01316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46217</c:v>
                </c:pt>
                <c:pt idx="1">
                  <c:v>1.803667</c:v>
                </c:pt>
                <c:pt idx="2">
                  <c:v>0.5880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57008</c:v>
                </c:pt>
                <c:pt idx="1">
                  <c:v>0.496947</c:v>
                </c:pt>
                <c:pt idx="2">
                  <c:v>0.1762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99454</c:v>
                </c:pt>
                <c:pt idx="1">
                  <c:v>0.335036</c:v>
                </c:pt>
                <c:pt idx="2">
                  <c:v>0.17962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46498</c:v>
                </c:pt>
                <c:pt idx="1">
                  <c:v>0.360491</c:v>
                </c:pt>
                <c:pt idx="2">
                  <c:v>0.16424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13978</c:v>
                </c:pt>
                <c:pt idx="1">
                  <c:v>0.216769</c:v>
                </c:pt>
                <c:pt idx="2">
                  <c:v>0.0960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40059</c:v>
                </c:pt>
                <c:pt idx="1">
                  <c:v>0.223757</c:v>
                </c:pt>
                <c:pt idx="2">
                  <c:v>0.10382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50171</c:v>
                </c:pt>
                <c:pt idx="1">
                  <c:v>0.20514</c:v>
                </c:pt>
                <c:pt idx="2">
                  <c:v>0.09498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0796</c:v>
                </c:pt>
                <c:pt idx="1">
                  <c:v>0.172724</c:v>
                </c:pt>
                <c:pt idx="2">
                  <c:v>0.07915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16178</c:v>
                </c:pt>
                <c:pt idx="1">
                  <c:v>0.173426</c:v>
                </c:pt>
                <c:pt idx="2">
                  <c:v>0.06846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096548</c:v>
                </c:pt>
                <c:pt idx="1">
                  <c:v>1.823357</c:v>
                </c:pt>
                <c:pt idx="2">
                  <c:v>0.75730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596</c:v>
                </c:pt>
                <c:pt idx="1">
                  <c:v>0.011745</c:v>
                </c:pt>
                <c:pt idx="2">
                  <c:v>0.00374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626</c:v>
                </c:pt>
                <c:pt idx="1">
                  <c:v>0.008654</c:v>
                </c:pt>
                <c:pt idx="2">
                  <c:v>0.00306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01</c:v>
                </c:pt>
                <c:pt idx="1">
                  <c:v>0.003894</c:v>
                </c:pt>
                <c:pt idx="2">
                  <c:v>0.00108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974</c:v>
                </c:pt>
                <c:pt idx="1">
                  <c:v>0.003256</c:v>
                </c:pt>
                <c:pt idx="2">
                  <c:v>0.0013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111</c:v>
                </c:pt>
                <c:pt idx="1">
                  <c:v>0.001894</c:v>
                </c:pt>
                <c:pt idx="2">
                  <c:v>0.00071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147</c:v>
                </c:pt>
                <c:pt idx="1">
                  <c:v>0.002916</c:v>
                </c:pt>
                <c:pt idx="2">
                  <c:v>0.00078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057</c:v>
                </c:pt>
                <c:pt idx="1">
                  <c:v>0.002055</c:v>
                </c:pt>
                <c:pt idx="2">
                  <c:v>0.00066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755</c:v>
                </c:pt>
                <c:pt idx="1">
                  <c:v>0.001782</c:v>
                </c:pt>
                <c:pt idx="2">
                  <c:v>0.00048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32</c:v>
                </c:pt>
                <c:pt idx="1">
                  <c:v>0.001097</c:v>
                </c:pt>
                <c:pt idx="2">
                  <c:v>0.0003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11</c:v>
                </c:pt>
                <c:pt idx="1">
                  <c:v>0.018432</c:v>
                </c:pt>
                <c:pt idx="2">
                  <c:v>0.0054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31353</c:v>
                </c:pt>
                <c:pt idx="1">
                  <c:v>1.14481</c:v>
                </c:pt>
                <c:pt idx="2">
                  <c:v>0.3833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8656</c:v>
                </c:pt>
                <c:pt idx="1">
                  <c:v>0.278563</c:v>
                </c:pt>
                <c:pt idx="2">
                  <c:v>0.09826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392</c:v>
                </c:pt>
                <c:pt idx="1">
                  <c:v>0.258917</c:v>
                </c:pt>
                <c:pt idx="2">
                  <c:v>0.076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0802</c:v>
                </c:pt>
                <c:pt idx="1">
                  <c:v>0.138544</c:v>
                </c:pt>
                <c:pt idx="2">
                  <c:v>0.05556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5192</c:v>
                </c:pt>
                <c:pt idx="1">
                  <c:v>0.125463</c:v>
                </c:pt>
                <c:pt idx="2">
                  <c:v>0.04641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9821</c:v>
                </c:pt>
                <c:pt idx="1">
                  <c:v>0.125461</c:v>
                </c:pt>
                <c:pt idx="2">
                  <c:v>0.03399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49947</c:v>
                </c:pt>
                <c:pt idx="1">
                  <c:v>0.082237</c:v>
                </c:pt>
                <c:pt idx="2">
                  <c:v>0.02541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09022</c:v>
                </c:pt>
                <c:pt idx="1">
                  <c:v>0.117634</c:v>
                </c:pt>
                <c:pt idx="2">
                  <c:v>0.03030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20419</c:v>
                </c:pt>
                <c:pt idx="1">
                  <c:v>0.100432</c:v>
                </c:pt>
                <c:pt idx="2">
                  <c:v>0.0357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20897</c:v>
                </c:pt>
                <c:pt idx="1">
                  <c:v>1.090001</c:v>
                </c:pt>
                <c:pt idx="2">
                  <c:v>0.3379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0261</c:v>
                </c:pt>
                <c:pt idx="1">
                  <c:v>0.126574</c:v>
                </c:pt>
                <c:pt idx="2">
                  <c:v>0.03837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794</c:v>
                </c:pt>
                <c:pt idx="1">
                  <c:v>0.127152</c:v>
                </c:pt>
                <c:pt idx="2">
                  <c:v>0.0553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5478</c:v>
                </c:pt>
                <c:pt idx="1">
                  <c:v>0.05945</c:v>
                </c:pt>
                <c:pt idx="2">
                  <c:v>0.02010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824</c:v>
                </c:pt>
                <c:pt idx="1">
                  <c:v>0.059178</c:v>
                </c:pt>
                <c:pt idx="2">
                  <c:v>0.02703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9543</c:v>
                </c:pt>
                <c:pt idx="1">
                  <c:v>0.034452</c:v>
                </c:pt>
                <c:pt idx="2">
                  <c:v>0.01754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4945</c:v>
                </c:pt>
                <c:pt idx="1">
                  <c:v>0.042718</c:v>
                </c:pt>
                <c:pt idx="2">
                  <c:v>0.01868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6068</c:v>
                </c:pt>
                <c:pt idx="1">
                  <c:v>0.035384</c:v>
                </c:pt>
                <c:pt idx="2">
                  <c:v>0.01329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304</c:v>
                </c:pt>
                <c:pt idx="1">
                  <c:v>0.014251</c:v>
                </c:pt>
                <c:pt idx="2">
                  <c:v>0.00609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385</c:v>
                </c:pt>
                <c:pt idx="1">
                  <c:v>0.026621</c:v>
                </c:pt>
                <c:pt idx="2">
                  <c:v>0.0100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6378</c:v>
                </c:pt>
                <c:pt idx="1">
                  <c:v>0.295205</c:v>
                </c:pt>
                <c:pt idx="2">
                  <c:v>0.1108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3</a:t>
                    </a:r>
                  </a:p>
                </c:rich>
              </c:tx>
              <c:showLegendKey val="0"/>
              <c:showVal val="1"/>
              <c:showCatName val="0"/>
              <c:showSerName val="0"/>
              <c:showPercent val="0"/>
              <c:showBubbleSize val="0"/>
            </c:dLbl>
            <c:dLbl>
              <c:idx val="1"/>
              <c:tx>
                <c:rich>
                  <a:bodyPr/>
                  <a:lstStyle/>
                  <a:p>
                    <a:r>
                      <a:rPr>
                        <a:solidFill>
                          <a:srgbClr val="FFFFFF"/>
                        </a:solidFill>
                      </a:rPr>
                      <a:t>11.8</a:t>
                    </a:r>
                  </a:p>
                </c:rich>
              </c:tx>
              <c:showLegendKey val="0"/>
              <c:showVal val="1"/>
              <c:showCatName val="0"/>
              <c:showSerName val="0"/>
              <c:showPercent val="0"/>
              <c:showBubbleSize val="0"/>
            </c:dLbl>
            <c:dLbl>
              <c:idx val="2"/>
              <c:tx>
                <c:rich>
                  <a:bodyPr/>
                  <a:lstStyle/>
                  <a:p>
                    <a:r>
                      <a:rPr>
                        <a:solidFill>
                          <a:srgbClr val="FFFFFF"/>
                        </a:solidFill>
                      </a:rPr>
                      <a:t>3.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273636</c:v>
                </c:pt>
                <c:pt idx="1">
                  <c:v>11.782416</c:v>
                </c:pt>
                <c:pt idx="2">
                  <c:v>3.7121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69691</c:v>
                </c:pt>
                <c:pt idx="1">
                  <c:v>4.05903</c:v>
                </c:pt>
                <c:pt idx="2">
                  <c:v>1.7685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163253</c:v>
                </c:pt>
                <c:pt idx="1">
                  <c:v>3.86</c:v>
                </c:pt>
                <c:pt idx="2">
                  <c:v>1.37367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96281</c:v>
                </c:pt>
                <c:pt idx="1">
                  <c:v>2.487287</c:v>
                </c:pt>
                <c:pt idx="2">
                  <c:v>1.13780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632076</c:v>
                </c:pt>
                <c:pt idx="1">
                  <c:v>2.251432</c:v>
                </c:pt>
                <c:pt idx="2">
                  <c:v>1.08735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206439</c:v>
                </c:pt>
                <c:pt idx="1">
                  <c:v>1.806399</c:v>
                </c:pt>
                <c:pt idx="2">
                  <c:v>0.80266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460682</c:v>
                </c:pt>
                <c:pt idx="1">
                  <c:v>1.417028</c:v>
                </c:pt>
                <c:pt idx="2">
                  <c:v>0.50909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942381</c:v>
                </c:pt>
                <c:pt idx="1">
                  <c:v>1.504826</c:v>
                </c:pt>
                <c:pt idx="2">
                  <c:v>0.63390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656057</c:v>
                </c:pt>
                <c:pt idx="1">
                  <c:v>1.365398</c:v>
                </c:pt>
                <c:pt idx="2">
                  <c:v>0.53752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9.0</a:t>
                    </a:r>
                  </a:p>
                </c:rich>
              </c:tx>
              <c:showLegendKey val="0"/>
              <c:showVal val="1"/>
              <c:showCatName val="0"/>
              <c:showSerName val="0"/>
              <c:showPercent val="0"/>
              <c:showBubbleSize val="0"/>
            </c:dLbl>
            <c:dLbl>
              <c:idx val="1"/>
              <c:tx>
                <c:rich>
                  <a:bodyPr/>
                  <a:lstStyle/>
                  <a:p>
                    <a:r>
                      <a:rPr>
                        <a:solidFill>
                          <a:srgbClr val="FFFFFF"/>
                        </a:solidFill>
                      </a:rPr>
                      <a:t>16.9</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8.959772</c:v>
                </c:pt>
                <c:pt idx="1">
                  <c:v>16.860903</c:v>
                </c:pt>
                <c:pt idx="2">
                  <c:v>6.5183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778</c:v>
                </c:pt>
                <c:pt idx="1">
                  <c:v>0.020727</c:v>
                </c:pt>
                <c:pt idx="2">
                  <c:v>0.0061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18</c:v>
                </c:pt>
                <c:pt idx="1">
                  <c:v>0.021985</c:v>
                </c:pt>
                <c:pt idx="2">
                  <c:v>0.00779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85</c:v>
                </c:pt>
                <c:pt idx="1">
                  <c:v>0.008306</c:v>
                </c:pt>
                <c:pt idx="2">
                  <c:v>0.00217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634</c:v>
                </c:pt>
                <c:pt idx="1">
                  <c:v>0.004921</c:v>
                </c:pt>
                <c:pt idx="2">
                  <c:v>0.00194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9713</c:v>
                </c:pt>
                <c:pt idx="1">
                  <c:v>0.005617</c:v>
                </c:pt>
                <c:pt idx="2">
                  <c:v>0.0014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63</c:v>
                </c:pt>
                <c:pt idx="1">
                  <c:v>0.002343</c:v>
                </c:pt>
                <c:pt idx="2">
                  <c:v>0.00080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5986</c:v>
                </c:pt>
                <c:pt idx="1">
                  <c:v>0.005127</c:v>
                </c:pt>
                <c:pt idx="2">
                  <c:v>0.0021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5938</c:v>
                </c:pt>
                <c:pt idx="1">
                  <c:v>0.004524</c:v>
                </c:pt>
                <c:pt idx="2">
                  <c:v>0.00173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515</c:v>
                </c:pt>
                <c:pt idx="1">
                  <c:v>0.000515</c:v>
                </c:pt>
                <c:pt idx="2">
                  <c:v>0.00021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0757</c:v>
                </c:pt>
                <c:pt idx="1">
                  <c:v>0.036027</c:v>
                </c:pt>
                <c:pt idx="2">
                  <c:v>0.0116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61488</c:v>
                </c:pt>
                <c:pt idx="1">
                  <c:v>1.986854</c:v>
                </c:pt>
                <c:pt idx="2">
                  <c:v>0.6090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467</c:v>
                </c:pt>
                <c:pt idx="1">
                  <c:v>0.695752</c:v>
                </c:pt>
                <c:pt idx="2">
                  <c:v>0.24862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35444</c:v>
                </c:pt>
                <c:pt idx="1">
                  <c:v>0.539915</c:v>
                </c:pt>
                <c:pt idx="2">
                  <c:v>0.1501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80209</c:v>
                </c:pt>
                <c:pt idx="1">
                  <c:v>0.328353</c:v>
                </c:pt>
                <c:pt idx="2">
                  <c:v>0.12702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59415</c:v>
                </c:pt>
                <c:pt idx="1">
                  <c:v>0.222583</c:v>
                </c:pt>
                <c:pt idx="2">
                  <c:v>0.05741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52409</c:v>
                </c:pt>
                <c:pt idx="1">
                  <c:v>0.251401</c:v>
                </c:pt>
                <c:pt idx="2">
                  <c:v>0.08771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4021</c:v>
                </c:pt>
                <c:pt idx="1">
                  <c:v>0.216432</c:v>
                </c:pt>
                <c:pt idx="2">
                  <c:v>0.09105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1823</c:v>
                </c:pt>
                <c:pt idx="1">
                  <c:v>0.194067</c:v>
                </c:pt>
                <c:pt idx="2">
                  <c:v>0.0755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98431</c:v>
                </c:pt>
                <c:pt idx="1">
                  <c:v>0.185721</c:v>
                </c:pt>
                <c:pt idx="2">
                  <c:v>0.07316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209503</c:v>
                </c:pt>
                <c:pt idx="1">
                  <c:v>2.018937</c:v>
                </c:pt>
                <c:pt idx="2">
                  <c:v>0.6766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884</c:v>
                </c:pt>
                <c:pt idx="1">
                  <c:v>0.00183</c:v>
                </c:pt>
                <c:pt idx="2">
                  <c:v>0.00052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186</c:v>
                </c:pt>
                <c:pt idx="1">
                  <c:v>0.000861</c:v>
                </c:pt>
                <c:pt idx="2">
                  <c:v>0.00025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507</c:v>
                </c:pt>
                <c:pt idx="1">
                  <c:v>0.001007</c:v>
                </c:pt>
                <c:pt idx="2">
                  <c:v>0.00032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687</c:v>
                </c:pt>
                <c:pt idx="1">
                  <c:v>0.001904</c:v>
                </c:pt>
                <c:pt idx="2">
                  <c:v>0.00066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278</c:v>
                </c:pt>
                <c:pt idx="1">
                  <c:v>0.001028</c:v>
                </c:pt>
                <c:pt idx="2">
                  <c:v>0.00034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821</c:v>
                </c:pt>
                <c:pt idx="1">
                  <c:v>0.000599</c:v>
                </c:pt>
                <c:pt idx="2">
                  <c:v>0.00026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351</c:v>
                </c:pt>
                <c:pt idx="1">
                  <c:v>0.000337</c:v>
                </c:pt>
                <c:pt idx="2">
                  <c:v>0.00013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972</c:v>
                </c:pt>
                <c:pt idx="1">
                  <c:v>0.000697</c:v>
                </c:pt>
                <c:pt idx="2">
                  <c:v>0.00037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492</c:v>
                </c:pt>
                <c:pt idx="1">
                  <c:v>0.000391</c:v>
                </c:pt>
                <c:pt idx="2">
                  <c:v>0.00020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683</c:v>
                </c:pt>
                <c:pt idx="1">
                  <c:v>0.004824</c:v>
                </c:pt>
                <c:pt idx="2">
                  <c:v>0.0016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5311</c:v>
                </c:pt>
                <c:pt idx="1">
                  <c:v>0.170305</c:v>
                </c:pt>
                <c:pt idx="2">
                  <c:v>0.0487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59</c:v>
                </c:pt>
                <c:pt idx="1">
                  <c:v>0.056823</c:v>
                </c:pt>
                <c:pt idx="2">
                  <c:v>0.0171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1931</c:v>
                </c:pt>
                <c:pt idx="1">
                  <c:v>0.040108</c:v>
                </c:pt>
                <c:pt idx="2">
                  <c:v>0.01279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5236</c:v>
                </c:pt>
                <c:pt idx="1">
                  <c:v>0.061515</c:v>
                </c:pt>
                <c:pt idx="2">
                  <c:v>0.02096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104</c:v>
                </c:pt>
                <c:pt idx="1">
                  <c:v>0.042775</c:v>
                </c:pt>
                <c:pt idx="2">
                  <c:v>0.01433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792</c:v>
                </c:pt>
                <c:pt idx="1">
                  <c:v>0.034115</c:v>
                </c:pt>
                <c:pt idx="2">
                  <c:v>0.0148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974</c:v>
                </c:pt>
                <c:pt idx="1">
                  <c:v>0.031352</c:v>
                </c:pt>
                <c:pt idx="2">
                  <c:v>0.01305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4161</c:v>
                </c:pt>
                <c:pt idx="1">
                  <c:v>0.027536</c:v>
                </c:pt>
                <c:pt idx="2">
                  <c:v>0.01502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931</c:v>
                </c:pt>
                <c:pt idx="1">
                  <c:v>0.02491</c:v>
                </c:pt>
                <c:pt idx="2">
                  <c:v>0.0120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0858</c:v>
                </c:pt>
                <c:pt idx="1">
                  <c:v>0.254097</c:v>
                </c:pt>
                <c:pt idx="2">
                  <c:v>0.08519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2089</c:v>
                </c:pt>
                <c:pt idx="1">
                  <c:v>0.032967</c:v>
                </c:pt>
                <c:pt idx="2">
                  <c:v>0.00917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2246</c:v>
                </c:pt>
                <c:pt idx="1">
                  <c:v>0.035025</c:v>
                </c:pt>
                <c:pt idx="2">
                  <c:v>0.01389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54</c:v>
                </c:pt>
                <c:pt idx="1">
                  <c:v>0.015695</c:v>
                </c:pt>
                <c:pt idx="2">
                  <c:v>0.00458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8128</c:v>
                </c:pt>
                <c:pt idx="1">
                  <c:v>0.015947</c:v>
                </c:pt>
                <c:pt idx="2">
                  <c:v>0.00676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8742</c:v>
                </c:pt>
                <c:pt idx="1">
                  <c:v>0.007687</c:v>
                </c:pt>
                <c:pt idx="2">
                  <c:v>0.00350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8374</c:v>
                </c:pt>
                <c:pt idx="1">
                  <c:v>0.010091</c:v>
                </c:pt>
                <c:pt idx="2">
                  <c:v>0.00357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3352</c:v>
                </c:pt>
                <c:pt idx="1">
                  <c:v>0.01123</c:v>
                </c:pt>
                <c:pt idx="2">
                  <c:v>0.00430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2827</c:v>
                </c:pt>
                <c:pt idx="1">
                  <c:v>0.009729</c:v>
                </c:pt>
                <c:pt idx="2">
                  <c:v>0.00347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7331</c:v>
                </c:pt>
                <c:pt idx="1">
                  <c:v>0.006657</c:v>
                </c:pt>
                <c:pt idx="2">
                  <c:v>0.00271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78087</c:v>
                </c:pt>
                <c:pt idx="1">
                  <c:v>0.070705</c:v>
                </c:pt>
                <c:pt idx="2">
                  <c:v>0.025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327897</c:v>
                </c:pt>
                <c:pt idx="1">
                  <c:v>3.085284</c:v>
                </c:pt>
                <c:pt idx="2">
                  <c:v>0.8727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01498</c:v>
                </c:pt>
                <c:pt idx="1">
                  <c:v>1.120879</c:v>
                </c:pt>
                <c:pt idx="2">
                  <c:v>0.44595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37746</c:v>
                </c:pt>
                <c:pt idx="1">
                  <c:v>1.003948</c:v>
                </c:pt>
                <c:pt idx="2">
                  <c:v>0.3112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25197</c:v>
                </c:pt>
                <c:pt idx="1">
                  <c:v>0.670364</c:v>
                </c:pt>
                <c:pt idx="2">
                  <c:v>0.28496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78992</c:v>
                </c:pt>
                <c:pt idx="1">
                  <c:v>0.491305</c:v>
                </c:pt>
                <c:pt idx="2">
                  <c:v>0.21659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682179</c:v>
                </c:pt>
                <c:pt idx="1">
                  <c:v>0.403485</c:v>
                </c:pt>
                <c:pt idx="2">
                  <c:v>0.13726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534719</c:v>
                </c:pt>
                <c:pt idx="1">
                  <c:v>0.472902</c:v>
                </c:pt>
                <c:pt idx="2">
                  <c:v>0.18501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474857</c:v>
                </c:pt>
                <c:pt idx="1">
                  <c:v>0.396847</c:v>
                </c:pt>
                <c:pt idx="2">
                  <c:v>0.14560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09685</c:v>
                </c:pt>
                <c:pt idx="1">
                  <c:v>0.370237</c:v>
                </c:pt>
                <c:pt idx="2">
                  <c:v>0.14864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577293</c:v>
                </c:pt>
                <c:pt idx="1">
                  <c:v>4.194586</c:v>
                </c:pt>
                <c:pt idx="2">
                  <c:v>1.5183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7891</c:v>
                </c:pt>
                <c:pt idx="1">
                  <c:v>0.028543</c:v>
                </c:pt>
                <c:pt idx="2">
                  <c:v>0.00862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325</c:v>
                </c:pt>
                <c:pt idx="1">
                  <c:v>0.034233</c:v>
                </c:pt>
                <c:pt idx="2">
                  <c:v>0.0145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5622</c:v>
                </c:pt>
                <c:pt idx="1">
                  <c:v>0.013592</c:v>
                </c:pt>
                <c:pt idx="2">
                  <c:v>0.0044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862</c:v>
                </c:pt>
                <c:pt idx="1">
                  <c:v>0.014712</c:v>
                </c:pt>
                <c:pt idx="2">
                  <c:v>0.0063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393</c:v>
                </c:pt>
                <c:pt idx="1">
                  <c:v>0.009627</c:v>
                </c:pt>
                <c:pt idx="2">
                  <c:v>0.00299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8194</c:v>
                </c:pt>
                <c:pt idx="1">
                  <c:v>0.006711</c:v>
                </c:pt>
                <c:pt idx="2">
                  <c:v>0.00322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2139</c:v>
                </c:pt>
                <c:pt idx="1">
                  <c:v>0.009481</c:v>
                </c:pt>
                <c:pt idx="2">
                  <c:v>0.00370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1491</c:v>
                </c:pt>
                <c:pt idx="1">
                  <c:v>0.008859</c:v>
                </c:pt>
                <c:pt idx="2">
                  <c:v>0.00322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426</c:v>
                </c:pt>
                <c:pt idx="1">
                  <c:v>0.006926</c:v>
                </c:pt>
                <c:pt idx="2">
                  <c:v>0.00237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76291</c:v>
                </c:pt>
                <c:pt idx="1">
                  <c:v>0.064047</c:v>
                </c:pt>
                <c:pt idx="2">
                  <c:v>0.02258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37346</c:v>
                </c:pt>
                <c:pt idx="1">
                  <c:v>2.622209</c:v>
                </c:pt>
                <c:pt idx="2">
                  <c:v>0.8182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00399</c:v>
                </c:pt>
                <c:pt idx="1">
                  <c:v>1.104139</c:v>
                </c:pt>
                <c:pt idx="2">
                  <c:v>0.46323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85244</c:v>
                </c:pt>
                <c:pt idx="1">
                  <c:v>0.874598</c:v>
                </c:pt>
                <c:pt idx="2">
                  <c:v>0.29836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48291</c:v>
                </c:pt>
                <c:pt idx="1">
                  <c:v>0.623171</c:v>
                </c:pt>
                <c:pt idx="2">
                  <c:v>0.2661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84856</c:v>
                </c:pt>
                <c:pt idx="1">
                  <c:v>0.384471</c:v>
                </c:pt>
                <c:pt idx="2">
                  <c:v>0.11471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543459</c:v>
                </c:pt>
                <c:pt idx="1">
                  <c:v>0.433524</c:v>
                </c:pt>
                <c:pt idx="2">
                  <c:v>0.20008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90289</c:v>
                </c:pt>
                <c:pt idx="1">
                  <c:v>0.404501</c:v>
                </c:pt>
                <c:pt idx="2">
                  <c:v>0.16167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428861</c:v>
                </c:pt>
                <c:pt idx="1">
                  <c:v>0.363678</c:v>
                </c:pt>
                <c:pt idx="2">
                  <c:v>0.13614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11524</c:v>
                </c:pt>
                <c:pt idx="1">
                  <c:v>0.359902</c:v>
                </c:pt>
                <c:pt idx="2">
                  <c:v>0.12829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436016</c:v>
                </c:pt>
                <c:pt idx="1">
                  <c:v>3.740861</c:v>
                </c:pt>
                <c:pt idx="2">
                  <c:v>1.38041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800621</c:v>
                </c:pt>
                <c:pt idx="1">
                  <c:v>4.476837</c:v>
                </c:pt>
                <c:pt idx="2">
                  <c:v>2.30968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8.8</a:t>
                    </a:r>
                  </a:p>
                </c:rich>
              </c:tx>
              <c:showLegendKey val="0"/>
              <c:showVal val="1"/>
              <c:showCatName val="0"/>
              <c:showSerName val="0"/>
              <c:showPercent val="0"/>
              <c:showBubbleSize val="0"/>
            </c:dLbl>
            <c:dLbl>
              <c:idx val="1"/>
              <c:tx>
                <c:rich>
                  <a:bodyPr/>
                  <a:lstStyle/>
                  <a:p>
                    <a:r>
                      <a:rPr>
                        <a:solidFill>
                          <a:srgbClr val="FFFFFF"/>
                        </a:solidFill>
                      </a:rPr>
                      <a:t>22.5</a:t>
                    </a:r>
                  </a:p>
                </c:rich>
              </c:tx>
              <c:showLegendKey val="0"/>
              <c:showVal val="1"/>
              <c:showCatName val="0"/>
              <c:showSerName val="0"/>
              <c:showPercent val="0"/>
              <c:showBubbleSize val="0"/>
            </c:dLbl>
            <c:dLbl>
              <c:idx val="2"/>
              <c:tx>
                <c:rich>
                  <a:bodyPr/>
                  <a:lstStyle/>
                  <a:p>
                    <a:r>
                      <a:rPr>
                        <a:solidFill>
                          <a:srgbClr val="FFFFFF"/>
                        </a:solidFill>
                      </a:rPr>
                      <a:t>1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820274</c:v>
                </c:pt>
                <c:pt idx="1">
                  <c:v>22.507955</c:v>
                </c:pt>
                <c:pt idx="2">
                  <c:v>11.9214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02/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6.xml"/></Relationships>
</file>

<file path=ppt/notesSlides/_rels/notesSlide10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3.xml"/></Relationships>
</file>

<file path=ppt/notesSlides/_rels/notesSlide10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4.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7.xml"/></Relationships>
</file>

<file path=ppt/notesSlides/_rels/notesSlide10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9.xml"/></Relationships>
</file>

<file path=ppt/notesSlides/_rels/notesSlide10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0.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8.xml"/></Relationships>
</file>

<file path=ppt/notesSlides/_rels/notesSlide10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6.xml"/></Relationships>
</file>

<file path=ppt/notesSlides/_rels/notesSlide10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7.xml"/></Relationships>
</file>

<file path=ppt/notesSlides/_rels/notesSlide10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5.xml"/></Relationships>
</file>

<file path=ppt/notesSlides/_rels/notesSlide10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1.xml"/></Relationships>
</file>

<file path=ppt/notesSlides/_rels/notesSlide10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2.xml"/></Relationships>
</file>

<file path=ppt/notesSlides/_rels/notesSlide10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8.xml"/></Relationships>
</file>

<file path=ppt/notesSlides/_rels/notesSlide10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9.xml"/></Relationships>
</file>

<file path=ppt/notesSlides/_rels/notesSlide10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6.xml"/></Relationships>
</file>

<file path=ppt/notesSlides/_rels/notesSlide10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3.xml"/></Relationships>
</file>

<file path=ppt/notesSlides/_rels/notesSlide10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4.xml"/></Relationships>
</file>

<file path=ppt/notesSlides/_rels/notesSlide10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5.xml"/></Relationships>
</file>

<file path=ppt/notesSlides/_rels/notesSlide10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0.xml"/></Relationships>
</file>

<file path=ppt/notesSlides/_rels/notesSlide10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1.xml"/></Relationships>
</file>

<file path=ppt/notesSlides/_rels/notesSlide10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6.xml"/></Relationships>
</file>

<file path=ppt/notesSlides/_rels/notesSlide10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4.xml"/></Relationships>
</file>

<file path=ppt/notesSlides/_rels/notesSlide10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5.xml"/></Relationships>
</file>

<file path=ppt/notesSlides/_rels/notesSlide10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0.xml"/></Relationships>
</file>

<file path=ppt/notesSlides/_rels/notesSlide10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1.xml"/></Relationships>
</file>

<file path=ppt/notesSlides/_rels/notesSlide10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2.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7.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2.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8.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8.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9.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0.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6.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4.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5.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1.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2.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7.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8.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3.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4.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2.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3.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9.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0.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6.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4.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5.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1.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2.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8.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9.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3.xml"/></Relationships>
</file>

<file path=ppt/notesSlides/_rels/notesSlide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4.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0.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1.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6.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7.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8.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5.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2.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3.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8.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9.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0.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3.xml"/></Relationships>
</file>

<file path=ppt/notesSlides/_rels/notesSlide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8.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4.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6.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4.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5.xml"/></Relationships>
</file>

<file path=ppt/notesSlides/_rels/notesSlide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0.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1.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7.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8.xml"/></Relationships>
</file>

<file path=ppt/notesSlides/_rels/notesSlide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2.xml"/></Relationships>
</file>

<file path=ppt/notesSlides/_rels/notesSlide3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3.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9.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0.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9.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6.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7.xml"/></Relationships>
</file>

<file path=ppt/notesSlides/_rels/notesSlide3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4.xml"/></Relationships>
</file>

<file path=ppt/notesSlides/_rels/notesSlide3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5.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0.xml"/></Relationships>
</file>

<file path=ppt/notesSlides/_rels/notesSlide3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1.xml"/></Relationships>
</file>

<file path=ppt/notesSlides/_rels/notesSlide3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2.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8.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9.xml"/></Relationships>
</file>

<file path=ppt/notesSlides/_rels/notesSlide3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3.xml"/></Relationships>
</file>

<file path=ppt/notesSlides/_rels/notesSlide3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4.xml"/></Relationships>
</file>

<file path=ppt/notesSlides/_rels/notesSlide3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3.xml"/></Relationships>
</file>

<file path=ppt/notesSlides/_rels/notesSlide3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4.xml"/></Relationships>
</file>

<file path=ppt/notesSlides/_rels/notesSlide3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9.xml"/></Relationships>
</file>

<file path=ppt/notesSlides/_rels/notesSlide3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0.xml"/></Relationships>
</file>

<file path=ppt/notesSlides/_rels/notesSlide3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6.xml"/></Relationships>
</file>

<file path=ppt/notesSlides/_rels/notesSlide3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7.xml"/></Relationships>
</file>

<file path=ppt/notesSlides/_rels/notesSlide3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0.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6.xml"/></Relationships>
</file>

<file path=ppt/notesSlides/_rels/notesSlide4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1.xml"/></Relationships>
</file>

<file path=ppt/notesSlides/_rels/notesSlide4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2.xml"/></Relationships>
</file>

<file path=ppt/notesSlides/_rels/notesSlide4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3.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7.xml"/></Relationships>
</file>

<file path=ppt/notesSlides/_rels/notesSlide4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8.xml"/></Relationships>
</file>

<file path=ppt/notesSlides/_rels/notesSlide4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9.xml"/></Relationships>
</file>

<file path=ppt/notesSlides/_rels/notesSlide4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6.xml"/></Relationships>
</file>

<file path=ppt/notesSlides/_rels/notesSlide4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3.xml"/></Relationships>
</file>

<file path=ppt/notesSlides/_rels/notesSlide4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4.xml"/></Relationships>
</file>

<file path=ppt/notesSlides/_rels/notesSlide4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5.xml"/></Relationships>
</file>

<file path=ppt/notesSlides/_rels/notesSlide4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0.xml"/></Relationships>
</file>

<file path=ppt/notesSlides/_rels/notesSlide4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1.xml"/></Relationships>
</file>

<file path=ppt/notesSlides/_rels/notesSlide4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7.xml"/></Relationships>
</file>

<file path=ppt/notesSlides/_rels/notesSlide4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8.xml"/></Relationships>
</file>

<file path=ppt/notesSlides/_rels/notesSlide4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2.xml"/></Relationships>
</file>

<file path=ppt/notesSlides/_rels/notesSlide4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3.xml"/></Relationships>
</file>

<file path=ppt/notesSlides/_rels/notesSlide4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9.xml"/></Relationships>
</file>

<file path=ppt/notesSlides/_rels/notesSlide4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0.xml"/></Relationships>
</file>

<file path=ppt/notesSlides/_rels/notesSlide4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8.xml"/></Relationships>
</file>

<file path=ppt/notesSlides/_rels/notesSlide4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9.xml"/></Relationships>
</file>

<file path=ppt/notesSlides/_rels/notesSlide4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0.xml"/></Relationships>
</file>

<file path=ppt/notesSlides/_rels/notesSlide4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6.xml"/></Relationships>
</file>

<file path=ppt/notesSlides/_rels/notesSlide4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4.xml"/></Relationships>
</file>

<file path=ppt/notesSlides/_rels/notesSlide4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5.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5.xml"/></Relationships>
</file>

<file path=ppt/notesSlides/_rels/notesSlide4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1.xml"/></Relationships>
</file>

<file path=ppt/notesSlides/_rels/notesSlide4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2.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1.xml"/></Relationships>
</file>

<file path=ppt/notesSlides/_rels/notesSlide5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7.xml"/></Relationships>
</file>

<file path=ppt/notesSlides/_rels/notesSlide5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8.xml"/></Relationships>
</file>

<file path=ppt/notesSlides/_rels/notesSlide5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3.xml"/></Relationships>
</file>

<file path=ppt/notesSlides/_rels/notesSlide5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4.xml"/></Relationships>
</file>

<file path=ppt/notesSlides/_rels/notesSlide5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9.xml"/></Relationships>
</file>

<file path=ppt/notesSlides/_rels/notesSlide5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0.xml"/></Relationships>
</file>

<file path=ppt/notesSlides/_rels/notesSlide5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6.xml"/></Relationships>
</file>

<file path=ppt/notesSlides/_rels/notesSlide5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7.xml"/></Relationships>
</file>

<file path=ppt/notesSlides/_rels/notesSlide5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5.xml"/></Relationships>
</file>

<file path=ppt/notesSlides/_rels/notesSlide5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1.xml"/></Relationships>
</file>

<file path=ppt/notesSlides/_rels/notesSlide5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2.xml"/></Relationships>
</file>

<file path=ppt/notesSlides/_rels/notesSlide5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3.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1.xml"/></Relationships>
</file>

<file path=ppt/notesSlides/_rels/notesSlide5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8.xml"/></Relationships>
</file>

<file path=ppt/notesSlides/_rels/notesSlide5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9.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2.xml"/></Relationships>
</file>

<file path=ppt/notesSlides/_rels/notesSlide5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6.xml"/></Relationships>
</file>

<file path=ppt/notesSlides/_rels/notesSlide5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3.xml"/></Relationships>
</file>

<file path=ppt/notesSlides/_rels/notesSlide5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4.xml"/></Relationships>
</file>

<file path=ppt/notesSlides/_rels/notesSlide5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5.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3.xml"/></Relationships>
</file>

<file path=ppt/notesSlides/_rels/notesSlide5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3.xml"/></Relationships>
</file>

<file path=ppt/notesSlides/_rels/notesSlide5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4.xml"/></Relationships>
</file>

<file path=ppt/notesSlides/_rels/notesSlide5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0.xml"/></Relationships>
</file>

<file path=ppt/notesSlides/_rels/notesSlide5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1.xml"/></Relationships>
</file>

<file path=ppt/notesSlides/_rels/notesSlide5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6.xml"/></Relationships>
</file>

<file path=ppt/notesSlides/_rels/notesSlide5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7.xml"/></Relationships>
</file>

<file path=ppt/notesSlides/_rels/notesSlide5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8.xml"/></Relationships>
</file>

<file path=ppt/notesSlides/_rels/notesSlide5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2.xml"/></Relationships>
</file>

<file path=ppt/notesSlides/_rels/notesSlide6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2.xml"/></Relationships>
</file>

<file path=ppt/notesSlides/_rels/notesSlide6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3.xml"/></Relationships>
</file>

<file path=ppt/notesSlides/_rels/notesSlide6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8.xml"/></Relationships>
</file>

<file path=ppt/notesSlides/_rels/notesSlide6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9.xml"/></Relationships>
</file>

<file path=ppt/notesSlides/_rels/notesSlide6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0.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8.xml"/></Relationships>
</file>

<file path=ppt/notesSlides/_rels/notesSlide6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6.xml"/></Relationships>
</file>

<file path=ppt/notesSlides/_rels/notesSlide6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4.xml"/></Relationships>
</file>

<file path=ppt/notesSlides/_rels/notesSlide6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5.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9.xml"/></Relationships>
</file>

<file path=ppt/notesSlides/_rels/notesSlide6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0.xml"/></Relationships>
</file>

<file path=ppt/notesSlides/_rels/notesSlide6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1.xml"/></Relationships>
</file>

<file path=ppt/notesSlides/_rels/notesSlide6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2.xml"/></Relationships>
</file>

<file path=ppt/notesSlides/_rels/notesSlide6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7.xml"/></Relationships>
</file>

<file path=ppt/notesSlides/_rels/notesSlide6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8.xml"/></Relationships>
</file>

<file path=ppt/notesSlides/_rels/notesSlide6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3.xml"/></Relationships>
</file>

<file path=ppt/notesSlides/_rels/notesSlide6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4.xml"/></Relationships>
</file>

<file path=ppt/notesSlides/_rels/notesSlide6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9.xml"/></Relationships>
</file>

<file path=ppt/notesSlides/_rels/notesSlide6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0.xml"/></Relationships>
</file>

<file path=ppt/notesSlides/_rels/notesSlide6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9.xml"/></Relationships>
</file>

<file path=ppt/notesSlides/_rels/notesSlide6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0.xml"/></Relationships>
</file>

<file path=ppt/notesSlides/_rels/notesSlide6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6.xml"/></Relationships>
</file>

<file path=ppt/notesSlides/_rels/notesSlide6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7.xml"/></Relationships>
</file>

<file path=ppt/notesSlides/_rels/notesSlide6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4.xml"/></Relationships>
</file>

<file path=ppt/notesSlides/_rels/notesSlide6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5.xml"/></Relationships>
</file>

<file path=ppt/notesSlides/_rels/notesSlide6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1.xml"/></Relationships>
</file>

<file path=ppt/notesSlides/_rels/notesSlide6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2.xml"/></Relationships>
</file>

<file path=ppt/notesSlides/_rels/notesSlide7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8.xml"/></Relationships>
</file>

<file path=ppt/notesSlides/_rels/notesSlide7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9.xml"/></Relationships>
</file>

<file path=ppt/notesSlides/_rels/notesSlide7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3.xml"/></Relationships>
</file>

<file path=ppt/notesSlides/_rels/notesSlide7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4.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8.xml"/></Relationships>
</file>

<file path=ppt/notesSlides/_rels/notesSlide7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0.xml"/></Relationships>
</file>

<file path=ppt/notesSlides/_rels/notesSlide7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1.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9.xml"/></Relationships>
</file>

<file path=ppt/notesSlides/_rels/notesSlide7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6.xml"/></Relationships>
</file>

<file path=ppt/notesSlides/_rels/notesSlide7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7.xml"/></Relationships>
</file>

<file path=ppt/notesSlides/_rels/notesSlide7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5.xml"/></Relationships>
</file>

<file path=ppt/notesSlides/_rels/notesSlide7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2.xml"/></Relationships>
</file>

<file path=ppt/notesSlides/_rels/notesSlide7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3.xml"/></Relationships>
</file>

<file path=ppt/notesSlides/_rels/notesSlide7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8.xml"/></Relationships>
</file>

<file path=ppt/notesSlides/_rels/notesSlide7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9.xml"/></Relationships>
</file>

<file path=ppt/notesSlides/_rels/notesSlide7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0.xml"/></Relationships>
</file>

<file path=ppt/notesSlides/_rels/notesSlide7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6.xml"/></Relationships>
</file>

<file path=ppt/notesSlides/_rels/notesSlide7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4.xml"/></Relationships>
</file>

<file path=ppt/notesSlides/_rels/notesSlide7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5.xml"/></Relationships>
</file>

<file path=ppt/notesSlides/_rels/notesSlide7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6.xml"/></Relationships>
</file>

<file path=ppt/notesSlides/_rels/notesSlide7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3.xml"/></Relationships>
</file>

<file path=ppt/notesSlides/_rels/notesSlide7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4.xml"/></Relationships>
</file>

<file path=ppt/notesSlides/_rels/notesSlide7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5.xml"/></Relationships>
</file>

<file path=ppt/notesSlides/_rels/notesSlide7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0.xml"/></Relationships>
</file>

<file path=ppt/notesSlides/_rels/notesSlide7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1.xml"/></Relationships>
</file>

<file path=ppt/notesSlides/_rels/notesSlide7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7.xml"/></Relationships>
</file>

<file path=ppt/notesSlides/_rels/notesSlide7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8.xml"/></Relationships>
</file>

<file path=ppt/notesSlides/_rels/notesSlide8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2.xml"/></Relationships>
</file>

<file path=ppt/notesSlides/_rels/notesSlide8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3.xml"/></Relationships>
</file>

<file path=ppt/notesSlides/_rels/notesSlide8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9.xml"/></Relationships>
</file>

<file path=ppt/notesSlides/_rels/notesSlide8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0.xml"/></Relationships>
</file>

<file path=ppt/notesSlides/_rels/notesSlide8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6.xml"/></Relationships>
</file>

<file path=ppt/notesSlides/_rels/notesSlide8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7.xml"/></Relationships>
</file>

<file path=ppt/notesSlides/_rels/notesSlide8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4.xml"/></Relationships>
</file>

<file path=ppt/notesSlides/_rels/notesSlide8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5.xml"/></Relationships>
</file>

<file path=ppt/notesSlides/_rels/notesSlide8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1.xml"/></Relationships>
</file>

<file path=ppt/notesSlides/_rels/notesSlide8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2.xml"/></Relationships>
</file>

<file path=ppt/notesSlides/_rels/notesSlide8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7.xml"/></Relationships>
</file>

<file path=ppt/notesSlides/_rels/notesSlide8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8.xml"/></Relationships>
</file>

<file path=ppt/notesSlides/_rels/notesSlide8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9.xml"/></Relationships>
</file>

<file path=ppt/notesSlides/_rels/notesSlide8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3.xml"/></Relationships>
</file>

<file path=ppt/notesSlides/_rels/notesSlide8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4.xml"/></Relationships>
</file>

<file path=ppt/notesSlides/_rels/notesSlide8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0.xml"/></Relationships>
</file>

<file path=ppt/notesSlides/_rels/notesSlide8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1.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3.xml"/></Relationships>
</file>

<file path=ppt/notesSlides/_rels/notesSlide8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9.xml"/></Relationships>
</file>

<file path=ppt/notesSlides/_rels/notesSlide8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0.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4.xml"/></Relationships>
</file>

<file path=ppt/notesSlides/_rels/notesSlide8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6.xml"/></Relationships>
</file>

<file path=ppt/notesSlides/_rels/notesSlide8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7.xml"/></Relationships>
</file>

<file path=ppt/notesSlides/_rels/notesSlide8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5.xml"/></Relationships>
</file>

<file path=ppt/notesSlides/_rels/notesSlide8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1.xml"/></Relationships>
</file>

<file path=ppt/notesSlides/_rels/notesSlide8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2.xml"/></Relationships>
</file>

<file path=ppt/notesSlides/_rels/notesSlide8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3.xml"/></Relationships>
</file>

<file path=ppt/notesSlides/_rels/notesSlide9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8.xml"/></Relationships>
</file>

<file path=ppt/notesSlides/_rels/notesSlide9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9.xml"/></Relationships>
</file>

<file path=ppt/notesSlides/_rels/notesSlide9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6.xml"/></Relationships>
</file>

<file path=ppt/notesSlides/_rels/notesSlide9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3.xml"/></Relationships>
</file>

<file path=ppt/notesSlides/_rels/notesSlide9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4.xml"/></Relationships>
</file>

<file path=ppt/notesSlides/_rels/notesSlide9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5.xml"/></Relationships>
</file>

<file path=ppt/notesSlides/_rels/notesSlide9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0.xml"/></Relationships>
</file>

<file path=ppt/notesSlides/_rels/notesSlide9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1.xml"/></Relationships>
</file>

<file path=ppt/notesSlides/_rels/notesSlide9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7.xml"/></Relationships>
</file>

<file path=ppt/notesSlides/_rels/notesSlide9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8.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0.xml"/></Relationships>
</file>

<file path=ppt/notesSlides/_rels/notesSlide9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2.xml"/></Relationships>
</file>

<file path=ppt/notesSlides/_rels/notesSlide9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3.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1.xml"/></Relationships>
</file>

<file path=ppt/notesSlides/_rels/notesSlide9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9.xml"/></Relationships>
</file>

<file path=ppt/notesSlides/_rels/notesSlide9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0.xml"/></Relationships>
</file>

<file path=ppt/notesSlides/_rels/notesSlide9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6.xml"/></Relationships>
</file>

<file path=ppt/notesSlides/_rels/notesSlide9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7.xml"/></Relationships>
</file>

<file path=ppt/notesSlides/_rels/notesSlide9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4.xml"/></Relationships>
</file>

<file path=ppt/notesSlides/_rels/notesSlide9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5.xml"/></Relationships>
</file>

<file path=ppt/notesSlides/_rels/notesSlide9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6.xml"/></Relationships>
</file>

<file path=ppt/notesSlides/_rels/notesSlide9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4.xml"/></Relationships>
</file>

<file path=ppt/notesSlides/_rels/notesSlide9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5.xml"/></Relationships>
</file>

<file path=ppt/notesSlides/_rels/notesSlide9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0.xml"/></Relationships>
</file>

<file path=ppt/notesSlides/_rels/notesSlide9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1.xml"/></Relationships>
</file>

<file path=ppt/notesSlides/_rels/notesSlide9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2.xml"/></Relationships>
</file>

<file path=ppt/notesSlides/_rels/notesSlide9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7.xml"/></Relationships>
</file>

<file path=ppt/notesSlides/_rels/notesSlide9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8.xml"/></Relationship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3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6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0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0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1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2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2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7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9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1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4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5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6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0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0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1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2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4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5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9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0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7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4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5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8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9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0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2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4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4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5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8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0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0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4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9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8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8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9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9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0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0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3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4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4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4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5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8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9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1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0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0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3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4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4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5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2/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2/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2/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2/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2/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 Id="rId6" Type="http://schemas.openxmlformats.org/officeDocument/2006/relationships/chart" Target="../charts/chart2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 Id="rId6" Type="http://schemas.openxmlformats.org/officeDocument/2006/relationships/chart" Target="../charts/chart2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 Id="rId6" Type="http://schemas.openxmlformats.org/officeDocument/2006/relationships/chart" Target="../charts/chart202.xml"/></Relationships>
</file>

<file path=ppt/slides/_rels/slide10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xml"/><Relationship Id="rId3" Type="http://schemas.openxmlformats.org/officeDocument/2006/relationships/chart" Target="../charts/chart2025.xml"/><Relationship Id="rId4" Type="http://schemas.openxmlformats.org/officeDocument/2006/relationships/chart" Target="../charts/chart2026.xml"/></Relationships>
</file>

<file path=ppt/slides/_rels/slide10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xml"/><Relationship Id="rId3" Type="http://schemas.openxmlformats.org/officeDocument/2006/relationships/chart" Target="../charts/chart2027.xml"/><Relationship Id="rId4" Type="http://schemas.openxmlformats.org/officeDocument/2006/relationships/chart" Target="../charts/chart2028.xml"/></Relationships>
</file>

<file path=ppt/slides/_rels/slide10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4.xml"/><Relationship Id="rId3" Type="http://schemas.openxmlformats.org/officeDocument/2006/relationships/chart" Target="../charts/chart2039.xml"/><Relationship Id="rId4" Type="http://schemas.openxmlformats.org/officeDocument/2006/relationships/chart" Target="../charts/chart2040.xml"/></Relationships>
</file>

<file path=ppt/slides/_rels/slide10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5.xml"/><Relationship Id="rId3" Type="http://schemas.openxmlformats.org/officeDocument/2006/relationships/chart" Target="../charts/chart2041.xml"/><Relationship Id="rId4" Type="http://schemas.openxmlformats.org/officeDocument/2006/relationships/chart" Target="../charts/chart2042.xml"/></Relationships>
</file>

<file path=ppt/slides/_rels/slide10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0.xml"/><Relationship Id="rId3" Type="http://schemas.openxmlformats.org/officeDocument/2006/relationships/chart" Target="../charts/chart2051.xml"/><Relationship Id="rId4" Type="http://schemas.openxmlformats.org/officeDocument/2006/relationships/chart" Target="../charts/chart2052.xml"/></Relationships>
</file>

<file path=ppt/slides/_rels/slide10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1.xml"/><Relationship Id="rId3" Type="http://schemas.openxmlformats.org/officeDocument/2006/relationships/chart" Target="../charts/chart2053.xml"/><Relationship Id="rId4" Type="http://schemas.openxmlformats.org/officeDocument/2006/relationships/chart" Target="../charts/chart2054.xml"/></Relationships>
</file>

<file path=ppt/slides/_rels/slide10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2.xml"/><Relationship Id="rId3" Type="http://schemas.openxmlformats.org/officeDocument/2006/relationships/chart" Target="../charts/chart2055.xml"/><Relationship Id="rId4" Type="http://schemas.openxmlformats.org/officeDocument/2006/relationships/chart" Target="../charts/chart2056.xml"/></Relationships>
</file>

<file path=ppt/slides/_rels/slide10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9.xml"/><Relationship Id="rId3" Type="http://schemas.openxmlformats.org/officeDocument/2006/relationships/chart" Target="../charts/chart2069.xml"/><Relationship Id="rId4" Type="http://schemas.openxmlformats.org/officeDocument/2006/relationships/chart" Target="../charts/chart2070.xml"/></Relationships>
</file>

<file path=ppt/slides/_rels/slide10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6.xml"/><Relationship Id="rId3" Type="http://schemas.openxmlformats.org/officeDocument/2006/relationships/chart" Target="../charts/chart2083.xml"/><Relationship Id="rId4" Type="http://schemas.openxmlformats.org/officeDocument/2006/relationships/chart" Target="../charts/chart2084.xml"/></Relationships>
</file>

<file path=ppt/slides/_rels/slide10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7.xml"/><Relationship Id="rId3" Type="http://schemas.openxmlformats.org/officeDocument/2006/relationships/chart" Target="../charts/chart2085.xml"/><Relationship Id="rId4" Type="http://schemas.openxmlformats.org/officeDocument/2006/relationships/chart" Target="../charts/chart2086.xml"/></Relationships>
</file>

<file path=ppt/slides/_rels/slide10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2.xml"/><Relationship Id="rId3" Type="http://schemas.openxmlformats.org/officeDocument/2006/relationships/chart" Target="../charts/chart2095.xml"/><Relationship Id="rId4" Type="http://schemas.openxmlformats.org/officeDocument/2006/relationships/chart" Target="../charts/chart2096.xml"/></Relationships>
</file>

<file path=ppt/slides/_rels/slide10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3.xml"/><Relationship Id="rId3" Type="http://schemas.openxmlformats.org/officeDocument/2006/relationships/chart" Target="../charts/chart2097.xml"/><Relationship Id="rId4" Type="http://schemas.openxmlformats.org/officeDocument/2006/relationships/chart" Target="../charts/chart2098.xml"/></Relationships>
</file>

<file path=ppt/slides/_rels/slide10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4.xml"/><Relationship Id="rId3" Type="http://schemas.openxmlformats.org/officeDocument/2006/relationships/chart" Target="../charts/chart2099.xml"/><Relationship Id="rId4" Type="http://schemas.openxmlformats.org/officeDocument/2006/relationships/chart" Target="../charts/chart2100.xml"/></Relationships>
</file>

<file path=ppt/slides/_rels/slide10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0.xml"/><Relationship Id="rId3" Type="http://schemas.openxmlformats.org/officeDocument/2006/relationships/chart" Target="../charts/chart2111.xml"/><Relationship Id="rId4" Type="http://schemas.openxmlformats.org/officeDocument/2006/relationships/chart" Target="../charts/chart2112.xml"/></Relationships>
</file>

<file path=ppt/slides/_rels/slide10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8.xml"/><Relationship Id="rId3" Type="http://schemas.openxmlformats.org/officeDocument/2006/relationships/chart" Target="../charts/chart2127.xml"/><Relationship Id="rId4" Type="http://schemas.openxmlformats.org/officeDocument/2006/relationships/chart" Target="../charts/chart2128.xml"/></Relationships>
</file>

<file path=ppt/slides/_rels/slide10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9.xml"/><Relationship Id="rId3" Type="http://schemas.openxmlformats.org/officeDocument/2006/relationships/chart" Target="../charts/chart2129.xml"/><Relationship Id="rId4" Type="http://schemas.openxmlformats.org/officeDocument/2006/relationships/chart" Target="../charts/chart2130.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 Id="rId6" Type="http://schemas.openxmlformats.org/officeDocument/2006/relationships/chart" Target="../charts/chart214.xml"/></Relationships>
</file>

<file path=ppt/slides/_rels/slide10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5.xml"/><Relationship Id="rId3" Type="http://schemas.openxmlformats.org/officeDocument/2006/relationships/chart" Target="../charts/chart2141.xml"/><Relationship Id="rId4" Type="http://schemas.openxmlformats.org/officeDocument/2006/relationships/chart" Target="../charts/chart2142.xml"/></Relationships>
</file>

<file path=ppt/slides/_rels/slide10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6.xml"/><Relationship Id="rId3" Type="http://schemas.openxmlformats.org/officeDocument/2006/relationships/chart" Target="../charts/chart2143.xml"/><Relationship Id="rId4" Type="http://schemas.openxmlformats.org/officeDocument/2006/relationships/chart" Target="../charts/chart2144.xml"/></Relationships>
</file>

<file path=ppt/slides/_rels/slide10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1.xml"/><Relationship Id="rId3" Type="http://schemas.openxmlformats.org/officeDocument/2006/relationships/chart" Target="../charts/chart2153.xml"/><Relationship Id="rId4" Type="http://schemas.openxmlformats.org/officeDocument/2006/relationships/chart" Target="../charts/chart2154.xml"/></Relationships>
</file>

<file path=ppt/slides/_rels/slide10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2.xml"/><Relationship Id="rId3" Type="http://schemas.openxmlformats.org/officeDocument/2006/relationships/chart" Target="../charts/chart2155.xml"/><Relationship Id="rId4" Type="http://schemas.openxmlformats.org/officeDocument/2006/relationships/chart" Target="../charts/chart2156.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 Id="rId6" Type="http://schemas.openxmlformats.org/officeDocument/2006/relationships/chart" Target="../charts/chart216.xml"/></Relationships>
</file>

<file path=ppt/slides/_rels/slide10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7.xml"/><Relationship Id="rId3" Type="http://schemas.openxmlformats.org/officeDocument/2006/relationships/chart" Target="../charts/chart2185.xml"/><Relationship Id="rId4" Type="http://schemas.openxmlformats.org/officeDocument/2006/relationships/chart" Target="../charts/chart2186.xml"/></Relationships>
</file>

<file path=ppt/slides/_rels/slide10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8.xml"/><Relationship Id="rId3" Type="http://schemas.openxmlformats.org/officeDocument/2006/relationships/chart" Target="../charts/chart2187.xml"/><Relationship Id="rId4" Type="http://schemas.openxmlformats.org/officeDocument/2006/relationships/chart" Target="../charts/chart2188.xml"/></Relationships>
</file>

<file path=ppt/slides/_rels/slide1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6.xml"/><Relationship Id="rId3" Type="http://schemas.openxmlformats.org/officeDocument/2006/relationships/chart" Target="../charts/chart2203.xml"/><Relationship Id="rId4" Type="http://schemas.openxmlformats.org/officeDocument/2006/relationships/chart" Target="../charts/chart2204.xml"/></Relationships>
</file>

<file path=ppt/slides/_rels/slide1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7.xml"/><Relationship Id="rId3" Type="http://schemas.openxmlformats.org/officeDocument/2006/relationships/chart" Target="../charts/chart2205.xml"/><Relationship Id="rId4" Type="http://schemas.openxmlformats.org/officeDocument/2006/relationships/chart" Target="../charts/chart2206.xml"/></Relationships>
</file>

<file path=ppt/slides/_rels/slide1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3.xml"/><Relationship Id="rId3" Type="http://schemas.openxmlformats.org/officeDocument/2006/relationships/chart" Target="../charts/chart2217.xml"/><Relationship Id="rId4" Type="http://schemas.openxmlformats.org/officeDocument/2006/relationships/chart" Target="../charts/chart2218.xml"/></Relationships>
</file>

<file path=ppt/slides/_rels/slide1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4.xml"/><Relationship Id="rId3" Type="http://schemas.openxmlformats.org/officeDocument/2006/relationships/chart" Target="../charts/chart2219.xml"/><Relationship Id="rId4" Type="http://schemas.openxmlformats.org/officeDocument/2006/relationships/chart" Target="../charts/chart2220.xml"/></Relationships>
</file>

<file path=ppt/slides/_rels/slide1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0.xml"/><Relationship Id="rId3" Type="http://schemas.openxmlformats.org/officeDocument/2006/relationships/chart" Target="../charts/chart2231.xml"/><Relationship Id="rId4" Type="http://schemas.openxmlformats.org/officeDocument/2006/relationships/chart" Target="../charts/chart2232.xml"/></Relationships>
</file>

<file path=ppt/slides/_rels/slide1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1.xml"/><Relationship Id="rId3" Type="http://schemas.openxmlformats.org/officeDocument/2006/relationships/chart" Target="../charts/chart2233.xml"/><Relationship Id="rId4" Type="http://schemas.openxmlformats.org/officeDocument/2006/relationships/chart" Target="../charts/chart2234.xml"/></Relationships>
</file>

<file path=ppt/slides/_rels/slide1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8.xml"/><Relationship Id="rId3" Type="http://schemas.openxmlformats.org/officeDocument/2006/relationships/chart" Target="../charts/chart2247.xml"/><Relationship Id="rId4" Type="http://schemas.openxmlformats.org/officeDocument/2006/relationships/chart" Target="../charts/chart2248.xml"/></Relationships>
</file>

<file path=ppt/slides/_rels/slide1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9.xml"/><Relationship Id="rId3" Type="http://schemas.openxmlformats.org/officeDocument/2006/relationships/chart" Target="../charts/chart2249.xml"/><Relationship Id="rId4" Type="http://schemas.openxmlformats.org/officeDocument/2006/relationships/chart" Target="../charts/chart2250.xml"/></Relationships>
</file>

<file path=ppt/slides/_rels/slide1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5.xml"/><Relationship Id="rId3" Type="http://schemas.openxmlformats.org/officeDocument/2006/relationships/chart" Target="../charts/chart2261.xml"/><Relationship Id="rId4" Type="http://schemas.openxmlformats.org/officeDocument/2006/relationships/chart" Target="../charts/chart2262.xml"/></Relationships>
</file>

<file path=ppt/slides/_rels/slide1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6.xml"/><Relationship Id="rId3" Type="http://schemas.openxmlformats.org/officeDocument/2006/relationships/chart" Target="../charts/chart2263.xml"/><Relationship Id="rId4" Type="http://schemas.openxmlformats.org/officeDocument/2006/relationships/chart" Target="../charts/chart2264.xml"/></Relationships>
</file>

<file path=ppt/slides/_rels/slide1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2.xml"/><Relationship Id="rId3" Type="http://schemas.openxmlformats.org/officeDocument/2006/relationships/chart" Target="../charts/chart2275.xml"/><Relationship Id="rId4" Type="http://schemas.openxmlformats.org/officeDocument/2006/relationships/chart" Target="../charts/chart2276.xml"/></Relationships>
</file>

<file path=ppt/slides/_rels/slide1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3.xml"/><Relationship Id="rId3" Type="http://schemas.openxmlformats.org/officeDocument/2006/relationships/chart" Target="../charts/chart2277.xml"/><Relationship Id="rId4" Type="http://schemas.openxmlformats.org/officeDocument/2006/relationships/chart" Target="../charts/chart2278.xml"/></Relationships>
</file>

<file path=ppt/slides/_rels/slide11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7.xml"/><Relationship Id="rId3" Type="http://schemas.openxmlformats.org/officeDocument/2006/relationships/chart" Target="../charts/chart2305.xml"/><Relationship Id="rId4" Type="http://schemas.openxmlformats.org/officeDocument/2006/relationships/chart" Target="../charts/chart2306.xml"/></Relationships>
</file>

<file path=ppt/slides/_rels/slide11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8.xml"/><Relationship Id="rId3" Type="http://schemas.openxmlformats.org/officeDocument/2006/relationships/chart" Target="../charts/chart2307.xml"/><Relationship Id="rId4" Type="http://schemas.openxmlformats.org/officeDocument/2006/relationships/chart" Target="../charts/chart2308.xml"/></Relationships>
</file>

<file path=ppt/slides/_rels/slide11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4.xml"/><Relationship Id="rId3" Type="http://schemas.openxmlformats.org/officeDocument/2006/relationships/chart" Target="../charts/chart2319.xml"/><Relationship Id="rId4" Type="http://schemas.openxmlformats.org/officeDocument/2006/relationships/chart" Target="../charts/chart2320.xml"/></Relationships>
</file>

<file path=ppt/slides/_rels/slide11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5.xml"/><Relationship Id="rId3" Type="http://schemas.openxmlformats.org/officeDocument/2006/relationships/chart" Target="../charts/chart2321.xml"/><Relationship Id="rId4" Type="http://schemas.openxmlformats.org/officeDocument/2006/relationships/chart" Target="../charts/chart2322.xml"/></Relationships>
</file>

<file path=ppt/slides/_rels/slide1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0.xml"/><Relationship Id="rId3" Type="http://schemas.openxmlformats.org/officeDocument/2006/relationships/chart" Target="../charts/chart2331.xml"/><Relationship Id="rId4" Type="http://schemas.openxmlformats.org/officeDocument/2006/relationships/chart" Target="../charts/chart2332.xml"/></Relationships>
</file>

<file path=ppt/slides/_rels/slide11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1.xml"/><Relationship Id="rId3" Type="http://schemas.openxmlformats.org/officeDocument/2006/relationships/chart" Target="../charts/chart2333.xml"/><Relationship Id="rId4" Type="http://schemas.openxmlformats.org/officeDocument/2006/relationships/chart" Target="../charts/chart2334.xml"/></Relationships>
</file>

<file path=ppt/slides/_rels/slide11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2.xml"/><Relationship Id="rId3" Type="http://schemas.openxmlformats.org/officeDocument/2006/relationships/chart" Target="../charts/chart2335.xml"/><Relationship Id="rId4" Type="http://schemas.openxmlformats.org/officeDocument/2006/relationships/chart" Target="../charts/chart2336.xml"/></Relationships>
</file>

<file path=ppt/slides/_rels/slide11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9.xml"/><Relationship Id="rId3" Type="http://schemas.openxmlformats.org/officeDocument/2006/relationships/chart" Target="../charts/chart2349.xml"/><Relationship Id="rId4" Type="http://schemas.openxmlformats.org/officeDocument/2006/relationships/chart" Target="../charts/chart2350.xml"/></Relationships>
</file>

<file path=ppt/slides/_rels/slide11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6.xml"/><Relationship Id="rId3" Type="http://schemas.openxmlformats.org/officeDocument/2006/relationships/chart" Target="../charts/chart2363.xml"/><Relationship Id="rId4" Type="http://schemas.openxmlformats.org/officeDocument/2006/relationships/chart" Target="../charts/chart2364.xml"/></Relationships>
</file>

<file path=ppt/slides/_rels/slide11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7.xml"/><Relationship Id="rId3" Type="http://schemas.openxmlformats.org/officeDocument/2006/relationships/chart" Target="../charts/chart2365.xml"/><Relationship Id="rId4" Type="http://schemas.openxmlformats.org/officeDocument/2006/relationships/chart" Target="../charts/chart2366.xml"/></Relationships>
</file>

<file path=ppt/slides/_rels/slide11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2.xml"/><Relationship Id="rId3" Type="http://schemas.openxmlformats.org/officeDocument/2006/relationships/chart" Target="../charts/chart2375.xml"/><Relationship Id="rId4" Type="http://schemas.openxmlformats.org/officeDocument/2006/relationships/chart" Target="../charts/chart2376.xml"/></Relationships>
</file>

<file path=ppt/slides/_rels/slide11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3.xml"/><Relationship Id="rId3" Type="http://schemas.openxmlformats.org/officeDocument/2006/relationships/chart" Target="../charts/chart2377.xml"/><Relationship Id="rId4" Type="http://schemas.openxmlformats.org/officeDocument/2006/relationships/chart" Target="../charts/chart2378.xml"/></Relationships>
</file>

<file path=ppt/slides/_rels/slide11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4.xml"/><Relationship Id="rId3" Type="http://schemas.openxmlformats.org/officeDocument/2006/relationships/chart" Target="../charts/chart2379.xml"/><Relationship Id="rId4" Type="http://schemas.openxmlformats.org/officeDocument/2006/relationships/chart" Target="../charts/chart2380.xml"/></Relationships>
</file>

<file path=ppt/slides/_rels/slide11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2.xml"/><Relationship Id="rId3" Type="http://schemas.openxmlformats.org/officeDocument/2006/relationships/chart" Target="../charts/chart2395.xml"/><Relationship Id="rId4" Type="http://schemas.openxmlformats.org/officeDocument/2006/relationships/chart" Target="../charts/chart2396.xml"/></Relationships>
</file>

<file path=ppt/slides/_rels/slide11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3.xml"/><Relationship Id="rId3" Type="http://schemas.openxmlformats.org/officeDocument/2006/relationships/chart" Target="../charts/chart2397.xml"/><Relationship Id="rId4" Type="http://schemas.openxmlformats.org/officeDocument/2006/relationships/chart" Target="../charts/chart2398.xml"/></Relationships>
</file>

<file path=ppt/slides/_rels/slide12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0.xml"/><Relationship Id="rId3" Type="http://schemas.openxmlformats.org/officeDocument/2006/relationships/chart" Target="../charts/chart2411.xml"/><Relationship Id="rId4" Type="http://schemas.openxmlformats.org/officeDocument/2006/relationships/chart" Target="../charts/chart2412.xml"/></Relationships>
</file>

<file path=ppt/slides/_rels/slide12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7.xml"/><Relationship Id="rId3" Type="http://schemas.openxmlformats.org/officeDocument/2006/relationships/chart" Target="../charts/chart2425.xml"/><Relationship Id="rId4" Type="http://schemas.openxmlformats.org/officeDocument/2006/relationships/chart" Target="../charts/chart2426.xml"/></Relationships>
</file>

<file path=ppt/slides/_rels/slide12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8.xml"/><Relationship Id="rId3" Type="http://schemas.openxmlformats.org/officeDocument/2006/relationships/chart" Target="../charts/chart2427.xml"/><Relationship Id="rId4" Type="http://schemas.openxmlformats.org/officeDocument/2006/relationships/chart" Target="../charts/chart2428.xml"/></Relationships>
</file>

<file path=ppt/slides/_rels/slide12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9.xml"/><Relationship Id="rId3" Type="http://schemas.openxmlformats.org/officeDocument/2006/relationships/chart" Target="../charts/chart2429.xml"/><Relationship Id="rId4" Type="http://schemas.openxmlformats.org/officeDocument/2006/relationships/chart" Target="../charts/chart2430.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 Id="rId6" Type="http://schemas.openxmlformats.org/officeDocument/2006/relationships/chart" Target="../charts/chart244.xml"/></Relationships>
</file>

<file path=ppt/slides/_rels/slide12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4.xml"/><Relationship Id="rId3" Type="http://schemas.openxmlformats.org/officeDocument/2006/relationships/chart" Target="../charts/chart2439.xml"/><Relationship Id="rId4" Type="http://schemas.openxmlformats.org/officeDocument/2006/relationships/chart" Target="../charts/chart2440.xml"/></Relationships>
</file>

<file path=ppt/slides/_rels/slide12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5.xml"/><Relationship Id="rId3" Type="http://schemas.openxmlformats.org/officeDocument/2006/relationships/chart" Target="../charts/chart2441.xml"/><Relationship Id="rId4" Type="http://schemas.openxmlformats.org/officeDocument/2006/relationships/chart" Target="../charts/chart2442.xml"/></Relationships>
</file>

<file path=ppt/slides/_rels/slide12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1.xml"/><Relationship Id="rId3" Type="http://schemas.openxmlformats.org/officeDocument/2006/relationships/chart" Target="../charts/chart2453.xml"/><Relationship Id="rId4" Type="http://schemas.openxmlformats.org/officeDocument/2006/relationships/chart" Target="../charts/chart2454.xml"/></Relationships>
</file>

<file path=ppt/slides/_rels/slide12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2.xml"/><Relationship Id="rId3" Type="http://schemas.openxmlformats.org/officeDocument/2006/relationships/chart" Target="../charts/chart2455.xml"/><Relationship Id="rId4" Type="http://schemas.openxmlformats.org/officeDocument/2006/relationships/chart" Target="../charts/chart2456.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 Id="rId6" Type="http://schemas.openxmlformats.org/officeDocument/2006/relationships/chart" Target="../charts/chart246.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 Id="rId6" Type="http://schemas.openxmlformats.org/officeDocument/2006/relationships/chart" Target="../charts/chart248.xml"/></Relationships>
</file>

<file path=ppt/slides/_rels/slide12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6.xml"/><Relationship Id="rId3" Type="http://schemas.openxmlformats.org/officeDocument/2006/relationships/chart" Target="../charts/chart2483.xml"/><Relationship Id="rId4" Type="http://schemas.openxmlformats.org/officeDocument/2006/relationships/chart" Target="../charts/chart2484.xml"/></Relationships>
</file>

<file path=ppt/slides/_rels/slide12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7.xml"/><Relationship Id="rId3" Type="http://schemas.openxmlformats.org/officeDocument/2006/relationships/chart" Target="../charts/chart2485.xml"/><Relationship Id="rId4" Type="http://schemas.openxmlformats.org/officeDocument/2006/relationships/chart" Target="../charts/chart2486.xml"/></Relationships>
</file>

<file path=ppt/slides/_rels/slide12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3.xml"/><Relationship Id="rId3" Type="http://schemas.openxmlformats.org/officeDocument/2006/relationships/chart" Target="../charts/chart2497.xml"/><Relationship Id="rId4" Type="http://schemas.openxmlformats.org/officeDocument/2006/relationships/chart" Target="../charts/chart2498.xml"/></Relationships>
</file>

<file path=ppt/slides/_rels/slide12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4.xml"/><Relationship Id="rId3" Type="http://schemas.openxmlformats.org/officeDocument/2006/relationships/chart" Target="../charts/chart2499.xml"/><Relationship Id="rId4" Type="http://schemas.openxmlformats.org/officeDocument/2006/relationships/chart" Target="../charts/chart2500.xml"/></Relationships>
</file>

<file path=ppt/slides/_rels/slide12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0.xml"/><Relationship Id="rId3" Type="http://schemas.openxmlformats.org/officeDocument/2006/relationships/chart" Target="../charts/chart2511.xml"/><Relationship Id="rId4" Type="http://schemas.openxmlformats.org/officeDocument/2006/relationships/chart" Target="../charts/chart2512.xml"/></Relationships>
</file>

<file path=ppt/slides/_rels/slide12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1.xml"/><Relationship Id="rId3" Type="http://schemas.openxmlformats.org/officeDocument/2006/relationships/chart" Target="../charts/chart2513.xml"/><Relationship Id="rId4" Type="http://schemas.openxmlformats.org/officeDocument/2006/relationships/chart" Target="../charts/chart2514.xml"/></Relationships>
</file>

<file path=ppt/slides/_rels/slide1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8.xml"/><Relationship Id="rId3" Type="http://schemas.openxmlformats.org/officeDocument/2006/relationships/chart" Target="../charts/chart2527.xml"/><Relationship Id="rId4" Type="http://schemas.openxmlformats.org/officeDocument/2006/relationships/chart" Target="../charts/chart2528.xml"/></Relationships>
</file>

<file path=ppt/slides/_rels/slide12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9.xml"/><Relationship Id="rId3" Type="http://schemas.openxmlformats.org/officeDocument/2006/relationships/chart" Target="../charts/chart2529.xml"/><Relationship Id="rId4" Type="http://schemas.openxmlformats.org/officeDocument/2006/relationships/chart" Target="../charts/chart2530.xml"/></Relationships>
</file>

<file path=ppt/slides/_rels/slide12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5.xml"/><Relationship Id="rId3" Type="http://schemas.openxmlformats.org/officeDocument/2006/relationships/chart" Target="../charts/chart2541.xml"/><Relationship Id="rId4" Type="http://schemas.openxmlformats.org/officeDocument/2006/relationships/chart" Target="../charts/chart2542.xml"/></Relationships>
</file>

<file path=ppt/slides/_rels/slide12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6.xml"/><Relationship Id="rId3" Type="http://schemas.openxmlformats.org/officeDocument/2006/relationships/chart" Target="../charts/chart2543.xml"/><Relationship Id="rId4" Type="http://schemas.openxmlformats.org/officeDocument/2006/relationships/chart" Target="../charts/chart2544.xml"/></Relationships>
</file>

<file path=ppt/slides/_rels/slide12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2.xml"/><Relationship Id="rId3" Type="http://schemas.openxmlformats.org/officeDocument/2006/relationships/chart" Target="../charts/chart2555.xml"/><Relationship Id="rId4" Type="http://schemas.openxmlformats.org/officeDocument/2006/relationships/chart" Target="../charts/chart2556.xml"/></Relationships>
</file>

<file path=ppt/slides/_rels/slide12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3.xml"/><Relationship Id="rId3" Type="http://schemas.openxmlformats.org/officeDocument/2006/relationships/chart" Target="../charts/chart2557.xml"/><Relationship Id="rId4" Type="http://schemas.openxmlformats.org/officeDocument/2006/relationships/chart" Target="../charts/chart255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 Id="rId6" Type="http://schemas.openxmlformats.org/officeDocument/2006/relationships/chart" Target="../charts/chart258.xml"/></Relationships>
</file>

<file path=ppt/slides/_rels/slide12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7.xml"/><Relationship Id="rId3" Type="http://schemas.openxmlformats.org/officeDocument/2006/relationships/chart" Target="../charts/chart2585.xml"/><Relationship Id="rId4" Type="http://schemas.openxmlformats.org/officeDocument/2006/relationships/chart" Target="../charts/chart2586.xml"/></Relationships>
</file>

<file path=ppt/slides/_rels/slide12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8.xml"/><Relationship Id="rId3" Type="http://schemas.openxmlformats.org/officeDocument/2006/relationships/chart" Target="../charts/chart2587.xml"/><Relationship Id="rId4" Type="http://schemas.openxmlformats.org/officeDocument/2006/relationships/chart" Target="../charts/chart2588.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 Id="rId6" Type="http://schemas.openxmlformats.org/officeDocument/2006/relationships/chart" Target="../charts/chart260.xml"/></Relationships>
</file>

<file path=ppt/slides/_rels/slide13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7.xml"/><Relationship Id="rId3" Type="http://schemas.openxmlformats.org/officeDocument/2006/relationships/chart" Target="../charts/chart2605.xml"/><Relationship Id="rId4" Type="http://schemas.openxmlformats.org/officeDocument/2006/relationships/chart" Target="../charts/chart2606.xml"/></Relationships>
</file>

<file path=ppt/slides/_rels/slide13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8.xml"/><Relationship Id="rId3" Type="http://schemas.openxmlformats.org/officeDocument/2006/relationships/chart" Target="../charts/chart2607.xml"/><Relationship Id="rId4" Type="http://schemas.openxmlformats.org/officeDocument/2006/relationships/chart" Target="../charts/chart2608.xml"/></Relationships>
</file>

<file path=ppt/slides/_rels/slide13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3.xml"/><Relationship Id="rId3" Type="http://schemas.openxmlformats.org/officeDocument/2006/relationships/chart" Target="../charts/chart2617.xml"/><Relationship Id="rId4" Type="http://schemas.openxmlformats.org/officeDocument/2006/relationships/chart" Target="../charts/chart2618.xml"/></Relationships>
</file>

<file path=ppt/slides/_rels/slide13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4.xml"/><Relationship Id="rId3" Type="http://schemas.openxmlformats.org/officeDocument/2006/relationships/chart" Target="../charts/chart2619.xml"/><Relationship Id="rId4" Type="http://schemas.openxmlformats.org/officeDocument/2006/relationships/chart" Target="../charts/chart2620.xml"/></Relationships>
</file>

<file path=ppt/slides/_rels/slide13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0.xml"/><Relationship Id="rId3" Type="http://schemas.openxmlformats.org/officeDocument/2006/relationships/chart" Target="../charts/chart2631.xml"/><Relationship Id="rId4" Type="http://schemas.openxmlformats.org/officeDocument/2006/relationships/chart" Target="../charts/chart2632.xml"/></Relationships>
</file>

<file path=ppt/slides/_rels/slide13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1.xml"/><Relationship Id="rId3" Type="http://schemas.openxmlformats.org/officeDocument/2006/relationships/chart" Target="../charts/chart2633.xml"/><Relationship Id="rId4" Type="http://schemas.openxmlformats.org/officeDocument/2006/relationships/chart" Target="../charts/chart2634.xml"/></Relationships>
</file>

<file path=ppt/slides/_rels/slide13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9.xml"/><Relationship Id="rId3" Type="http://schemas.openxmlformats.org/officeDocument/2006/relationships/chart" Target="../charts/chart2649.xml"/><Relationship Id="rId4" Type="http://schemas.openxmlformats.org/officeDocument/2006/relationships/chart" Target="../charts/chart2650.xml"/></Relationships>
</file>

<file path=ppt/slides/_rels/slide13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5.xml"/><Relationship Id="rId3" Type="http://schemas.openxmlformats.org/officeDocument/2006/relationships/chart" Target="../charts/chart2661.xml"/><Relationship Id="rId4" Type="http://schemas.openxmlformats.org/officeDocument/2006/relationships/chart" Target="../charts/chart2662.xml"/></Relationships>
</file>

<file path=ppt/slides/_rels/slide13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6.xml"/><Relationship Id="rId3" Type="http://schemas.openxmlformats.org/officeDocument/2006/relationships/chart" Target="../charts/chart2663.xml"/><Relationship Id="rId4" Type="http://schemas.openxmlformats.org/officeDocument/2006/relationships/chart" Target="../charts/chart2664.xml"/></Relationships>
</file>

<file path=ppt/slides/_rels/slide13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7.xml"/><Relationship Id="rId3" Type="http://schemas.openxmlformats.org/officeDocument/2006/relationships/chart" Target="../charts/chart2665.xml"/><Relationship Id="rId4" Type="http://schemas.openxmlformats.org/officeDocument/2006/relationships/chart" Target="../charts/chart2666.xml"/></Relationships>
</file>

<file path=ppt/slides/_rels/slide13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2.xml"/><Relationship Id="rId3" Type="http://schemas.openxmlformats.org/officeDocument/2006/relationships/chart" Target="../charts/chart2675.xml"/><Relationship Id="rId4" Type="http://schemas.openxmlformats.org/officeDocument/2006/relationships/chart" Target="../charts/chart2676.xml"/></Relationships>
</file>

<file path=ppt/slides/_rels/slide13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3.xml"/><Relationship Id="rId3" Type="http://schemas.openxmlformats.org/officeDocument/2006/relationships/chart" Target="../charts/chart2677.xml"/><Relationship Id="rId4" Type="http://schemas.openxmlformats.org/officeDocument/2006/relationships/chart" Target="../charts/chart2678.xml"/></Relationships>
</file>

<file path=ppt/slides/_rels/slide13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0.xml"/><Relationship Id="rId3" Type="http://schemas.openxmlformats.org/officeDocument/2006/relationships/chart" Target="../charts/chart2691.xml"/><Relationship Id="rId4" Type="http://schemas.openxmlformats.org/officeDocument/2006/relationships/chart" Target="../charts/chart2692.xml"/></Relationships>
</file>

<file path=ppt/slides/_rels/slide13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7.xml"/><Relationship Id="rId3" Type="http://schemas.openxmlformats.org/officeDocument/2006/relationships/chart" Target="../charts/chart2705.xml"/><Relationship Id="rId4" Type="http://schemas.openxmlformats.org/officeDocument/2006/relationships/chart" Target="../charts/chart2706.xml"/></Relationships>
</file>

<file path=ppt/slides/_rels/slide13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8.xml"/><Relationship Id="rId3" Type="http://schemas.openxmlformats.org/officeDocument/2006/relationships/chart" Target="../charts/chart2707.xml"/><Relationship Id="rId4" Type="http://schemas.openxmlformats.org/officeDocument/2006/relationships/chart" Target="../charts/chart2708.xml"/></Relationships>
</file>

<file path=ppt/slides/_rels/slide13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9.xml"/><Relationship Id="rId3" Type="http://schemas.openxmlformats.org/officeDocument/2006/relationships/chart" Target="../charts/chart2709.xml"/><Relationship Id="rId4" Type="http://schemas.openxmlformats.org/officeDocument/2006/relationships/chart" Target="../charts/chart2710.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 Id="rId6" Type="http://schemas.openxmlformats.org/officeDocument/2006/relationships/chart" Target="../charts/chart272.xml"/></Relationships>
</file>

<file path=ppt/slides/_rels/slide13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4.xml"/><Relationship Id="rId3" Type="http://schemas.openxmlformats.org/officeDocument/2006/relationships/chart" Target="../charts/chart2719.xml"/><Relationship Id="rId4" Type="http://schemas.openxmlformats.org/officeDocument/2006/relationships/chart" Target="../charts/chart2720.xml"/></Relationships>
</file>

<file path=ppt/slides/_rels/slide13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5.xml"/><Relationship Id="rId3" Type="http://schemas.openxmlformats.org/officeDocument/2006/relationships/chart" Target="../charts/chart2721.xml"/><Relationship Id="rId4" Type="http://schemas.openxmlformats.org/officeDocument/2006/relationships/chart" Target="../charts/chart2722.xml"/></Relationships>
</file>

<file path=ppt/slides/_rels/slide13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1.xml"/><Relationship Id="rId3" Type="http://schemas.openxmlformats.org/officeDocument/2006/relationships/chart" Target="../charts/chart2733.xml"/><Relationship Id="rId4" Type="http://schemas.openxmlformats.org/officeDocument/2006/relationships/chart" Target="../charts/chart2734.xml"/></Relationships>
</file>

<file path=ppt/slides/_rels/slide13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2.xml"/><Relationship Id="rId3" Type="http://schemas.openxmlformats.org/officeDocument/2006/relationships/chart" Target="../charts/chart2735.xml"/><Relationship Id="rId4" Type="http://schemas.openxmlformats.org/officeDocument/2006/relationships/chart" Target="../charts/chart27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 Id="rId6" Type="http://schemas.openxmlformats.org/officeDocument/2006/relationships/chart" Target="../charts/chart274.xml"/></Relationships>
</file>

<file path=ppt/slides/_rels/slide13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6.xml"/><Relationship Id="rId3" Type="http://schemas.openxmlformats.org/officeDocument/2006/relationships/chart" Target="../charts/chart2763.xml"/><Relationship Id="rId4" Type="http://schemas.openxmlformats.org/officeDocument/2006/relationships/chart" Target="../charts/chart2764.xml"/></Relationships>
</file>

<file path=ppt/slides/_rels/slide13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7.xml"/><Relationship Id="rId3" Type="http://schemas.openxmlformats.org/officeDocument/2006/relationships/chart" Target="../charts/chart2765.xml"/><Relationship Id="rId4" Type="http://schemas.openxmlformats.org/officeDocument/2006/relationships/chart" Target="../charts/chart2766.xml"/></Relationships>
</file>

<file path=ppt/slides/_rels/slide13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3.xml"/><Relationship Id="rId3" Type="http://schemas.openxmlformats.org/officeDocument/2006/relationships/chart" Target="../charts/chart2777.xml"/><Relationship Id="rId4" Type="http://schemas.openxmlformats.org/officeDocument/2006/relationships/chart" Target="../charts/chart2778.xml"/></Relationships>
</file>

<file path=ppt/slides/_rels/slide13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4.xml"/><Relationship Id="rId3" Type="http://schemas.openxmlformats.org/officeDocument/2006/relationships/chart" Target="../charts/chart2779.xml"/><Relationship Id="rId4" Type="http://schemas.openxmlformats.org/officeDocument/2006/relationships/chart" Target="../charts/chart2780.xml"/></Relationships>
</file>

<file path=ppt/slides/_rels/slide13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2.xml"/><Relationship Id="rId3" Type="http://schemas.openxmlformats.org/officeDocument/2006/relationships/chart" Target="../charts/chart2795.xml"/><Relationship Id="rId4" Type="http://schemas.openxmlformats.org/officeDocument/2006/relationships/chart" Target="../charts/chart2796.xml"/></Relationships>
</file>

<file path=ppt/slides/_rels/slide13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3.xml"/><Relationship Id="rId3" Type="http://schemas.openxmlformats.org/officeDocument/2006/relationships/chart" Target="../charts/chart2797.xml"/><Relationship Id="rId4" Type="http://schemas.openxmlformats.org/officeDocument/2006/relationships/chart" Target="../charts/chart2798.xml"/></Relationships>
</file>

<file path=ppt/slides/_rels/slide14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4.xml"/><Relationship Id="rId3" Type="http://schemas.openxmlformats.org/officeDocument/2006/relationships/chart" Target="../charts/chart2799.xml"/><Relationship Id="rId4" Type="http://schemas.openxmlformats.org/officeDocument/2006/relationships/chart" Target="../charts/chart2800.xml"/></Relationships>
</file>

<file path=ppt/slides/_rels/slide14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0.xml"/><Relationship Id="rId3" Type="http://schemas.openxmlformats.org/officeDocument/2006/relationships/chart" Target="../charts/chart2811.xml"/><Relationship Id="rId4" Type="http://schemas.openxmlformats.org/officeDocument/2006/relationships/chart" Target="../charts/chart2812.xml"/></Relationships>
</file>

<file path=ppt/slides/_rels/slide14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8.xml"/><Relationship Id="rId3" Type="http://schemas.openxmlformats.org/officeDocument/2006/relationships/chart" Target="../charts/chart2827.xml"/><Relationship Id="rId4" Type="http://schemas.openxmlformats.org/officeDocument/2006/relationships/chart" Target="../charts/chart2828.xml"/></Relationships>
</file>

<file path=ppt/slides/_rels/slide14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9.xml"/><Relationship Id="rId3" Type="http://schemas.openxmlformats.org/officeDocument/2006/relationships/chart" Target="../charts/chart2829.xml"/><Relationship Id="rId4" Type="http://schemas.openxmlformats.org/officeDocument/2006/relationships/chart" Target="../charts/chart2830.xml"/></Relationships>
</file>

<file path=ppt/slides/_rels/slide14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5.xml"/><Relationship Id="rId3" Type="http://schemas.openxmlformats.org/officeDocument/2006/relationships/chart" Target="../charts/chart2841.xml"/><Relationship Id="rId4" Type="http://schemas.openxmlformats.org/officeDocument/2006/relationships/chart" Target="../charts/chart2842.xml"/></Relationships>
</file>

<file path=ppt/slides/_rels/slide14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6.xml"/><Relationship Id="rId3" Type="http://schemas.openxmlformats.org/officeDocument/2006/relationships/chart" Target="../charts/chart2843.xml"/><Relationship Id="rId4" Type="http://schemas.openxmlformats.org/officeDocument/2006/relationships/chart" Target="../charts/chart2844.xml"/></Relationships>
</file>

<file path=ppt/slides/_rels/slide14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1.xml"/><Relationship Id="rId3" Type="http://schemas.openxmlformats.org/officeDocument/2006/relationships/chart" Target="../charts/chart2853.xml"/><Relationship Id="rId4" Type="http://schemas.openxmlformats.org/officeDocument/2006/relationships/chart" Target="../charts/chart2854.xml"/></Relationships>
</file>

<file path=ppt/slides/_rels/slide14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2.xml"/><Relationship Id="rId3" Type="http://schemas.openxmlformats.org/officeDocument/2006/relationships/chart" Target="../charts/chart2855.xml"/><Relationship Id="rId4" Type="http://schemas.openxmlformats.org/officeDocument/2006/relationships/chart" Target="../charts/chart2856.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xml"/><Relationship Id="rId6" Type="http://schemas.openxmlformats.org/officeDocument/2006/relationships/chart" Target="../charts/chart288.xml"/></Relationships>
</file>

<file path=ppt/slides/_rels/slide14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7.xml"/><Relationship Id="rId3" Type="http://schemas.openxmlformats.org/officeDocument/2006/relationships/chart" Target="../charts/chart2885.xml"/><Relationship Id="rId4" Type="http://schemas.openxmlformats.org/officeDocument/2006/relationships/chart" Target="../charts/chart2886.xml"/></Relationships>
</file>

<file path=ppt/slides/_rels/slide14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8.xml"/><Relationship Id="rId3" Type="http://schemas.openxmlformats.org/officeDocument/2006/relationships/chart" Target="../charts/chart2887.xml"/><Relationship Id="rId4" Type="http://schemas.openxmlformats.org/officeDocument/2006/relationships/chart" Target="../charts/chart2888.xml"/></Relationships>
</file>

<file path=ppt/slides/_rels/slide14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3.xml"/><Relationship Id="rId3" Type="http://schemas.openxmlformats.org/officeDocument/2006/relationships/chart" Target="../charts/chart2897.xml"/><Relationship Id="rId4" Type="http://schemas.openxmlformats.org/officeDocument/2006/relationships/chart" Target="../charts/chart2898.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 Id="rId6" Type="http://schemas.openxmlformats.org/officeDocument/2006/relationships/chart" Target="../charts/chart290.xml"/></Relationships>
</file>

<file path=ppt/slides/_rels/slide14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4.xml"/><Relationship Id="rId3" Type="http://schemas.openxmlformats.org/officeDocument/2006/relationships/chart" Target="../charts/chart2899.xml"/><Relationship Id="rId4" Type="http://schemas.openxmlformats.org/officeDocument/2006/relationships/chart" Target="../charts/chart2900.xml"/></Relationships>
</file>

<file path=ppt/slides/_rels/slide14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0.xml"/><Relationship Id="rId3" Type="http://schemas.openxmlformats.org/officeDocument/2006/relationships/chart" Target="../charts/chart2911.xml"/><Relationship Id="rId4" Type="http://schemas.openxmlformats.org/officeDocument/2006/relationships/chart" Target="../charts/chart2912.xml"/></Relationships>
</file>

<file path=ppt/slides/_rels/slide14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1.xml"/><Relationship Id="rId3" Type="http://schemas.openxmlformats.org/officeDocument/2006/relationships/chart" Target="../charts/chart2913.xml"/><Relationship Id="rId4" Type="http://schemas.openxmlformats.org/officeDocument/2006/relationships/chart" Target="../charts/chart2914.xml"/></Relationships>
</file>

<file path=ppt/slides/_rels/slide14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9.xml"/><Relationship Id="rId3" Type="http://schemas.openxmlformats.org/officeDocument/2006/relationships/chart" Target="../charts/chart2929.xml"/><Relationship Id="rId4" Type="http://schemas.openxmlformats.org/officeDocument/2006/relationships/chart" Target="../charts/chart2930.xml"/></Relationships>
</file>

<file path=ppt/slides/_rels/slide14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5.xml"/><Relationship Id="rId3" Type="http://schemas.openxmlformats.org/officeDocument/2006/relationships/chart" Target="../charts/chart2941.xml"/><Relationship Id="rId4" Type="http://schemas.openxmlformats.org/officeDocument/2006/relationships/chart" Target="../charts/chart2942.xml"/></Relationships>
</file>

<file path=ppt/slides/_rels/slide14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6.xml"/><Relationship Id="rId3" Type="http://schemas.openxmlformats.org/officeDocument/2006/relationships/chart" Target="../charts/chart2943.xml"/><Relationship Id="rId4" Type="http://schemas.openxmlformats.org/officeDocument/2006/relationships/chart" Target="../charts/chart2944.xml"/></Relationships>
</file>

<file path=ppt/slides/_rels/slide14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7.xml"/><Relationship Id="rId3" Type="http://schemas.openxmlformats.org/officeDocument/2006/relationships/chart" Target="../charts/chart2945.xml"/><Relationship Id="rId4" Type="http://schemas.openxmlformats.org/officeDocument/2006/relationships/chart" Target="../charts/chart2946.xml"/></Relationships>
</file>

<file path=ppt/slides/_rels/slide14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2.xml"/><Relationship Id="rId3" Type="http://schemas.openxmlformats.org/officeDocument/2006/relationships/chart" Target="../charts/chart2955.xml"/><Relationship Id="rId4" Type="http://schemas.openxmlformats.org/officeDocument/2006/relationships/chart" Target="../charts/chart2956.xml"/></Relationships>
</file>

<file path=ppt/slides/_rels/slide14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3.xml"/><Relationship Id="rId3" Type="http://schemas.openxmlformats.org/officeDocument/2006/relationships/chart" Target="../charts/chart2957.xml"/><Relationship Id="rId4" Type="http://schemas.openxmlformats.org/officeDocument/2006/relationships/chart" Target="../charts/chart2958.xml"/></Relationships>
</file>

<file path=ppt/slides/_rels/slide14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0.xml"/><Relationship Id="rId3" Type="http://schemas.openxmlformats.org/officeDocument/2006/relationships/chart" Target="../charts/chart2971.xml"/><Relationship Id="rId4" Type="http://schemas.openxmlformats.org/officeDocument/2006/relationships/chart" Target="../charts/chart2972.xml"/></Relationships>
</file>

<file path=ppt/slides/_rels/slide14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7.xml"/><Relationship Id="rId3" Type="http://schemas.openxmlformats.org/officeDocument/2006/relationships/chart" Target="../charts/chart2985.xml"/><Relationship Id="rId4" Type="http://schemas.openxmlformats.org/officeDocument/2006/relationships/chart" Target="../charts/chart2986.xml"/></Relationships>
</file>

<file path=ppt/slides/_rels/slide14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8.xml"/><Relationship Id="rId3" Type="http://schemas.openxmlformats.org/officeDocument/2006/relationships/chart" Target="../charts/chart2987.xml"/><Relationship Id="rId4" Type="http://schemas.openxmlformats.org/officeDocument/2006/relationships/chart" Target="../charts/chart2988.xml"/></Relationships>
</file>

<file path=ppt/slides/_rels/slide14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9.xml"/><Relationship Id="rId3" Type="http://schemas.openxmlformats.org/officeDocument/2006/relationships/chart" Target="../charts/chart2989.xml"/><Relationship Id="rId4" Type="http://schemas.openxmlformats.org/officeDocument/2006/relationships/chart" Target="../charts/chart2990.xml"/></Relationships>
</file>

<file path=ppt/slides/_rels/slide15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7.xml"/><Relationship Id="rId3" Type="http://schemas.openxmlformats.org/officeDocument/2006/relationships/chart" Target="../charts/chart3005.xml"/><Relationship Id="rId4" Type="http://schemas.openxmlformats.org/officeDocument/2006/relationships/chart" Target="../charts/chart3006.xml"/></Relationships>
</file>

<file path=ppt/slides/_rels/slide15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8.xml"/><Relationship Id="rId3" Type="http://schemas.openxmlformats.org/officeDocument/2006/relationships/chart" Target="../charts/chart3007.xml"/><Relationship Id="rId4" Type="http://schemas.openxmlformats.org/officeDocument/2006/relationships/chart" Target="../charts/chart3008.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 Id="rId6" Type="http://schemas.openxmlformats.org/officeDocument/2006/relationships/chart" Target="../charts/chart302.xml"/></Relationships>
</file>

<file path=ppt/slides/_rels/slide15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4.xml"/><Relationship Id="rId3" Type="http://schemas.openxmlformats.org/officeDocument/2006/relationships/chart" Target="../charts/chart3019.xml"/><Relationship Id="rId4" Type="http://schemas.openxmlformats.org/officeDocument/2006/relationships/chart" Target="../charts/chart3020.xml"/></Relationships>
</file>

<file path=ppt/slides/_rels/slide15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5.xml"/><Relationship Id="rId3" Type="http://schemas.openxmlformats.org/officeDocument/2006/relationships/chart" Target="../charts/chart3021.xml"/><Relationship Id="rId4" Type="http://schemas.openxmlformats.org/officeDocument/2006/relationships/chart" Target="../charts/chart3022.xml"/></Relationships>
</file>

<file path=ppt/slides/_rels/slide15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0.xml"/><Relationship Id="rId3" Type="http://schemas.openxmlformats.org/officeDocument/2006/relationships/chart" Target="../charts/chart3031.xml"/><Relationship Id="rId4" Type="http://schemas.openxmlformats.org/officeDocument/2006/relationships/chart" Target="../charts/chart3032.xml"/></Relationships>
</file>

<file path=ppt/slides/_rels/slide15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1.xml"/><Relationship Id="rId3" Type="http://schemas.openxmlformats.org/officeDocument/2006/relationships/chart" Target="../charts/chart3033.xml"/><Relationship Id="rId4" Type="http://schemas.openxmlformats.org/officeDocument/2006/relationships/chart" Target="../charts/chart3034.xml"/></Relationships>
</file>

<file path=ppt/slides/_rels/slide15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2.xml"/><Relationship Id="rId3" Type="http://schemas.openxmlformats.org/officeDocument/2006/relationships/chart" Target="../charts/chart3035.xml"/><Relationship Id="rId4" Type="http://schemas.openxmlformats.org/officeDocument/2006/relationships/chart" Target="../charts/chart3036.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xml"/><Relationship Id="rId6" Type="http://schemas.openxmlformats.org/officeDocument/2006/relationships/chart" Target="../charts/chart304.xml"/></Relationships>
</file>

<file path=ppt/slides/_rels/slide15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9.xml"/><Relationship Id="rId3" Type="http://schemas.openxmlformats.org/officeDocument/2006/relationships/chart" Target="../charts/chart3049.xml"/><Relationship Id="rId4" Type="http://schemas.openxmlformats.org/officeDocument/2006/relationships/chart" Target="../charts/chart3050.xml"/></Relationships>
</file>

<file path=ppt/slides/_rels/slide15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6.xml"/><Relationship Id="rId3" Type="http://schemas.openxmlformats.org/officeDocument/2006/relationships/chart" Target="../charts/chart3063.xml"/><Relationship Id="rId4" Type="http://schemas.openxmlformats.org/officeDocument/2006/relationships/chart" Target="../charts/chart3064.xml"/></Relationships>
</file>

<file path=ppt/slides/_rels/slide15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7.xml"/><Relationship Id="rId3" Type="http://schemas.openxmlformats.org/officeDocument/2006/relationships/chart" Target="../charts/chart3065.xml"/><Relationship Id="rId4" Type="http://schemas.openxmlformats.org/officeDocument/2006/relationships/chart" Target="../charts/chart3066.xml"/></Relationships>
</file>

<file path=ppt/slides/_rels/slide15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2.xml"/><Relationship Id="rId3" Type="http://schemas.openxmlformats.org/officeDocument/2006/relationships/chart" Target="../charts/chart3075.xml"/><Relationship Id="rId4" Type="http://schemas.openxmlformats.org/officeDocument/2006/relationships/chart" Target="../charts/chart3076.xml"/></Relationships>
</file>

<file path=ppt/slides/_rels/slide15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3.xml"/><Relationship Id="rId3" Type="http://schemas.openxmlformats.org/officeDocument/2006/relationships/chart" Target="../charts/chart3077.xml"/><Relationship Id="rId4" Type="http://schemas.openxmlformats.org/officeDocument/2006/relationships/chart" Target="../charts/chart3078.xml"/></Relationships>
</file>

<file path=ppt/slides/_rels/slide15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4.xml"/><Relationship Id="rId3" Type="http://schemas.openxmlformats.org/officeDocument/2006/relationships/chart" Target="../charts/chart3079.xml"/><Relationship Id="rId4" Type="http://schemas.openxmlformats.org/officeDocument/2006/relationships/chart" Target="../charts/chart3080.xml"/></Relationships>
</file>

<file path=ppt/slides/_rels/slide15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0.xml"/><Relationship Id="rId3" Type="http://schemas.openxmlformats.org/officeDocument/2006/relationships/chart" Target="../charts/chart3091.xml"/><Relationship Id="rId4" Type="http://schemas.openxmlformats.org/officeDocument/2006/relationships/chart" Target="../charts/chart3092.xml"/></Relationships>
</file>

<file path=ppt/slides/_rels/slide15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8.xml"/><Relationship Id="rId3" Type="http://schemas.openxmlformats.org/officeDocument/2006/relationships/chart" Target="../charts/chart3107.xml"/><Relationship Id="rId4" Type="http://schemas.openxmlformats.org/officeDocument/2006/relationships/chart" Target="../charts/chart3108.xml"/></Relationships>
</file>

<file path=ppt/slides/_rels/slide15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9.xml"/><Relationship Id="rId3" Type="http://schemas.openxmlformats.org/officeDocument/2006/relationships/chart" Target="../charts/chart3109.xml"/><Relationship Id="rId4" Type="http://schemas.openxmlformats.org/officeDocument/2006/relationships/chart" Target="../charts/chart3110.xml"/></Relationships>
</file>

<file path=ppt/slides/_rels/slide15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4.xml"/><Relationship Id="rId3" Type="http://schemas.openxmlformats.org/officeDocument/2006/relationships/chart" Target="../charts/chart3119.xml"/><Relationship Id="rId4" Type="http://schemas.openxmlformats.org/officeDocument/2006/relationships/chart" Target="../charts/chart3120.xml"/></Relationships>
</file>

<file path=ppt/slides/_rels/slide15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5.xml"/><Relationship Id="rId3" Type="http://schemas.openxmlformats.org/officeDocument/2006/relationships/chart" Target="../charts/chart3121.xml"/><Relationship Id="rId4" Type="http://schemas.openxmlformats.org/officeDocument/2006/relationships/chart" Target="../charts/chart3122.xml"/></Relationships>
</file>

<file path=ppt/slides/_rels/slide15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6.xml"/><Relationship Id="rId3" Type="http://schemas.openxmlformats.org/officeDocument/2006/relationships/chart" Target="../charts/chart3123.xml"/><Relationship Id="rId4" Type="http://schemas.openxmlformats.org/officeDocument/2006/relationships/chart" Target="../charts/chart3124.xml"/></Relationships>
</file>

<file path=ppt/slides/_rels/slide15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1.xml"/><Relationship Id="rId3" Type="http://schemas.openxmlformats.org/officeDocument/2006/relationships/chart" Target="../charts/chart3133.xml"/><Relationship Id="rId4" Type="http://schemas.openxmlformats.org/officeDocument/2006/relationships/chart" Target="../charts/chart3134.xml"/></Relationships>
</file>

<file path=ppt/slides/_rels/slide15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2.xml"/><Relationship Id="rId3" Type="http://schemas.openxmlformats.org/officeDocument/2006/relationships/chart" Target="../charts/chart3135.xml"/><Relationship Id="rId4" Type="http://schemas.openxmlformats.org/officeDocument/2006/relationships/chart" Target="../charts/chart3136.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5.xml"/><Relationship Id="rId6" Type="http://schemas.openxmlformats.org/officeDocument/2006/relationships/chart" Target="../charts/chart316.xml"/></Relationships>
</file>

<file path=ppt/slides/_rels/slide15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7.xml"/><Relationship Id="rId3" Type="http://schemas.openxmlformats.org/officeDocument/2006/relationships/chart" Target="../charts/chart3165.xml"/><Relationship Id="rId4" Type="http://schemas.openxmlformats.org/officeDocument/2006/relationships/chart" Target="../charts/chart3166.xml"/></Relationships>
</file>

<file path=ppt/slides/_rels/slide15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8.xml"/><Relationship Id="rId3" Type="http://schemas.openxmlformats.org/officeDocument/2006/relationships/chart" Target="../charts/chart3167.xml"/><Relationship Id="rId4" Type="http://schemas.openxmlformats.org/officeDocument/2006/relationships/chart" Target="../charts/chart3168.xml"/></Relationships>
</file>

<file path=ppt/slides/_rels/slide15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3.xml"/><Relationship Id="rId3" Type="http://schemas.openxmlformats.org/officeDocument/2006/relationships/chart" Target="../charts/chart3177.xml"/><Relationship Id="rId4" Type="http://schemas.openxmlformats.org/officeDocument/2006/relationships/chart" Target="../charts/chart317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xml"/><Relationship Id="rId6" Type="http://schemas.openxmlformats.org/officeDocument/2006/relationships/chart" Target="../charts/chart318.xml"/></Relationships>
</file>

<file path=ppt/slides/_rels/slide15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4.xml"/><Relationship Id="rId3" Type="http://schemas.openxmlformats.org/officeDocument/2006/relationships/chart" Target="../charts/chart3179.xml"/><Relationship Id="rId4" Type="http://schemas.openxmlformats.org/officeDocument/2006/relationships/chart" Target="../charts/chart3180.xml"/></Relationships>
</file>

<file path=ppt/slides/_rels/slide15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3.xml"/><Relationship Id="rId3" Type="http://schemas.openxmlformats.org/officeDocument/2006/relationships/chart" Target="../charts/chart3197.xml"/><Relationship Id="rId4" Type="http://schemas.openxmlformats.org/officeDocument/2006/relationships/chart" Target="../charts/chart319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 Id="rId6" Type="http://schemas.openxmlformats.org/officeDocument/2006/relationships/chart" Target="../charts/chart32.xml"/></Relationships>
</file>

<file path=ppt/slides/_rels/slide16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4.xml"/><Relationship Id="rId3" Type="http://schemas.openxmlformats.org/officeDocument/2006/relationships/chart" Target="../charts/chart3199.xml"/><Relationship Id="rId4" Type="http://schemas.openxmlformats.org/officeDocument/2006/relationships/chart" Target="../charts/chart3200.xml"/></Relationships>
</file>

<file path=ppt/slides/_rels/slide16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0.xml"/><Relationship Id="rId3" Type="http://schemas.openxmlformats.org/officeDocument/2006/relationships/chart" Target="../charts/chart3211.xml"/><Relationship Id="rId4" Type="http://schemas.openxmlformats.org/officeDocument/2006/relationships/chart" Target="../charts/chart3212.xml"/></Relationships>
</file>

<file path=ppt/slides/_rels/slide16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1.xml"/><Relationship Id="rId3" Type="http://schemas.openxmlformats.org/officeDocument/2006/relationships/chart" Target="../charts/chart3213.xml"/><Relationship Id="rId4" Type="http://schemas.openxmlformats.org/officeDocument/2006/relationships/chart" Target="../charts/chart3214.xml"/></Relationships>
</file>

<file path=ppt/slides/_rels/slide16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8.xml"/><Relationship Id="rId3" Type="http://schemas.openxmlformats.org/officeDocument/2006/relationships/chart" Target="../charts/chart3227.xml"/><Relationship Id="rId4" Type="http://schemas.openxmlformats.org/officeDocument/2006/relationships/chart" Target="../charts/chart3228.xml"/></Relationships>
</file>

<file path=ppt/slides/_rels/slide16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9.xml"/><Relationship Id="rId3" Type="http://schemas.openxmlformats.org/officeDocument/2006/relationships/chart" Target="../charts/chart3229.xml"/><Relationship Id="rId4" Type="http://schemas.openxmlformats.org/officeDocument/2006/relationships/chart" Target="../charts/chart3230.xml"/></Relationships>
</file>

<file path=ppt/slides/_rels/slide16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5.xml"/><Relationship Id="rId3" Type="http://schemas.openxmlformats.org/officeDocument/2006/relationships/chart" Target="../charts/chart3241.xml"/><Relationship Id="rId4" Type="http://schemas.openxmlformats.org/officeDocument/2006/relationships/chart" Target="../charts/chart3242.xml"/></Relationships>
</file>

<file path=ppt/slides/_rels/slide16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6.xml"/><Relationship Id="rId3" Type="http://schemas.openxmlformats.org/officeDocument/2006/relationships/chart" Target="../charts/chart3243.xml"/><Relationship Id="rId4" Type="http://schemas.openxmlformats.org/officeDocument/2006/relationships/chart" Target="../charts/chart3244.xml"/></Relationships>
</file>

<file path=ppt/slides/_rels/slide16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2.xml"/><Relationship Id="rId3" Type="http://schemas.openxmlformats.org/officeDocument/2006/relationships/chart" Target="../charts/chart3255.xml"/><Relationship Id="rId4" Type="http://schemas.openxmlformats.org/officeDocument/2006/relationships/chart" Target="../charts/chart3256.xml"/></Relationships>
</file>

<file path=ppt/slides/_rels/slide16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3.xml"/><Relationship Id="rId3" Type="http://schemas.openxmlformats.org/officeDocument/2006/relationships/chart" Target="../charts/chart3257.xml"/><Relationship Id="rId4" Type="http://schemas.openxmlformats.org/officeDocument/2006/relationships/chart" Target="../charts/chart3258.xml"/></Relationships>
</file>

<file path=ppt/slides/_rels/slide16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7.xml"/><Relationship Id="rId3" Type="http://schemas.openxmlformats.org/officeDocument/2006/relationships/chart" Target="../charts/chart3285.xml"/><Relationship Id="rId4" Type="http://schemas.openxmlformats.org/officeDocument/2006/relationships/chart" Target="../charts/chart3286.xml"/></Relationships>
</file>

<file path=ppt/slides/_rels/slide16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8.xml"/><Relationship Id="rId3" Type="http://schemas.openxmlformats.org/officeDocument/2006/relationships/chart" Target="../charts/chart3287.xml"/><Relationship Id="rId4" Type="http://schemas.openxmlformats.org/officeDocument/2006/relationships/chart" Target="../charts/chart3288.xml"/></Relationships>
</file>

<file path=ppt/slides/_rels/slide16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4.xml"/><Relationship Id="rId3" Type="http://schemas.openxmlformats.org/officeDocument/2006/relationships/chart" Target="../charts/chart3299.xml"/><Relationship Id="rId4" Type="http://schemas.openxmlformats.org/officeDocument/2006/relationships/chart" Target="../charts/chart3300.xml"/></Relationships>
</file>

<file path=ppt/slides/_rels/slide16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5.xml"/><Relationship Id="rId3" Type="http://schemas.openxmlformats.org/officeDocument/2006/relationships/chart" Target="../charts/chart3301.xml"/><Relationship Id="rId4" Type="http://schemas.openxmlformats.org/officeDocument/2006/relationships/chart" Target="../charts/chart3302.xml"/></Relationships>
</file>

<file path=ppt/slides/_rels/slide16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0.xml"/><Relationship Id="rId3" Type="http://schemas.openxmlformats.org/officeDocument/2006/relationships/chart" Target="../charts/chart3311.xml"/><Relationship Id="rId4" Type="http://schemas.openxmlformats.org/officeDocument/2006/relationships/chart" Target="../charts/chart3312.xml"/></Relationships>
</file>

<file path=ppt/slides/_rels/slide16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1.xml"/><Relationship Id="rId3" Type="http://schemas.openxmlformats.org/officeDocument/2006/relationships/chart" Target="../charts/chart3313.xml"/><Relationship Id="rId4" Type="http://schemas.openxmlformats.org/officeDocument/2006/relationships/chart" Target="../charts/chart3314.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1.xml"/><Relationship Id="rId6" Type="http://schemas.openxmlformats.org/officeDocument/2006/relationships/chart" Target="../charts/chart332.xml"/></Relationships>
</file>

<file path=ppt/slides/_rels/slide16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9.xml"/><Relationship Id="rId3" Type="http://schemas.openxmlformats.org/officeDocument/2006/relationships/chart" Target="../charts/chart3329.xml"/><Relationship Id="rId4" Type="http://schemas.openxmlformats.org/officeDocument/2006/relationships/chart" Target="../charts/chart3330.xml"/></Relationships>
</file>

<file path=ppt/slides/_rels/slide16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6.xml"/><Relationship Id="rId3" Type="http://schemas.openxmlformats.org/officeDocument/2006/relationships/chart" Target="../charts/chart3343.xml"/><Relationship Id="rId4" Type="http://schemas.openxmlformats.org/officeDocument/2006/relationships/chart" Target="../charts/chart3344.xml"/></Relationships>
</file>

<file path=ppt/slides/_rels/slide16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7.xml"/><Relationship Id="rId3" Type="http://schemas.openxmlformats.org/officeDocument/2006/relationships/chart" Target="../charts/chart3345.xml"/><Relationship Id="rId4" Type="http://schemas.openxmlformats.org/officeDocument/2006/relationships/chart" Target="../charts/chart3346.xml"/></Relationships>
</file>

<file path=ppt/slides/_rels/slide16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2.xml"/><Relationship Id="rId3" Type="http://schemas.openxmlformats.org/officeDocument/2006/relationships/chart" Target="../charts/chart3355.xml"/><Relationship Id="rId4" Type="http://schemas.openxmlformats.org/officeDocument/2006/relationships/chart" Target="../charts/chart3356.xml"/></Relationships>
</file>

<file path=ppt/slides/_rels/slide16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3.xml"/><Relationship Id="rId3" Type="http://schemas.openxmlformats.org/officeDocument/2006/relationships/chart" Target="../charts/chart3357.xml"/><Relationship Id="rId4" Type="http://schemas.openxmlformats.org/officeDocument/2006/relationships/chart" Target="../charts/chart3358.xml"/></Relationships>
</file>

<file path=ppt/slides/_rels/slide16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4.xml"/><Relationship Id="rId3" Type="http://schemas.openxmlformats.org/officeDocument/2006/relationships/chart" Target="../charts/chart3359.xml"/><Relationship Id="rId4" Type="http://schemas.openxmlformats.org/officeDocument/2006/relationships/chart" Target="../charts/chart3360.xml"/></Relationships>
</file>

<file path=ppt/slides/_rels/slide16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0.xml"/><Relationship Id="rId3" Type="http://schemas.openxmlformats.org/officeDocument/2006/relationships/chart" Target="../charts/chart3371.xml"/><Relationship Id="rId4" Type="http://schemas.openxmlformats.org/officeDocument/2006/relationships/chart" Target="../charts/chart3372.xml"/></Relationships>
</file>

<file path=ppt/slides/_rels/slide16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8.xml"/><Relationship Id="rId3" Type="http://schemas.openxmlformats.org/officeDocument/2006/relationships/chart" Target="../charts/chart3387.xml"/><Relationship Id="rId4" Type="http://schemas.openxmlformats.org/officeDocument/2006/relationships/chart" Target="../charts/chart3388.xml"/></Relationships>
</file>

<file path=ppt/slides/_rels/slide16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9.xml"/><Relationship Id="rId3" Type="http://schemas.openxmlformats.org/officeDocument/2006/relationships/chart" Target="../charts/chart3389.xml"/><Relationship Id="rId4" Type="http://schemas.openxmlformats.org/officeDocument/2006/relationships/chart" Target="../charts/chart3390.xml"/></Relationships>
</file>

<file path=ppt/slides/_rels/slide16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0.xml"/><Relationship Id="rId3" Type="http://schemas.openxmlformats.org/officeDocument/2006/relationships/chart" Target="../charts/chart3391.xml"/><Relationship Id="rId4" Type="http://schemas.openxmlformats.org/officeDocument/2006/relationships/chart" Target="../charts/chart33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 Id="rId6" Type="http://schemas.openxmlformats.org/officeDocument/2006/relationships/chart" Target="../charts/chart34.xml"/></Relationships>
</file>

<file path=ppt/slides/_rels/slide17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7.xml"/><Relationship Id="rId3" Type="http://schemas.openxmlformats.org/officeDocument/2006/relationships/chart" Target="../charts/chart3405.xml"/><Relationship Id="rId4" Type="http://schemas.openxmlformats.org/officeDocument/2006/relationships/chart" Target="../charts/chart3406.xml"/></Relationships>
</file>

<file path=ppt/slides/_rels/slide17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8.xml"/><Relationship Id="rId3" Type="http://schemas.openxmlformats.org/officeDocument/2006/relationships/chart" Target="../charts/chart3407.xml"/><Relationship Id="rId4" Type="http://schemas.openxmlformats.org/officeDocument/2006/relationships/chart" Target="../charts/chart3408.xml"/></Relationships>
</file>

<file path=ppt/slides/_rels/slide17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9.xml"/><Relationship Id="rId3" Type="http://schemas.openxmlformats.org/officeDocument/2006/relationships/chart" Target="../charts/chart3409.xml"/><Relationship Id="rId4" Type="http://schemas.openxmlformats.org/officeDocument/2006/relationships/chart" Target="../charts/chart3410.xml"/></Relationships>
</file>

<file path=ppt/slides/_rels/slide17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4.xml"/><Relationship Id="rId3" Type="http://schemas.openxmlformats.org/officeDocument/2006/relationships/chart" Target="../charts/chart3419.xml"/><Relationship Id="rId4" Type="http://schemas.openxmlformats.org/officeDocument/2006/relationships/chart" Target="../charts/chart3420.xml"/></Relationships>
</file>

<file path=ppt/slides/_rels/slide17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5.xml"/><Relationship Id="rId3" Type="http://schemas.openxmlformats.org/officeDocument/2006/relationships/chart" Target="../charts/chart3421.xml"/><Relationship Id="rId4" Type="http://schemas.openxmlformats.org/officeDocument/2006/relationships/chart" Target="../charts/chart3422.xml"/></Relationships>
</file>

<file path=ppt/slides/_rels/slide17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1.xml"/><Relationship Id="rId3" Type="http://schemas.openxmlformats.org/officeDocument/2006/relationships/chart" Target="../charts/chart3433.xml"/><Relationship Id="rId4" Type="http://schemas.openxmlformats.org/officeDocument/2006/relationships/chart" Target="../charts/chart3434.xml"/></Relationships>
</file>

<file path=ppt/slides/_rels/slide17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2.xml"/><Relationship Id="rId3" Type="http://schemas.openxmlformats.org/officeDocument/2006/relationships/chart" Target="../charts/chart3435.xml"/><Relationship Id="rId4" Type="http://schemas.openxmlformats.org/officeDocument/2006/relationships/chart" Target="../charts/chart3436.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 Id="rId6" Type="http://schemas.openxmlformats.org/officeDocument/2006/relationships/chart" Target="../charts/chart346.xml"/></Relationships>
</file>

<file path=ppt/slides/_rels/slide17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6.xml"/><Relationship Id="rId3" Type="http://schemas.openxmlformats.org/officeDocument/2006/relationships/chart" Target="../charts/chart3463.xml"/><Relationship Id="rId4" Type="http://schemas.openxmlformats.org/officeDocument/2006/relationships/chart" Target="../charts/chart3464.xml"/></Relationships>
</file>

<file path=ppt/slides/_rels/slide17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7.xml"/><Relationship Id="rId3" Type="http://schemas.openxmlformats.org/officeDocument/2006/relationships/chart" Target="../charts/chart3465.xml"/><Relationship Id="rId4" Type="http://schemas.openxmlformats.org/officeDocument/2006/relationships/chart" Target="../charts/chart3466.xml"/></Relationships>
</file>

<file path=ppt/slides/_rels/slide17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3.xml"/><Relationship Id="rId3" Type="http://schemas.openxmlformats.org/officeDocument/2006/relationships/chart" Target="../charts/chart3477.xml"/><Relationship Id="rId4" Type="http://schemas.openxmlformats.org/officeDocument/2006/relationships/chart" Target="../charts/chart3478.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7.xml"/><Relationship Id="rId6" Type="http://schemas.openxmlformats.org/officeDocument/2006/relationships/chart" Target="../charts/chart348.xml"/></Relationships>
</file>

<file path=ppt/slides/_rels/slide17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4.xml"/><Relationship Id="rId3" Type="http://schemas.openxmlformats.org/officeDocument/2006/relationships/chart" Target="../charts/chart3479.xml"/><Relationship Id="rId4" Type="http://schemas.openxmlformats.org/officeDocument/2006/relationships/chart" Target="../charts/chart3480.xml"/></Relationships>
</file>

<file path=ppt/slides/_rels/slide17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0.xml"/><Relationship Id="rId3" Type="http://schemas.openxmlformats.org/officeDocument/2006/relationships/chart" Target="../charts/chart3491.xml"/><Relationship Id="rId4" Type="http://schemas.openxmlformats.org/officeDocument/2006/relationships/chart" Target="../charts/chart3492.xml"/></Relationships>
</file>

<file path=ppt/slides/_rels/slide17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1.xml"/><Relationship Id="rId3" Type="http://schemas.openxmlformats.org/officeDocument/2006/relationships/chart" Target="../charts/chart3493.xml"/><Relationship Id="rId4" Type="http://schemas.openxmlformats.org/officeDocument/2006/relationships/chart" Target="../charts/chart3494.xml"/></Relationships>
</file>

<file path=ppt/slides/_rels/slide17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8.xml"/><Relationship Id="rId3" Type="http://schemas.openxmlformats.org/officeDocument/2006/relationships/chart" Target="../charts/chart3507.xml"/><Relationship Id="rId4" Type="http://schemas.openxmlformats.org/officeDocument/2006/relationships/chart" Target="../charts/chart3508.xml"/></Relationships>
</file>

<file path=ppt/slides/_rels/slide17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9.xml"/><Relationship Id="rId3" Type="http://schemas.openxmlformats.org/officeDocument/2006/relationships/chart" Target="../charts/chart3509.xml"/><Relationship Id="rId4" Type="http://schemas.openxmlformats.org/officeDocument/2006/relationships/chart" Target="../charts/chart3510.xml"/></Relationships>
</file>

<file path=ppt/slides/_rels/slide17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5.xml"/><Relationship Id="rId3" Type="http://schemas.openxmlformats.org/officeDocument/2006/relationships/chart" Target="../charts/chart3521.xml"/><Relationship Id="rId4" Type="http://schemas.openxmlformats.org/officeDocument/2006/relationships/chart" Target="../charts/chart3522.xml"/></Relationships>
</file>

<file path=ppt/slides/_rels/slide17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6.xml"/><Relationship Id="rId3" Type="http://schemas.openxmlformats.org/officeDocument/2006/relationships/chart" Target="../charts/chart3523.xml"/><Relationship Id="rId4" Type="http://schemas.openxmlformats.org/officeDocument/2006/relationships/chart" Target="../charts/chart3524.xml"/></Relationships>
</file>

<file path=ppt/slides/_rels/slide17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1.xml"/><Relationship Id="rId3" Type="http://schemas.openxmlformats.org/officeDocument/2006/relationships/chart" Target="../charts/chart3533.xml"/><Relationship Id="rId4" Type="http://schemas.openxmlformats.org/officeDocument/2006/relationships/chart" Target="../charts/chart3534.xml"/></Relationships>
</file>

<file path=ppt/slides/_rels/slide17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2.xml"/><Relationship Id="rId3" Type="http://schemas.openxmlformats.org/officeDocument/2006/relationships/chart" Target="../charts/chart3535.xml"/><Relationship Id="rId4" Type="http://schemas.openxmlformats.org/officeDocument/2006/relationships/chart" Target="../charts/chart3536.xml"/></Relationships>
</file>

<file path=ppt/slides/_rels/slide17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3.xml"/><Relationship Id="rId3" Type="http://schemas.openxmlformats.org/officeDocument/2006/relationships/chart" Target="../charts/chart3537.xml"/><Relationship Id="rId4" Type="http://schemas.openxmlformats.org/officeDocument/2006/relationships/chart" Target="../charts/chart3538.xml"/></Relationships>
</file>

<file path=ppt/slides/_rels/slide17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7.xml"/><Relationship Id="rId3" Type="http://schemas.openxmlformats.org/officeDocument/2006/relationships/chart" Target="../charts/chart3565.xml"/><Relationship Id="rId4" Type="http://schemas.openxmlformats.org/officeDocument/2006/relationships/chart" Target="../charts/chart3566.xml"/></Relationships>
</file>

<file path=ppt/slides/_rels/slide17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8.xml"/><Relationship Id="rId3" Type="http://schemas.openxmlformats.org/officeDocument/2006/relationships/chart" Target="../charts/chart3567.xml"/><Relationship Id="rId4" Type="http://schemas.openxmlformats.org/officeDocument/2006/relationships/chart" Target="../charts/chart3568.xml"/></Relationships>
</file>

<file path=ppt/slides/_rels/slide17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4.xml"/><Relationship Id="rId3" Type="http://schemas.openxmlformats.org/officeDocument/2006/relationships/chart" Target="../charts/chart3579.xml"/><Relationship Id="rId4" Type="http://schemas.openxmlformats.org/officeDocument/2006/relationships/chart" Target="../charts/chart3580.xml"/></Relationships>
</file>

<file path=ppt/slides/_rels/slide17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5.xml"/><Relationship Id="rId3" Type="http://schemas.openxmlformats.org/officeDocument/2006/relationships/chart" Target="../charts/chart3581.xml"/><Relationship Id="rId4" Type="http://schemas.openxmlformats.org/officeDocument/2006/relationships/chart" Target="../charts/chart3582.xml"/></Relationships>
</file>

<file path=ppt/slides/_rels/slide17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3.xml"/><Relationship Id="rId3" Type="http://schemas.openxmlformats.org/officeDocument/2006/relationships/chart" Target="../charts/chart3597.xml"/><Relationship Id="rId4" Type="http://schemas.openxmlformats.org/officeDocument/2006/relationships/chart" Target="../charts/chart359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 Id="rId6" Type="http://schemas.openxmlformats.org/officeDocument/2006/relationships/chart" Target="../charts/chart360.xml"/></Relationships>
</file>

<file path=ppt/slides/_rels/slide18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4.xml"/><Relationship Id="rId3" Type="http://schemas.openxmlformats.org/officeDocument/2006/relationships/chart" Target="../charts/chart3599.xml"/><Relationship Id="rId4" Type="http://schemas.openxmlformats.org/officeDocument/2006/relationships/chart" Target="../charts/chart3600.xml"/></Relationships>
</file>

<file path=ppt/slides/_rels/slide18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0.xml"/><Relationship Id="rId3" Type="http://schemas.openxmlformats.org/officeDocument/2006/relationships/chart" Target="../charts/chart3611.xml"/><Relationship Id="rId4" Type="http://schemas.openxmlformats.org/officeDocument/2006/relationships/chart" Target="../charts/chart3612.xml"/></Relationships>
</file>

<file path=ppt/slides/_rels/slide18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1.xml"/><Relationship Id="rId3" Type="http://schemas.openxmlformats.org/officeDocument/2006/relationships/chart" Target="../charts/chart3613.xml"/><Relationship Id="rId4" Type="http://schemas.openxmlformats.org/officeDocument/2006/relationships/chart" Target="../charts/chart3614.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1.xml"/><Relationship Id="rId6" Type="http://schemas.openxmlformats.org/officeDocument/2006/relationships/chart" Target="../charts/chart362.xml"/></Relationships>
</file>

<file path=ppt/slides/_rels/slide18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9.xml"/><Relationship Id="rId3" Type="http://schemas.openxmlformats.org/officeDocument/2006/relationships/chart" Target="../charts/chart3629.xml"/><Relationship Id="rId4" Type="http://schemas.openxmlformats.org/officeDocument/2006/relationships/chart" Target="../charts/chart3630.xml"/></Relationships>
</file>

<file path=ppt/slides/_rels/slide18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5.xml"/><Relationship Id="rId3" Type="http://schemas.openxmlformats.org/officeDocument/2006/relationships/chart" Target="../charts/chart3641.xml"/><Relationship Id="rId4" Type="http://schemas.openxmlformats.org/officeDocument/2006/relationships/chart" Target="../charts/chart3642.xml"/></Relationships>
</file>

<file path=ppt/slides/_rels/slide18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6.xml"/><Relationship Id="rId3" Type="http://schemas.openxmlformats.org/officeDocument/2006/relationships/chart" Target="../charts/chart3643.xml"/><Relationship Id="rId4" Type="http://schemas.openxmlformats.org/officeDocument/2006/relationships/chart" Target="../charts/chart3644.xml"/></Relationships>
</file>

<file path=ppt/slides/_rels/slide18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7.xml"/><Relationship Id="rId3" Type="http://schemas.openxmlformats.org/officeDocument/2006/relationships/chart" Target="../charts/chart3645.xml"/><Relationship Id="rId4" Type="http://schemas.openxmlformats.org/officeDocument/2006/relationships/chart" Target="../charts/chart3646.xml"/></Relationships>
</file>

<file path=ppt/slides/_rels/slide18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2.xml"/><Relationship Id="rId3" Type="http://schemas.openxmlformats.org/officeDocument/2006/relationships/chart" Target="../charts/chart3655.xml"/><Relationship Id="rId4" Type="http://schemas.openxmlformats.org/officeDocument/2006/relationships/chart" Target="../charts/chart3656.xml"/></Relationships>
</file>

<file path=ppt/slides/_rels/slide18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3.xml"/><Relationship Id="rId3" Type="http://schemas.openxmlformats.org/officeDocument/2006/relationships/chart" Target="../charts/chart3657.xml"/><Relationship Id="rId4" Type="http://schemas.openxmlformats.org/officeDocument/2006/relationships/chart" Target="../charts/chart3658.xml"/></Relationships>
</file>

<file path=ppt/slides/_rels/slide18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0.xml"/><Relationship Id="rId3" Type="http://schemas.openxmlformats.org/officeDocument/2006/relationships/chart" Target="../charts/chart3671.xml"/><Relationship Id="rId4" Type="http://schemas.openxmlformats.org/officeDocument/2006/relationships/chart" Target="../charts/chart3672.xml"/></Relationships>
</file>

<file path=ppt/slides/_rels/slide18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7.xml"/><Relationship Id="rId3" Type="http://schemas.openxmlformats.org/officeDocument/2006/relationships/chart" Target="../charts/chart3685.xml"/><Relationship Id="rId4" Type="http://schemas.openxmlformats.org/officeDocument/2006/relationships/chart" Target="../charts/chart3686.xml"/></Relationships>
</file>

<file path=ppt/slides/_rels/slide18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8.xml"/><Relationship Id="rId3" Type="http://schemas.openxmlformats.org/officeDocument/2006/relationships/chart" Target="../charts/chart3687.xml"/><Relationship Id="rId4" Type="http://schemas.openxmlformats.org/officeDocument/2006/relationships/chart" Target="../charts/chart3688.xml"/></Relationships>
</file>

<file path=ppt/slides/_rels/slide18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9.xml"/><Relationship Id="rId3" Type="http://schemas.openxmlformats.org/officeDocument/2006/relationships/chart" Target="../charts/chart3689.xml"/><Relationship Id="rId4" Type="http://schemas.openxmlformats.org/officeDocument/2006/relationships/chart" Target="../charts/chart3690.xml"/></Relationships>
</file>

<file path=ppt/slides/_rels/slide18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4.xml"/><Relationship Id="rId3" Type="http://schemas.openxmlformats.org/officeDocument/2006/relationships/chart" Target="../charts/chart3699.xml"/><Relationship Id="rId4" Type="http://schemas.openxmlformats.org/officeDocument/2006/relationships/chart" Target="../charts/chart3700.xml"/></Relationships>
</file>

<file path=ppt/slides/_rels/slide18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5.xml"/><Relationship Id="rId3" Type="http://schemas.openxmlformats.org/officeDocument/2006/relationships/chart" Target="../charts/chart3701.xml"/><Relationship Id="rId4" Type="http://schemas.openxmlformats.org/officeDocument/2006/relationships/chart" Target="../charts/chart3702.xml"/></Relationships>
</file>

<file path=ppt/slides/_rels/slide1857.xml.rels><?xml version='1.0' encoding='UTF-8' standalone='yes'?>
<Relationships xmlns="http://schemas.openxmlformats.org/package/2006/relationships"><Relationship Id="rId1" Type="http://schemas.openxmlformats.org/officeDocument/2006/relationships/tags" Target="../tags/tag958.xml"/><Relationship Id="rId2" Type="http://schemas.openxmlformats.org/officeDocument/2006/relationships/slideLayout" Target="../slideLayouts/slideLayout7.xml"/><Relationship Id="rId3" Type="http://schemas.openxmlformats.org/officeDocument/2006/relationships/notesSlide" Target="../notesSlides/notesSlide93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13.xml"/><Relationship Id="rId7" Type="http://schemas.openxmlformats.org/officeDocument/2006/relationships/chart" Target="../charts/chart3714.xml"/></Relationships>
</file>

<file path=ppt/slides/_rels/slide1858.xml.rels><?xml version='1.0' encoding='UTF-8' standalone='yes'?>
<Relationships xmlns="http://schemas.openxmlformats.org/package/2006/relationships"><Relationship Id="rId1" Type="http://schemas.openxmlformats.org/officeDocument/2006/relationships/tags" Target="../tags/tag959.xml"/><Relationship Id="rId2" Type="http://schemas.openxmlformats.org/officeDocument/2006/relationships/slideLayout" Target="../slideLayouts/slideLayout7.xml"/><Relationship Id="rId3" Type="http://schemas.openxmlformats.org/officeDocument/2006/relationships/notesSlide" Target="../notesSlides/notesSlide93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15.xml"/><Relationship Id="rId7" Type="http://schemas.openxmlformats.org/officeDocument/2006/relationships/chart" Target="../charts/chart3716.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1.xml"/><Relationship Id="rId6" Type="http://schemas.openxmlformats.org/officeDocument/2006/relationships/chart" Target="../charts/chart372.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3.xml"/><Relationship Id="rId6" Type="http://schemas.openxmlformats.org/officeDocument/2006/relationships/chart" Target="../charts/chart374.xml"/></Relationships>
</file>

<file path=ppt/slides/_rels/slide1872.xml.rels><?xml version='1.0' encoding='UTF-8' standalone='yes'?>
<Relationships xmlns="http://schemas.openxmlformats.org/package/2006/relationships"><Relationship Id="rId1" Type="http://schemas.openxmlformats.org/officeDocument/2006/relationships/tags" Target="../tags/tag973.xml"/><Relationship Id="rId2" Type="http://schemas.openxmlformats.org/officeDocument/2006/relationships/slideLayout" Target="../slideLayouts/slideLayout7.xml"/><Relationship Id="rId3" Type="http://schemas.openxmlformats.org/officeDocument/2006/relationships/notesSlide" Target="../notesSlides/notesSlide94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43.xml"/><Relationship Id="rId7" Type="http://schemas.openxmlformats.org/officeDocument/2006/relationships/chart" Target="../charts/chart3744.xml"/></Relationships>
</file>

<file path=ppt/slides/_rels/slide1873.xml.rels><?xml version='1.0' encoding='UTF-8' standalone='yes'?>
<Relationships xmlns="http://schemas.openxmlformats.org/package/2006/relationships"><Relationship Id="rId1" Type="http://schemas.openxmlformats.org/officeDocument/2006/relationships/tags" Target="../tags/tag974.xml"/><Relationship Id="rId2" Type="http://schemas.openxmlformats.org/officeDocument/2006/relationships/slideLayout" Target="../slideLayouts/slideLayout7.xml"/><Relationship Id="rId3" Type="http://schemas.openxmlformats.org/officeDocument/2006/relationships/notesSlide" Target="../notesSlides/notesSlide94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45.xml"/><Relationship Id="rId7" Type="http://schemas.openxmlformats.org/officeDocument/2006/relationships/chart" Target="../charts/chart3746.xml"/></Relationships>
</file>

<file path=ppt/slides/_rels/slide1879.xml.rels><?xml version='1.0' encoding='UTF-8' standalone='yes'?>
<Relationships xmlns="http://schemas.openxmlformats.org/package/2006/relationships"><Relationship Id="rId1" Type="http://schemas.openxmlformats.org/officeDocument/2006/relationships/tags" Target="../tags/tag980.xml"/><Relationship Id="rId2" Type="http://schemas.openxmlformats.org/officeDocument/2006/relationships/slideLayout" Target="../slideLayouts/slideLayout7.xml"/><Relationship Id="rId3" Type="http://schemas.openxmlformats.org/officeDocument/2006/relationships/notesSlide" Target="../notesSlides/notesSlide95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57.xml"/><Relationship Id="rId7" Type="http://schemas.openxmlformats.org/officeDocument/2006/relationships/chart" Target="../charts/chart3758.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5.xml"/><Relationship Id="rId6" Type="http://schemas.openxmlformats.org/officeDocument/2006/relationships/chart" Target="../charts/chart376.xml"/></Relationships>
</file>

<file path=ppt/slides/_rels/slide1880.xml.rels><?xml version='1.0' encoding='UTF-8' standalone='yes'?>
<Relationships xmlns="http://schemas.openxmlformats.org/package/2006/relationships"><Relationship Id="rId1" Type="http://schemas.openxmlformats.org/officeDocument/2006/relationships/tags" Target="../tags/tag981.xml"/><Relationship Id="rId2" Type="http://schemas.openxmlformats.org/officeDocument/2006/relationships/slideLayout" Target="../slideLayouts/slideLayout7.xml"/><Relationship Id="rId3" Type="http://schemas.openxmlformats.org/officeDocument/2006/relationships/notesSlide" Target="../notesSlides/notesSlide95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59.xml"/><Relationship Id="rId7" Type="http://schemas.openxmlformats.org/officeDocument/2006/relationships/chart" Target="../charts/chart3760.xml"/></Relationships>
</file>

<file path=ppt/slides/_rels/slide1886.xml.rels><?xml version='1.0' encoding='UTF-8' standalone='yes'?>
<Relationships xmlns="http://schemas.openxmlformats.org/package/2006/relationships"><Relationship Id="rId1" Type="http://schemas.openxmlformats.org/officeDocument/2006/relationships/tags" Target="../tags/tag987.xml"/><Relationship Id="rId2" Type="http://schemas.openxmlformats.org/officeDocument/2006/relationships/slideLayout" Target="../slideLayouts/slideLayout7.xml"/><Relationship Id="rId3" Type="http://schemas.openxmlformats.org/officeDocument/2006/relationships/notesSlide" Target="../notesSlides/notesSlide96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71.xml"/><Relationship Id="rId7" Type="http://schemas.openxmlformats.org/officeDocument/2006/relationships/chart" Target="../charts/chart3772.xml"/></Relationships>
</file>

<file path=ppt/slides/_rels/slide1887.xml.rels><?xml version='1.0' encoding='UTF-8' standalone='yes'?>
<Relationships xmlns="http://schemas.openxmlformats.org/package/2006/relationships"><Relationship Id="rId1" Type="http://schemas.openxmlformats.org/officeDocument/2006/relationships/tags" Target="../tags/tag988.xml"/><Relationship Id="rId2" Type="http://schemas.openxmlformats.org/officeDocument/2006/relationships/slideLayout" Target="../slideLayouts/slideLayout7.xml"/><Relationship Id="rId3" Type="http://schemas.openxmlformats.org/officeDocument/2006/relationships/notesSlide" Target="../notesSlides/notesSlide96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73.xml"/><Relationship Id="rId7" Type="http://schemas.openxmlformats.org/officeDocument/2006/relationships/chart" Target="../charts/chart3774.xml"/></Relationships>
</file>

<file path=ppt/slides/_rels/slide1894.xml.rels><?xml version='1.0' encoding='UTF-8' standalone='yes'?>
<Relationships xmlns="http://schemas.openxmlformats.org/package/2006/relationships"><Relationship Id="rId1" Type="http://schemas.openxmlformats.org/officeDocument/2006/relationships/tags" Target="../tags/tag995.xml"/><Relationship Id="rId2" Type="http://schemas.openxmlformats.org/officeDocument/2006/relationships/slideLayout" Target="../slideLayouts/slideLayout7.xml"/><Relationship Id="rId3" Type="http://schemas.openxmlformats.org/officeDocument/2006/relationships/notesSlide" Target="../notesSlides/notesSlide96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87.xml"/><Relationship Id="rId7" Type="http://schemas.openxmlformats.org/officeDocument/2006/relationships/chart" Target="../charts/chart3788.xml"/></Relationships>
</file>

<file path=ppt/slides/_rels/slide1895.xml.rels><?xml version='1.0' encoding='UTF-8' standalone='yes'?>
<Relationships xmlns="http://schemas.openxmlformats.org/package/2006/relationships"><Relationship Id="rId1" Type="http://schemas.openxmlformats.org/officeDocument/2006/relationships/tags" Target="../tags/tag996.xml"/><Relationship Id="rId2" Type="http://schemas.openxmlformats.org/officeDocument/2006/relationships/slideLayout" Target="../slideLayouts/slideLayout7.xml"/><Relationship Id="rId3" Type="http://schemas.openxmlformats.org/officeDocument/2006/relationships/notesSlide" Target="../notesSlides/notesSlide96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89.xml"/><Relationship Id="rId7" Type="http://schemas.openxmlformats.org/officeDocument/2006/relationships/chart" Target="../charts/chart3790.xml"/></Relationships>
</file>

<file path=ppt/slides/_rels/slide1896.xml.rels><?xml version='1.0' encoding='UTF-8' standalone='yes'?>
<Relationships xmlns="http://schemas.openxmlformats.org/package/2006/relationships"><Relationship Id="rId1" Type="http://schemas.openxmlformats.org/officeDocument/2006/relationships/tags" Target="../tags/tag997.xml"/><Relationship Id="rId2" Type="http://schemas.openxmlformats.org/officeDocument/2006/relationships/slideLayout" Target="../slideLayouts/slideLayout7.xml"/><Relationship Id="rId3" Type="http://schemas.openxmlformats.org/officeDocument/2006/relationships/notesSlide" Target="../notesSlides/notesSlide97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91.xml"/><Relationship Id="rId7" Type="http://schemas.openxmlformats.org/officeDocument/2006/relationships/chart" Target="../charts/chart3792.xml"/></Relationships>
</file>

<file path=ppt/slides/_rels/slide1904.xml.rels><?xml version='1.0' encoding='UTF-8' standalone='yes'?>
<Relationships xmlns="http://schemas.openxmlformats.org/package/2006/relationships"><Relationship Id="rId1" Type="http://schemas.openxmlformats.org/officeDocument/2006/relationships/tags" Target="../tags/tag1005.xml"/><Relationship Id="rId2" Type="http://schemas.openxmlformats.org/officeDocument/2006/relationships/slideLayout" Target="../slideLayouts/slideLayout7.xml"/><Relationship Id="rId3" Type="http://schemas.openxmlformats.org/officeDocument/2006/relationships/notesSlide" Target="../notesSlides/notesSlide97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07.xml"/><Relationship Id="rId7" Type="http://schemas.openxmlformats.org/officeDocument/2006/relationships/chart" Target="../charts/chart3808.xml"/></Relationships>
</file>

<file path=ppt/slides/_rels/slide1905.xml.rels><?xml version='1.0' encoding='UTF-8' standalone='yes'?>
<Relationships xmlns="http://schemas.openxmlformats.org/package/2006/relationships"><Relationship Id="rId1" Type="http://schemas.openxmlformats.org/officeDocument/2006/relationships/tags" Target="../tags/tag1006.xml"/><Relationship Id="rId2" Type="http://schemas.openxmlformats.org/officeDocument/2006/relationships/slideLayout" Target="../slideLayouts/slideLayout7.xml"/><Relationship Id="rId3" Type="http://schemas.openxmlformats.org/officeDocument/2006/relationships/notesSlide" Target="../notesSlides/notesSlide97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09.xml"/><Relationship Id="rId7" Type="http://schemas.openxmlformats.org/officeDocument/2006/relationships/chart" Target="../charts/chart3810.xml"/></Relationships>
</file>

<file path=ppt/slides/_rels/slide1910.xml.rels><?xml version='1.0' encoding='UTF-8' standalone='yes'?>
<Relationships xmlns="http://schemas.openxmlformats.org/package/2006/relationships"><Relationship Id="rId1" Type="http://schemas.openxmlformats.org/officeDocument/2006/relationships/tags" Target="../tags/tag1011.xml"/><Relationship Id="rId2" Type="http://schemas.openxmlformats.org/officeDocument/2006/relationships/slideLayout" Target="../slideLayouts/slideLayout7.xml"/><Relationship Id="rId3" Type="http://schemas.openxmlformats.org/officeDocument/2006/relationships/notesSlide" Target="../notesSlides/notesSlide9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19.xml"/><Relationship Id="rId7" Type="http://schemas.openxmlformats.org/officeDocument/2006/relationships/chart" Target="../charts/chart3820.xml"/></Relationships>
</file>

<file path=ppt/slides/_rels/slide1911.xml.rels><?xml version='1.0' encoding='UTF-8' standalone='yes'?>
<Relationships xmlns="http://schemas.openxmlformats.org/package/2006/relationships"><Relationship Id="rId1" Type="http://schemas.openxmlformats.org/officeDocument/2006/relationships/tags" Target="../tags/tag1012.xml"/><Relationship Id="rId2" Type="http://schemas.openxmlformats.org/officeDocument/2006/relationships/slideLayout" Target="../slideLayouts/slideLayout7.xml"/><Relationship Id="rId3" Type="http://schemas.openxmlformats.org/officeDocument/2006/relationships/notesSlide" Target="../notesSlides/notesSlide98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21.xml"/><Relationship Id="rId7" Type="http://schemas.openxmlformats.org/officeDocument/2006/relationships/chart" Target="../charts/chart3822.xml"/></Relationships>
</file>

<file path=ppt/slides/_rels/slide1912.xml.rels><?xml version='1.0' encoding='UTF-8' standalone='yes'?>
<Relationships xmlns="http://schemas.openxmlformats.org/package/2006/relationships"><Relationship Id="rId1" Type="http://schemas.openxmlformats.org/officeDocument/2006/relationships/tags" Target="../tags/tag1013.xml"/><Relationship Id="rId2" Type="http://schemas.openxmlformats.org/officeDocument/2006/relationships/slideLayout" Target="../slideLayouts/slideLayout7.xml"/><Relationship Id="rId3" Type="http://schemas.openxmlformats.org/officeDocument/2006/relationships/notesSlide" Target="../notesSlides/notesSlide9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23.xml"/><Relationship Id="rId7" Type="http://schemas.openxmlformats.org/officeDocument/2006/relationships/chart" Target="../charts/chart3824.xml"/></Relationships>
</file>

<file path=ppt/slides/_rels/slide1917.xml.rels><?xml version='1.0' encoding='UTF-8' standalone='yes'?>
<Relationships xmlns="http://schemas.openxmlformats.org/package/2006/relationships"><Relationship Id="rId1" Type="http://schemas.openxmlformats.org/officeDocument/2006/relationships/tags" Target="../tags/tag1018.xml"/><Relationship Id="rId2" Type="http://schemas.openxmlformats.org/officeDocument/2006/relationships/slideLayout" Target="../slideLayouts/slideLayout7.xml"/><Relationship Id="rId3" Type="http://schemas.openxmlformats.org/officeDocument/2006/relationships/notesSlide" Target="../notesSlides/notesSlide99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33.xml"/><Relationship Id="rId7" Type="http://schemas.openxmlformats.org/officeDocument/2006/relationships/chart" Target="../charts/chart3834.xml"/></Relationships>
</file>

<file path=ppt/slides/_rels/slide1918.xml.rels><?xml version='1.0' encoding='UTF-8' standalone='yes'?>
<Relationships xmlns="http://schemas.openxmlformats.org/package/2006/relationships"><Relationship Id="rId1" Type="http://schemas.openxmlformats.org/officeDocument/2006/relationships/tags" Target="../tags/tag1019.xml"/><Relationship Id="rId2" Type="http://schemas.openxmlformats.org/officeDocument/2006/relationships/slideLayout" Target="../slideLayouts/slideLayout7.xml"/><Relationship Id="rId3" Type="http://schemas.openxmlformats.org/officeDocument/2006/relationships/notesSlide" Target="../notesSlides/notesSlide99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35.xml"/><Relationship Id="rId7" Type="http://schemas.openxmlformats.org/officeDocument/2006/relationships/chart" Target="../charts/chart3836.xml"/></Relationships>
</file>

<file path=ppt/slides/_rels/slide1933.xml.rels><?xml version='1.0' encoding='UTF-8' standalone='yes'?>
<Relationships xmlns="http://schemas.openxmlformats.org/package/2006/relationships"><Relationship Id="rId1" Type="http://schemas.openxmlformats.org/officeDocument/2006/relationships/tags" Target="../tags/tag1034.xml"/><Relationship Id="rId2" Type="http://schemas.openxmlformats.org/officeDocument/2006/relationships/slideLayout" Target="../slideLayouts/slideLayout7.xml"/><Relationship Id="rId3" Type="http://schemas.openxmlformats.org/officeDocument/2006/relationships/notesSlide" Target="../notesSlides/notesSlide100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65.xml"/><Relationship Id="rId7" Type="http://schemas.openxmlformats.org/officeDocument/2006/relationships/chart" Target="../charts/chart3866.xml"/></Relationships>
</file>

<file path=ppt/slides/_rels/slide1934.xml.rels><?xml version='1.0' encoding='UTF-8' standalone='yes'?>
<Relationships xmlns="http://schemas.openxmlformats.org/package/2006/relationships"><Relationship Id="rId1" Type="http://schemas.openxmlformats.org/officeDocument/2006/relationships/tags" Target="../tags/tag1035.xml"/><Relationship Id="rId2" Type="http://schemas.openxmlformats.org/officeDocument/2006/relationships/slideLayout" Target="../slideLayouts/slideLayout7.xml"/><Relationship Id="rId3" Type="http://schemas.openxmlformats.org/officeDocument/2006/relationships/notesSlide" Target="../notesSlides/notesSlide100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67.xml"/><Relationship Id="rId7" Type="http://schemas.openxmlformats.org/officeDocument/2006/relationships/chart" Target="../charts/chart3868.xml"/></Relationships>
</file>

<file path=ppt/slides/_rels/slide1939.xml.rels><?xml version='1.0' encoding='UTF-8' standalone='yes'?>
<Relationships xmlns="http://schemas.openxmlformats.org/package/2006/relationships"><Relationship Id="rId1" Type="http://schemas.openxmlformats.org/officeDocument/2006/relationships/tags" Target="../tags/tag1040.xml"/><Relationship Id="rId2" Type="http://schemas.openxmlformats.org/officeDocument/2006/relationships/slideLayout" Target="../slideLayouts/slideLayout7.xml"/><Relationship Id="rId3" Type="http://schemas.openxmlformats.org/officeDocument/2006/relationships/notesSlide" Target="../notesSlides/notesSlide101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77.xml"/><Relationship Id="rId7" Type="http://schemas.openxmlformats.org/officeDocument/2006/relationships/chart" Target="../charts/chart3878.xml"/></Relationships>
</file>

<file path=ppt/slides/_rels/slide1940.xml.rels><?xml version='1.0' encoding='UTF-8' standalone='yes'?>
<Relationships xmlns="http://schemas.openxmlformats.org/package/2006/relationships"><Relationship Id="rId1" Type="http://schemas.openxmlformats.org/officeDocument/2006/relationships/tags" Target="../tags/tag1041.xml"/><Relationship Id="rId2" Type="http://schemas.openxmlformats.org/officeDocument/2006/relationships/slideLayout" Target="../slideLayouts/slideLayout7.xml"/><Relationship Id="rId3" Type="http://schemas.openxmlformats.org/officeDocument/2006/relationships/notesSlide" Target="../notesSlides/notesSlide101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79.xml"/><Relationship Id="rId7" Type="http://schemas.openxmlformats.org/officeDocument/2006/relationships/chart" Target="../charts/chart3880.xml"/></Relationships>
</file>

<file path=ppt/slides/_rels/slide1946.xml.rels><?xml version='1.0' encoding='UTF-8' standalone='yes'?>
<Relationships xmlns="http://schemas.openxmlformats.org/package/2006/relationships"><Relationship Id="rId1" Type="http://schemas.openxmlformats.org/officeDocument/2006/relationships/tags" Target="../tags/tag1047.xml"/><Relationship Id="rId2" Type="http://schemas.openxmlformats.org/officeDocument/2006/relationships/slideLayout" Target="../slideLayouts/slideLayout7.xml"/><Relationship Id="rId3" Type="http://schemas.openxmlformats.org/officeDocument/2006/relationships/notesSlide" Target="../notesSlides/notesSlide102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91.xml"/><Relationship Id="rId7" Type="http://schemas.openxmlformats.org/officeDocument/2006/relationships/chart" Target="../charts/chart3892.xml"/></Relationships>
</file>

<file path=ppt/slides/_rels/slide1947.xml.rels><?xml version='1.0' encoding='UTF-8' standalone='yes'?>
<Relationships xmlns="http://schemas.openxmlformats.org/package/2006/relationships"><Relationship Id="rId1" Type="http://schemas.openxmlformats.org/officeDocument/2006/relationships/tags" Target="../tags/tag1048.xml"/><Relationship Id="rId2" Type="http://schemas.openxmlformats.org/officeDocument/2006/relationships/slideLayout" Target="../slideLayouts/slideLayout7.xml"/><Relationship Id="rId3" Type="http://schemas.openxmlformats.org/officeDocument/2006/relationships/notesSlide" Target="../notesSlides/notesSlide102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93.xml"/><Relationship Id="rId7" Type="http://schemas.openxmlformats.org/officeDocument/2006/relationships/chart" Target="../charts/chart38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9.xml"/><Relationship Id="rId6" Type="http://schemas.openxmlformats.org/officeDocument/2006/relationships/chart" Target="../charts/chart390.xml"/></Relationships>
</file>

<file path=ppt/slides/_rels/slide1955.xml.rels><?xml version='1.0' encoding='UTF-8' standalone='yes'?>
<Relationships xmlns="http://schemas.openxmlformats.org/package/2006/relationships"><Relationship Id="rId1" Type="http://schemas.openxmlformats.org/officeDocument/2006/relationships/tags" Target="../tags/tag1056.xml"/><Relationship Id="rId2" Type="http://schemas.openxmlformats.org/officeDocument/2006/relationships/slideLayout" Target="../slideLayouts/slideLayout7.xml"/><Relationship Id="rId3" Type="http://schemas.openxmlformats.org/officeDocument/2006/relationships/notesSlide" Target="../notesSlides/notesSlide102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09.xml"/><Relationship Id="rId7" Type="http://schemas.openxmlformats.org/officeDocument/2006/relationships/chart" Target="../charts/chart3910.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1.xml"/><Relationship Id="rId6" Type="http://schemas.openxmlformats.org/officeDocument/2006/relationships/chart" Target="../charts/chart392.xml"/></Relationships>
</file>

<file path=ppt/slides/_rels/slide1961.xml.rels><?xml version='1.0' encoding='UTF-8' standalone='yes'?>
<Relationships xmlns="http://schemas.openxmlformats.org/package/2006/relationships"><Relationship Id="rId1" Type="http://schemas.openxmlformats.org/officeDocument/2006/relationships/tags" Target="../tags/tag1062.xml"/><Relationship Id="rId2" Type="http://schemas.openxmlformats.org/officeDocument/2006/relationships/slideLayout" Target="../slideLayouts/slideLayout7.xml"/><Relationship Id="rId3" Type="http://schemas.openxmlformats.org/officeDocument/2006/relationships/notesSlide" Target="../notesSlides/notesSlide103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21.xml"/><Relationship Id="rId7" Type="http://schemas.openxmlformats.org/officeDocument/2006/relationships/chart" Target="../charts/chart3922.xml"/></Relationships>
</file>

<file path=ppt/slides/_rels/slide1962.xml.rels><?xml version='1.0' encoding='UTF-8' standalone='yes'?>
<Relationships xmlns="http://schemas.openxmlformats.org/package/2006/relationships"><Relationship Id="rId1" Type="http://schemas.openxmlformats.org/officeDocument/2006/relationships/tags" Target="../tags/tag1063.xml"/><Relationship Id="rId2" Type="http://schemas.openxmlformats.org/officeDocument/2006/relationships/slideLayout" Target="../slideLayouts/slideLayout7.xml"/><Relationship Id="rId3" Type="http://schemas.openxmlformats.org/officeDocument/2006/relationships/notesSlide" Target="../notesSlides/notesSlide103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23.xml"/><Relationship Id="rId7" Type="http://schemas.openxmlformats.org/officeDocument/2006/relationships/chart" Target="../charts/chart3924.xml"/></Relationships>
</file>

<file path=ppt/slides/_rels/slide1968.xml.rels><?xml version='1.0' encoding='UTF-8' standalone='yes'?>
<Relationships xmlns="http://schemas.openxmlformats.org/package/2006/relationships"><Relationship Id="rId1" Type="http://schemas.openxmlformats.org/officeDocument/2006/relationships/tags" Target="../tags/tag1069.xml"/><Relationship Id="rId2" Type="http://schemas.openxmlformats.org/officeDocument/2006/relationships/slideLayout" Target="../slideLayouts/slideLayout7.xml"/><Relationship Id="rId3" Type="http://schemas.openxmlformats.org/officeDocument/2006/relationships/notesSlide" Target="../notesSlides/notesSlide104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35.xml"/><Relationship Id="rId7" Type="http://schemas.openxmlformats.org/officeDocument/2006/relationships/chart" Target="../charts/chart3936.xml"/></Relationships>
</file>

<file path=ppt/slides/_rels/slide1969.xml.rels><?xml version='1.0' encoding='UTF-8' standalone='yes'?>
<Relationships xmlns="http://schemas.openxmlformats.org/package/2006/relationships"><Relationship Id="rId1" Type="http://schemas.openxmlformats.org/officeDocument/2006/relationships/tags" Target="../tags/tag1070.xml"/><Relationship Id="rId2" Type="http://schemas.openxmlformats.org/officeDocument/2006/relationships/slideLayout" Target="../slideLayouts/slideLayout7.xml"/><Relationship Id="rId3" Type="http://schemas.openxmlformats.org/officeDocument/2006/relationships/notesSlide" Target="../notesSlides/notesSlide104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37.xml"/><Relationship Id="rId7" Type="http://schemas.openxmlformats.org/officeDocument/2006/relationships/chart" Target="../charts/chart3938.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3.xml"/><Relationship Id="rId6" Type="http://schemas.openxmlformats.org/officeDocument/2006/relationships/chart" Target="../charts/chart394.xml"/></Relationships>
</file>

<file path=ppt/slides/_rels/slide1976.xml.rels><?xml version='1.0' encoding='UTF-8' standalone='yes'?>
<Relationships xmlns="http://schemas.openxmlformats.org/package/2006/relationships"><Relationship Id="rId1" Type="http://schemas.openxmlformats.org/officeDocument/2006/relationships/tags" Target="../tags/tag1077.xml"/><Relationship Id="rId2" Type="http://schemas.openxmlformats.org/officeDocument/2006/relationships/slideLayout" Target="../slideLayouts/slideLayout7.xml"/><Relationship Id="rId3" Type="http://schemas.openxmlformats.org/officeDocument/2006/relationships/notesSlide" Target="../notesSlides/notesSlide105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51.xml"/><Relationship Id="rId7" Type="http://schemas.openxmlformats.org/officeDocument/2006/relationships/chart" Target="../charts/chart3952.xml"/></Relationships>
</file>

<file path=ppt/slides/_rels/slide1983.xml.rels><?xml version='1.0' encoding='UTF-8' standalone='yes'?>
<Relationships xmlns="http://schemas.openxmlformats.org/package/2006/relationships"><Relationship Id="rId1" Type="http://schemas.openxmlformats.org/officeDocument/2006/relationships/tags" Target="../tags/tag1084.xml"/><Relationship Id="rId2" Type="http://schemas.openxmlformats.org/officeDocument/2006/relationships/slideLayout" Target="../slideLayouts/slideLayout7.xml"/><Relationship Id="rId3" Type="http://schemas.openxmlformats.org/officeDocument/2006/relationships/notesSlide" Target="../notesSlides/notesSlide105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65.xml"/><Relationship Id="rId7" Type="http://schemas.openxmlformats.org/officeDocument/2006/relationships/chart" Target="../charts/chart3966.xml"/></Relationships>
</file>

<file path=ppt/slides/_rels/slide1984.xml.rels><?xml version='1.0' encoding='UTF-8' standalone='yes'?>
<Relationships xmlns="http://schemas.openxmlformats.org/package/2006/relationships"><Relationship Id="rId1" Type="http://schemas.openxmlformats.org/officeDocument/2006/relationships/tags" Target="../tags/tag1085.xml"/><Relationship Id="rId2" Type="http://schemas.openxmlformats.org/officeDocument/2006/relationships/slideLayout" Target="../slideLayouts/slideLayout7.xml"/><Relationship Id="rId3" Type="http://schemas.openxmlformats.org/officeDocument/2006/relationships/notesSlide" Target="../notesSlides/notesSlide105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67.xml"/><Relationship Id="rId7" Type="http://schemas.openxmlformats.org/officeDocument/2006/relationships/chart" Target="../charts/chart3968.xml"/></Relationships>
</file>

<file path=ppt/slides/_rels/slide1985.xml.rels><?xml version='1.0' encoding='UTF-8' standalone='yes'?>
<Relationships xmlns="http://schemas.openxmlformats.org/package/2006/relationships"><Relationship Id="rId1" Type="http://schemas.openxmlformats.org/officeDocument/2006/relationships/tags" Target="../tags/tag1086.xml"/><Relationship Id="rId2" Type="http://schemas.openxmlformats.org/officeDocument/2006/relationships/slideLayout" Target="../slideLayouts/slideLayout7.xml"/><Relationship Id="rId3" Type="http://schemas.openxmlformats.org/officeDocument/2006/relationships/notesSlide" Target="../notesSlides/notesSlide105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69.xml"/><Relationship Id="rId7" Type="http://schemas.openxmlformats.org/officeDocument/2006/relationships/chart" Target="../charts/chart3970.xml"/></Relationships>
</file>

<file path=ppt/slides/_rels/slide1990.xml.rels><?xml version='1.0' encoding='UTF-8' standalone='yes'?>
<Relationships xmlns="http://schemas.openxmlformats.org/package/2006/relationships"><Relationship Id="rId1" Type="http://schemas.openxmlformats.org/officeDocument/2006/relationships/tags" Target="../tags/tag1091.xml"/><Relationship Id="rId2" Type="http://schemas.openxmlformats.org/officeDocument/2006/relationships/slideLayout" Target="../slideLayouts/slideLayout7.xml"/><Relationship Id="rId3" Type="http://schemas.openxmlformats.org/officeDocument/2006/relationships/notesSlide" Target="../notesSlides/notesSlide106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79.xml"/><Relationship Id="rId7" Type="http://schemas.openxmlformats.org/officeDocument/2006/relationships/chart" Target="../charts/chart3980.xml"/></Relationships>
</file>

<file path=ppt/slides/_rels/slide1991.xml.rels><?xml version='1.0' encoding='UTF-8' standalone='yes'?>
<Relationships xmlns="http://schemas.openxmlformats.org/package/2006/relationships"><Relationship Id="rId1" Type="http://schemas.openxmlformats.org/officeDocument/2006/relationships/tags" Target="../tags/tag1092.xml"/><Relationship Id="rId2" Type="http://schemas.openxmlformats.org/officeDocument/2006/relationships/slideLayout" Target="../slideLayouts/slideLayout7.xml"/><Relationship Id="rId3" Type="http://schemas.openxmlformats.org/officeDocument/2006/relationships/notesSlide" Target="../notesSlides/notesSlide106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81.xml"/><Relationship Id="rId7" Type="http://schemas.openxmlformats.org/officeDocument/2006/relationships/chart" Target="../charts/chart3982.xml"/></Relationships>
</file>

<file path=ppt/slides/_rels/slide1996.xml.rels><?xml version='1.0' encoding='UTF-8' standalone='yes'?>
<Relationships xmlns="http://schemas.openxmlformats.org/package/2006/relationships"><Relationship Id="rId1" Type="http://schemas.openxmlformats.org/officeDocument/2006/relationships/tags" Target="../tags/tag1097.xml"/><Relationship Id="rId2" Type="http://schemas.openxmlformats.org/officeDocument/2006/relationships/slideLayout" Target="../slideLayouts/slideLayout7.xml"/><Relationship Id="rId3" Type="http://schemas.openxmlformats.org/officeDocument/2006/relationships/notesSlide" Target="../notesSlides/notesSlide107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91.xml"/><Relationship Id="rId7" Type="http://schemas.openxmlformats.org/officeDocument/2006/relationships/chart" Target="../charts/chart399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s>
</file>

<file path=ppt/slides/_rels/slide2004.xml.rels><?xml version='1.0' encoding='UTF-8' standalone='yes'?>
<Relationships xmlns="http://schemas.openxmlformats.org/package/2006/relationships"><Relationship Id="rId1" Type="http://schemas.openxmlformats.org/officeDocument/2006/relationships/tags" Target="../tags/tag1105.xml"/><Relationship Id="rId2" Type="http://schemas.openxmlformats.org/officeDocument/2006/relationships/slideLayout" Target="../slideLayouts/slideLayout7.xml"/><Relationship Id="rId3" Type="http://schemas.openxmlformats.org/officeDocument/2006/relationships/notesSlide" Target="../notesSlides/notesSlide107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07.xml"/><Relationship Id="rId7" Type="http://schemas.openxmlformats.org/officeDocument/2006/relationships/chart" Target="../charts/chart4008.xml"/></Relationships>
</file>

<file path=ppt/slides/_rels/slide2005.xml.rels><?xml version='1.0' encoding='UTF-8' standalone='yes'?>
<Relationships xmlns="http://schemas.openxmlformats.org/package/2006/relationships"><Relationship Id="rId1" Type="http://schemas.openxmlformats.org/officeDocument/2006/relationships/tags" Target="../tags/tag1106.xml"/><Relationship Id="rId2" Type="http://schemas.openxmlformats.org/officeDocument/2006/relationships/slideLayout" Target="../slideLayouts/slideLayout7.xml"/><Relationship Id="rId3" Type="http://schemas.openxmlformats.org/officeDocument/2006/relationships/notesSlide" Target="../notesSlides/notesSlide107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09.xml"/><Relationship Id="rId7" Type="http://schemas.openxmlformats.org/officeDocument/2006/relationships/chart" Target="../charts/chart4010.xml"/></Relationships>
</file>

<file path=ppt/slides/_rels/slide2010.xml.rels><?xml version='1.0' encoding='UTF-8' standalone='yes'?>
<Relationships xmlns="http://schemas.openxmlformats.org/package/2006/relationships"><Relationship Id="rId1" Type="http://schemas.openxmlformats.org/officeDocument/2006/relationships/tags" Target="../tags/tag1111.xml"/><Relationship Id="rId2" Type="http://schemas.openxmlformats.org/officeDocument/2006/relationships/slideLayout" Target="../slideLayouts/slideLayout7.xml"/><Relationship Id="rId3" Type="http://schemas.openxmlformats.org/officeDocument/2006/relationships/notesSlide" Target="../notesSlides/notesSlide10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19.xml"/><Relationship Id="rId7" Type="http://schemas.openxmlformats.org/officeDocument/2006/relationships/chart" Target="../charts/chart4020.xml"/></Relationships>
</file>

<file path=ppt/slides/_rels/slide2011.xml.rels><?xml version='1.0' encoding='UTF-8' standalone='yes'?>
<Relationships xmlns="http://schemas.openxmlformats.org/package/2006/relationships"><Relationship Id="rId1" Type="http://schemas.openxmlformats.org/officeDocument/2006/relationships/tags" Target="../tags/tag1112.xml"/><Relationship Id="rId2" Type="http://schemas.openxmlformats.org/officeDocument/2006/relationships/slideLayout" Target="../slideLayouts/slideLayout7.xml"/><Relationship Id="rId3" Type="http://schemas.openxmlformats.org/officeDocument/2006/relationships/notesSlide" Target="../notesSlides/notesSlide108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21.xml"/><Relationship Id="rId7" Type="http://schemas.openxmlformats.org/officeDocument/2006/relationships/chart" Target="../charts/chart4022.xml"/></Relationships>
</file>

<file path=ppt/slides/_rels/slide2012.xml.rels><?xml version='1.0' encoding='UTF-8' standalone='yes'?>
<Relationships xmlns="http://schemas.openxmlformats.org/package/2006/relationships"><Relationship Id="rId1" Type="http://schemas.openxmlformats.org/officeDocument/2006/relationships/tags" Target="../tags/tag1113.xml"/><Relationship Id="rId2" Type="http://schemas.openxmlformats.org/officeDocument/2006/relationships/slideLayout" Target="../slideLayouts/slideLayout7.xml"/><Relationship Id="rId3" Type="http://schemas.openxmlformats.org/officeDocument/2006/relationships/notesSlide" Target="../notesSlides/notesSlide10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23.xml"/><Relationship Id="rId7" Type="http://schemas.openxmlformats.org/officeDocument/2006/relationships/chart" Target="../charts/chart402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9.xml"/><Relationship Id="rId6" Type="http://schemas.openxmlformats.org/officeDocument/2006/relationships/chart" Target="../charts/chart4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1.xml"/><Relationship Id="rId6" Type="http://schemas.openxmlformats.org/officeDocument/2006/relationships/chart" Target="../charts/chart422.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3.xml"/><Relationship Id="rId6" Type="http://schemas.openxmlformats.org/officeDocument/2006/relationships/chart" Target="../charts/chart424.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5.xml"/><Relationship Id="rId6" Type="http://schemas.openxmlformats.org/officeDocument/2006/relationships/chart" Target="../charts/chart426.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5.xml"/><Relationship Id="rId6" Type="http://schemas.openxmlformats.org/officeDocument/2006/relationships/chart" Target="../charts/chart436.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7.xml"/><Relationship Id="rId6" Type="http://schemas.openxmlformats.org/officeDocument/2006/relationships/chart" Target="../charts/chart438.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1.xml"/><Relationship Id="rId6" Type="http://schemas.openxmlformats.org/officeDocument/2006/relationships/chart" Target="../charts/chart452.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7.xml"/><Relationship Id="rId6" Type="http://schemas.openxmlformats.org/officeDocument/2006/relationships/chart" Target="../charts/chart468.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9.xml"/><Relationship Id="rId6" Type="http://schemas.openxmlformats.org/officeDocument/2006/relationships/chart" Target="../charts/chart470.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 Id="rId6" Type="http://schemas.openxmlformats.org/officeDocument/2006/relationships/chart" Target="../charts/chart48.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9.xml"/><Relationship Id="rId6" Type="http://schemas.openxmlformats.org/officeDocument/2006/relationships/chart" Target="../charts/chart48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1.xml"/><Relationship Id="rId6" Type="http://schemas.openxmlformats.org/officeDocument/2006/relationships/chart" Target="../charts/chart482.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3.xml"/><Relationship Id="rId6" Type="http://schemas.openxmlformats.org/officeDocument/2006/relationships/chart" Target="../charts/chart494.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5.xml"/><Relationship Id="rId6" Type="http://schemas.openxmlformats.org/officeDocument/2006/relationships/chart" Target="../charts/chart496.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 Id="rId6" Type="http://schemas.openxmlformats.org/officeDocument/2006/relationships/chart" Target="../charts/chart50.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3.xml"/><Relationship Id="rId6" Type="http://schemas.openxmlformats.org/officeDocument/2006/relationships/chart" Target="../charts/chart524.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5.xml"/><Relationship Id="rId6" Type="http://schemas.openxmlformats.org/officeDocument/2006/relationships/chart" Target="../charts/chart526.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7.xml"/><Relationship Id="rId6" Type="http://schemas.openxmlformats.org/officeDocument/2006/relationships/chart" Target="../charts/chart52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7.xml"/><Relationship Id="rId6" Type="http://schemas.openxmlformats.org/officeDocument/2006/relationships/chart" Target="../charts/chart538.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9.xml"/><Relationship Id="rId6" Type="http://schemas.openxmlformats.org/officeDocument/2006/relationships/chart" Target="../charts/chart540.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1.xml"/><Relationship Id="rId6" Type="http://schemas.openxmlformats.org/officeDocument/2006/relationships/chart" Target="../charts/chart552.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3.xml"/><Relationship Id="rId6" Type="http://schemas.openxmlformats.org/officeDocument/2006/relationships/chart" Target="../charts/chart554.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7.xml"/><Relationship Id="rId6" Type="http://schemas.openxmlformats.org/officeDocument/2006/relationships/chart" Target="../charts/chart568.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9.xml"/><Relationship Id="rId6" Type="http://schemas.openxmlformats.org/officeDocument/2006/relationships/chart" Target="../charts/chart570.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1.xml"/><Relationship Id="rId6" Type="http://schemas.openxmlformats.org/officeDocument/2006/relationships/chart" Target="../charts/chart582.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3.xml"/><Relationship Id="rId6" Type="http://schemas.openxmlformats.org/officeDocument/2006/relationships/chart" Target="../charts/chart58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 Id="rId6" Type="http://schemas.openxmlformats.org/officeDocument/2006/relationships/chart" Target="../charts/chart6.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1.xml"/><Relationship Id="rId6" Type="http://schemas.openxmlformats.org/officeDocument/2006/relationships/chart" Target="../charts/chart602.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3.xml"/><Relationship Id="rId6" Type="http://schemas.openxmlformats.org/officeDocument/2006/relationships/chart" Target="../charts/chart604.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3.xml"/><Relationship Id="rId6" Type="http://schemas.openxmlformats.org/officeDocument/2006/relationships/chart" Target="../charts/chart614.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5.xml"/><Relationship Id="rId6" Type="http://schemas.openxmlformats.org/officeDocument/2006/relationships/chart" Target="../charts/chart616.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 Id="rId6"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 Id="rId6" Type="http://schemas.openxmlformats.org/officeDocument/2006/relationships/chart" Target="../charts/chart64.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5.xml"/><Relationship Id="rId6" Type="http://schemas.openxmlformats.org/officeDocument/2006/relationships/chart" Target="../charts/chart646.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7.xml"/><Relationship Id="rId6" Type="http://schemas.openxmlformats.org/officeDocument/2006/relationships/chart" Target="../charts/chart648.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7.xml"/><Relationship Id="rId6" Type="http://schemas.openxmlformats.org/officeDocument/2006/relationships/chart" Target="../charts/chart658.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9.xml"/><Relationship Id="rId6" Type="http://schemas.openxmlformats.org/officeDocument/2006/relationships/chart" Target="../charts/chart66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1.xml"/><Relationship Id="rId6" Type="http://schemas.openxmlformats.org/officeDocument/2006/relationships/chart" Target="../charts/chart662.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1.xml"/><Relationship Id="rId6" Type="http://schemas.openxmlformats.org/officeDocument/2006/relationships/chart" Target="../charts/chart672.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3.xml"/><Relationship Id="rId6" Type="http://schemas.openxmlformats.org/officeDocument/2006/relationships/chart" Target="../charts/chart674.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9.xml"/><Relationship Id="rId6" Type="http://schemas.openxmlformats.org/officeDocument/2006/relationships/chart" Target="../charts/chart690.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1.xml"/><Relationship Id="rId6" Type="http://schemas.openxmlformats.org/officeDocument/2006/relationships/chart" Target="../charts/chart702.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3.xml"/><Relationship Id="rId6" Type="http://schemas.openxmlformats.org/officeDocument/2006/relationships/chart" Target="../charts/chart704.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5.xml"/><Relationship Id="rId6" Type="http://schemas.openxmlformats.org/officeDocument/2006/relationships/chart" Target="../charts/chart706.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5.xml"/><Relationship Id="rId6" Type="http://schemas.openxmlformats.org/officeDocument/2006/relationships/chart" Target="../charts/chart716.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7.xml"/><Relationship Id="rId6" Type="http://schemas.openxmlformats.org/officeDocument/2006/relationships/chart" Target="../charts/chart718.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1.xml"/><Relationship Id="rId6" Type="http://schemas.openxmlformats.org/officeDocument/2006/relationships/chart" Target="../charts/chart7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 Id="rId6" Type="http://schemas.openxmlformats.org/officeDocument/2006/relationships/chart" Target="../charts/chart74.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7.xml"/><Relationship Id="rId6" Type="http://schemas.openxmlformats.org/officeDocument/2006/relationships/chart" Target="../charts/chart748.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9.xml"/><Relationship Id="rId6" Type="http://schemas.openxmlformats.org/officeDocument/2006/relationships/chart" Target="../charts/chart750.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 Id="rId6" Type="http://schemas.openxmlformats.org/officeDocument/2006/relationships/chart" Target="../charts/chart76.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9.xml"/><Relationship Id="rId6" Type="http://schemas.openxmlformats.org/officeDocument/2006/relationships/chart" Target="../charts/chart76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1.xml"/><Relationship Id="rId6" Type="http://schemas.openxmlformats.org/officeDocument/2006/relationships/chart" Target="../charts/chart762.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3.xml"/><Relationship Id="rId6" Type="http://schemas.openxmlformats.org/officeDocument/2006/relationships/chart" Target="../charts/chart774.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5.xml"/><Relationship Id="rId6" Type="http://schemas.openxmlformats.org/officeDocument/2006/relationships/chart" Target="../charts/chart77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 Id="rId6" Type="http://schemas.openxmlformats.org/officeDocument/2006/relationships/chart" Target="../charts/chart78.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1.xml"/><Relationship Id="rId6" Type="http://schemas.openxmlformats.org/officeDocument/2006/relationships/chart" Target="../charts/chart792.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3.xml"/><Relationship Id="rId6" Type="http://schemas.openxmlformats.org/officeDocument/2006/relationships/chart" Target="../charts/chart794.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5.xml"/><Relationship Id="rId6" Type="http://schemas.openxmlformats.org/officeDocument/2006/relationships/chart" Target="../charts/chart796.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9.xml"/><Relationship Id="rId6" Type="http://schemas.openxmlformats.org/officeDocument/2006/relationships/chart" Target="../charts/chart810.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3.xml"/><Relationship Id="rId6" Type="http://schemas.openxmlformats.org/officeDocument/2006/relationships/chart" Target="../charts/chart824.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5.xml"/><Relationship Id="rId6" Type="http://schemas.openxmlformats.org/officeDocument/2006/relationships/chart" Target="../charts/chart826.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5.xml"/><Relationship Id="rId6" Type="http://schemas.openxmlformats.org/officeDocument/2006/relationships/chart" Target="../charts/chart836.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7.xml"/><Relationship Id="rId6" Type="http://schemas.openxmlformats.org/officeDocument/2006/relationships/chart" Target="../charts/chart838.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9.xml"/><Relationship Id="rId6" Type="http://schemas.openxmlformats.org/officeDocument/2006/relationships/chart" Target="../charts/chart840.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1.xml"/><Relationship Id="rId6" Type="http://schemas.openxmlformats.org/officeDocument/2006/relationships/chart" Target="../charts/chart852.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7.xml"/><Relationship Id="rId6" Type="http://schemas.openxmlformats.org/officeDocument/2006/relationships/chart" Target="../charts/chart868.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9.xml"/><Relationship Id="rId6" Type="http://schemas.openxmlformats.org/officeDocument/2006/relationships/chart" Target="../charts/chart870.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1.xml"/><Relationship Id="rId6" Type="http://schemas.openxmlformats.org/officeDocument/2006/relationships/chart" Target="../charts/chart882.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3.xml"/><Relationship Id="rId6" Type="http://schemas.openxmlformats.org/officeDocument/2006/relationships/chart" Target="../charts/chart884.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3.xml"/><Relationship Id="rId6" Type="http://schemas.openxmlformats.org/officeDocument/2006/relationships/chart" Target="../charts/chart894.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5.xml"/><Relationship Id="rId6" Type="http://schemas.openxmlformats.org/officeDocument/2006/relationships/chart" Target="../charts/chart896.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5.xml"/><Relationship Id="rId6" Type="http://schemas.openxmlformats.org/officeDocument/2006/relationships/chart" Target="../charts/chart926.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7.xml"/><Relationship Id="rId6" Type="http://schemas.openxmlformats.org/officeDocument/2006/relationships/chart" Target="../charts/chart928.xml"/></Relationships>
</file>

<file path=ppt/slides/_rels/slide469.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7.xml"/><Relationship Id="rId6" Type="http://schemas.openxmlformats.org/officeDocument/2006/relationships/chart" Target="../charts/chart938.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9.xml"/><Relationship Id="rId6" Type="http://schemas.openxmlformats.org/officeDocument/2006/relationships/chart" Target="../charts/chart940.xml"/></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1.xml"/><Relationship Id="rId6" Type="http://schemas.openxmlformats.org/officeDocument/2006/relationships/chart" Target="../charts/chart942.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1.xml"/><Relationship Id="rId6" Type="http://schemas.openxmlformats.org/officeDocument/2006/relationships/chart" Target="../charts/chart952.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3.xml"/><Relationship Id="rId6" Type="http://schemas.openxmlformats.org/officeDocument/2006/relationships/chart" Target="../charts/chart954.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9.xml"/><Relationship Id="rId6" Type="http://schemas.openxmlformats.org/officeDocument/2006/relationships/chart" Target="../charts/chart970.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1.xml"/><Relationship Id="rId6" Type="http://schemas.openxmlformats.org/officeDocument/2006/relationships/chart" Target="../charts/chart982.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3.xml"/><Relationship Id="rId6" Type="http://schemas.openxmlformats.org/officeDocument/2006/relationships/chart" Target="../charts/chart984.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5.xml"/><Relationship Id="rId6" Type="http://schemas.openxmlformats.org/officeDocument/2006/relationships/chart" Target="../charts/chart986.xml"/></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1.xml"/><Relationship Id="rId6" Type="http://schemas.openxmlformats.org/officeDocument/2006/relationships/chart" Target="../charts/chart1002.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3.xml"/><Relationship Id="rId6" Type="http://schemas.openxmlformats.org/officeDocument/2006/relationships/chart" Target="../charts/chart1004.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5.xml"/><Relationship Id="rId6" Type="http://schemas.openxmlformats.org/officeDocument/2006/relationships/chart" Target="../charts/chart1016.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7.xml"/><Relationship Id="rId6" Type="http://schemas.openxmlformats.org/officeDocument/2006/relationships/chart" Target="../charts/chart1018.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5.xml"/><Relationship Id="rId6" Type="http://schemas.openxmlformats.org/officeDocument/2006/relationships/chart" Target="../charts/chart1046.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7.xml"/><Relationship Id="rId6" Type="http://schemas.openxmlformats.org/officeDocument/2006/relationships/chart" Target="../charts/chart1048.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 Id="rId6" Type="http://schemas.openxmlformats.org/officeDocument/2006/relationships/chart" Target="../charts/chart106.xml"/></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9.xml"/><Relationship Id="rId6" Type="http://schemas.openxmlformats.org/officeDocument/2006/relationships/chart" Target="../charts/chart1060.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1.xml"/><Relationship Id="rId6" Type="http://schemas.openxmlformats.org/officeDocument/2006/relationships/chart" Target="../charts/chart1062.xml"/></Relationships>
</file>

<file path=ppt/slides/_rels/slide536.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1.xml"/><Relationship Id="rId6" Type="http://schemas.openxmlformats.org/officeDocument/2006/relationships/chart" Target="../charts/chart1072.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3.xml"/><Relationship Id="rId6" Type="http://schemas.openxmlformats.org/officeDocument/2006/relationships/chart" Target="../charts/chart1074.xml"/></Relationships>
</file>

<file path=ppt/slides/_rels/slide538.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5.xml"/><Relationship Id="rId6" Type="http://schemas.openxmlformats.org/officeDocument/2006/relationships/chart" Target="../charts/chart107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 Id="rId6" Type="http://schemas.openxmlformats.org/officeDocument/2006/relationships/chart" Target="../charts/chart108.xml"/></Relationships>
</file>

<file path=ppt/slides/_rels/slide545.xml.rels><?xml version='1.0' encoding='UTF-8' standalone='yes'?>
<Relationships xmlns="http://schemas.openxmlformats.org/package/2006/relationships"><Relationship Id="rId1" Type="http://schemas.openxmlformats.org/officeDocument/2006/relationships/tags" Target="../tags/tag5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9.xml"/><Relationship Id="rId6" Type="http://schemas.openxmlformats.org/officeDocument/2006/relationships/chart" Target="../charts/chart1090.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3.xml"/><Relationship Id="rId6" Type="http://schemas.openxmlformats.org/officeDocument/2006/relationships/chart" Target="../charts/chart1104.xml"/></Relationships>
</file>

<file path=ppt/slides/_rels/slide553.xml.rels><?xml version='1.0' encoding='UTF-8' standalone='yes'?>
<Relationships xmlns="http://schemas.openxmlformats.org/package/2006/relationships"><Relationship Id="rId1" Type="http://schemas.openxmlformats.org/officeDocument/2006/relationships/tags" Target="../tags/tag5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5.xml"/><Relationship Id="rId6" Type="http://schemas.openxmlformats.org/officeDocument/2006/relationships/chart" Target="../charts/chart1106.xml"/></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5.xml"/><Relationship Id="rId6" Type="http://schemas.openxmlformats.org/officeDocument/2006/relationships/chart" Target="../charts/chart1116.xml"/></Relationships>
</file>

<file path=ppt/slides/_rels/slide559.xml.rels><?xml version='1.0' encoding='UTF-8' standalone='yes'?>
<Relationships xmlns="http://schemas.openxmlformats.org/package/2006/relationships"><Relationship Id="rId1" Type="http://schemas.openxmlformats.org/officeDocument/2006/relationships/tags" Target="../tags/tag5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7.xml"/><Relationship Id="rId6" Type="http://schemas.openxmlformats.org/officeDocument/2006/relationships/chart" Target="../charts/chart1118.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9.xml"/><Relationship Id="rId6" Type="http://schemas.openxmlformats.org/officeDocument/2006/relationships/chart" Target="../charts/chart1120.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1.xml"/><Relationship Id="rId6" Type="http://schemas.openxmlformats.org/officeDocument/2006/relationships/chart" Target="../charts/chart1132.xml"/></Relationships>
</file>

<file path=ppt/slides/_rels/slide574.xml.rels><?xml version='1.0' encoding='UTF-8' standalone='yes'?>
<Relationships xmlns="http://schemas.openxmlformats.org/package/2006/relationships"><Relationship Id="rId1" Type="http://schemas.openxmlformats.org/officeDocument/2006/relationships/tags" Target="../tags/tag6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7.xml"/><Relationship Id="rId6" Type="http://schemas.openxmlformats.org/officeDocument/2006/relationships/chart" Target="../charts/chart1148.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9.xml"/><Relationship Id="rId6" Type="http://schemas.openxmlformats.org/officeDocument/2006/relationships/chart" Target="../charts/chart1150.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1.xml"/><Relationship Id="rId6" Type="http://schemas.openxmlformats.org/officeDocument/2006/relationships/chart" Target="../charts/chart1162.xml"/></Relationships>
</file>

<file path=ppt/slides/_rels/slide582.xml.rels><?xml version='1.0' encoding='UTF-8' standalone='yes'?>
<Relationships xmlns="http://schemas.openxmlformats.org/package/2006/relationships"><Relationship Id="rId1" Type="http://schemas.openxmlformats.org/officeDocument/2006/relationships/tags" Target="../tags/tag6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3.xml"/><Relationship Id="rId6" Type="http://schemas.openxmlformats.org/officeDocument/2006/relationships/chart" Target="../charts/chart1164.xml"/></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3.xml"/><Relationship Id="rId6" Type="http://schemas.openxmlformats.org/officeDocument/2006/relationships/chart" Target="../charts/chart1174.xml"/></Relationships>
</file>

<file path=ppt/slides/_rels/slide588.xml.rels><?xml version='1.0' encoding='UTF-8' standalone='yes'?>
<Relationships xmlns="http://schemas.openxmlformats.org/package/2006/relationships"><Relationship Id="rId1" Type="http://schemas.openxmlformats.org/officeDocument/2006/relationships/tags" Target="../tags/tag6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5.xml"/><Relationship Id="rId6" Type="http://schemas.openxmlformats.org/officeDocument/2006/relationships/chart" Target="../charts/chart1176.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 Id="rId6" Type="http://schemas.openxmlformats.org/officeDocument/2006/relationships/chart" Target="../charts/chart118.xml"/></Relationships>
</file>

<file path=ppt/slides/_rels/slide597.xml.rels><?xml version='1.0' encoding='UTF-8' standalone='yes'?>
<Relationships xmlns="http://schemas.openxmlformats.org/package/2006/relationships"><Relationship Id="rId1" Type="http://schemas.openxmlformats.org/officeDocument/2006/relationships/tags" Target="../tags/tag6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3.xml"/><Relationship Id="rId6" Type="http://schemas.openxmlformats.org/officeDocument/2006/relationships/chart" Target="../charts/chart1194.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5.xml"/><Relationship Id="rId6" Type="http://schemas.openxmlformats.org/officeDocument/2006/relationships/chart" Target="../charts/chart119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 Id="rId6" Type="http://schemas.openxmlformats.org/officeDocument/2006/relationships/chart" Target="../charts/chart12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 Id="rId6" Type="http://schemas.openxmlformats.org/officeDocument/2006/relationships/chart" Target="../charts/chart122.xml"/></Relationships>
</file>

<file path=ppt/slides/_rels/slide612.xml.rels><?xml version='1.0' encoding='UTF-8' standalone='yes'?>
<Relationships xmlns="http://schemas.openxmlformats.org/package/2006/relationships"><Relationship Id="rId1" Type="http://schemas.openxmlformats.org/officeDocument/2006/relationships/tags" Target="../tags/tag6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3.xml"/><Relationship Id="rId6" Type="http://schemas.openxmlformats.org/officeDocument/2006/relationships/chart" Target="../charts/chart1224.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5.xml"/><Relationship Id="rId6" Type="http://schemas.openxmlformats.org/officeDocument/2006/relationships/chart" Target="../charts/chart1226.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7.xml"/><Relationship Id="rId6" Type="http://schemas.openxmlformats.org/officeDocument/2006/relationships/chart" Target="../charts/chart1238.xml"/></Relationships>
</file>

<file path=ppt/slides/_rels/slide620.xml.rels><?xml version='1.0' encoding='UTF-8' standalone='yes'?>
<Relationships xmlns="http://schemas.openxmlformats.org/package/2006/relationships"><Relationship Id="rId1" Type="http://schemas.openxmlformats.org/officeDocument/2006/relationships/tags" Target="../tags/tag6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9.xml"/><Relationship Id="rId6" Type="http://schemas.openxmlformats.org/officeDocument/2006/relationships/chart" Target="../charts/chart1240.xml"/></Relationships>
</file>

<file path=ppt/slides/_rels/slide626.xml.rels><?xml version='1.0' encoding='UTF-8' standalone='yes'?>
<Relationships xmlns="http://schemas.openxmlformats.org/package/2006/relationships"><Relationship Id="rId1" Type="http://schemas.openxmlformats.org/officeDocument/2006/relationships/tags" Target="../tags/tag6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1.xml"/><Relationship Id="rId6" Type="http://schemas.openxmlformats.org/officeDocument/2006/relationships/chart" Target="../charts/chart1252.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3.xml"/><Relationship Id="rId6" Type="http://schemas.openxmlformats.org/officeDocument/2006/relationships/chart" Target="../charts/chart1254.xml"/></Relationships>
</file>

<file path=ppt/slides/_rels/slide634.xml.rels><?xml version='1.0' encoding='UTF-8' standalone='yes'?>
<Relationships xmlns="http://schemas.openxmlformats.org/package/2006/relationships"><Relationship Id="rId1" Type="http://schemas.openxmlformats.org/officeDocument/2006/relationships/tags" Target="../tags/tag6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7.xml"/><Relationship Id="rId6" Type="http://schemas.openxmlformats.org/officeDocument/2006/relationships/chart" Target="../charts/chart1268.xml"/></Relationships>
</file>

<file path=ppt/slides/_rels/slide635.xml.rels><?xml version='1.0' encoding='UTF-8' standalone='yes'?>
<Relationships xmlns="http://schemas.openxmlformats.org/package/2006/relationships"><Relationship Id="rId1" Type="http://schemas.openxmlformats.org/officeDocument/2006/relationships/tags" Target="../tags/tag6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9.xml"/><Relationship Id="rId6" Type="http://schemas.openxmlformats.org/officeDocument/2006/relationships/chart" Target="../charts/chart1270.xml"/></Relationships>
</file>

<file path=ppt/slides/_rels/slide641.xml.rels><?xml version='1.0' encoding='UTF-8' standalone='yes'?>
<Relationships xmlns="http://schemas.openxmlformats.org/package/2006/relationships"><Relationship Id="rId1" Type="http://schemas.openxmlformats.org/officeDocument/2006/relationships/tags" Target="../tags/tag6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1.xml"/><Relationship Id="rId6" Type="http://schemas.openxmlformats.org/officeDocument/2006/relationships/chart" Target="../charts/chart1282.xml"/></Relationships>
</file>

<file path=ppt/slides/_rels/slide642.xml.rels><?xml version='1.0' encoding='UTF-8' standalone='yes'?>
<Relationships xmlns="http://schemas.openxmlformats.org/package/2006/relationships"><Relationship Id="rId1" Type="http://schemas.openxmlformats.org/officeDocument/2006/relationships/tags" Target="../tags/tag6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3.xml"/><Relationship Id="rId6" Type="http://schemas.openxmlformats.org/officeDocument/2006/relationships/chart" Target="../charts/chart1284.xml"/></Relationships>
</file>

<file path=ppt/slides/_rels/slide648.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5.xml"/><Relationship Id="rId6" Type="http://schemas.openxmlformats.org/officeDocument/2006/relationships/chart" Target="../charts/chart1296.xml"/></Relationships>
</file>

<file path=ppt/slides/_rels/slide649.xml.rels><?xml version='1.0' encoding='UTF-8' standalone='yes'?>
<Relationships xmlns="http://schemas.openxmlformats.org/package/2006/relationships"><Relationship Id="rId1" Type="http://schemas.openxmlformats.org/officeDocument/2006/relationships/tags" Target="../tags/tag6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7.xml"/><Relationship Id="rId6" Type="http://schemas.openxmlformats.org/officeDocument/2006/relationships/chart" Target="../charts/chart1298.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 Id="rId6" Type="http://schemas.openxmlformats.org/officeDocument/2006/relationships/chart" Target="../charts/chart132.xml"/></Relationships>
</file>

<file path=ppt/slides/_rels/slide663.xml.rels><?xml version='1.0' encoding='UTF-8' standalone='yes'?>
<Relationships xmlns="http://schemas.openxmlformats.org/package/2006/relationships"><Relationship Id="rId1" Type="http://schemas.openxmlformats.org/officeDocument/2006/relationships/tags" Target="../tags/tag6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5.xml"/><Relationship Id="rId6" Type="http://schemas.openxmlformats.org/officeDocument/2006/relationships/chart" Target="../charts/chart1326.xml"/></Relationships>
</file>

<file path=ppt/slides/_rels/slide664.xml.rels><?xml version='1.0' encoding='UTF-8' standalone='yes'?>
<Relationships xmlns="http://schemas.openxmlformats.org/package/2006/relationships"><Relationship Id="rId1" Type="http://schemas.openxmlformats.org/officeDocument/2006/relationships/tags" Target="../tags/tag6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7.xml"/><Relationship Id="rId6" Type="http://schemas.openxmlformats.org/officeDocument/2006/relationships/chart" Target="../charts/chart1328.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 Id="rId6" Type="http://schemas.openxmlformats.org/officeDocument/2006/relationships/chart" Target="../charts/chart134.xml"/></Relationships>
</file>

<file path=ppt/slides/_rels/slide670.xml.rels><?xml version='1.0' encoding='UTF-8' standalone='yes'?>
<Relationships xmlns="http://schemas.openxmlformats.org/package/2006/relationships"><Relationship Id="rId1" Type="http://schemas.openxmlformats.org/officeDocument/2006/relationships/tags" Target="../tags/tag6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9.xml"/><Relationship Id="rId6" Type="http://schemas.openxmlformats.org/officeDocument/2006/relationships/chart" Target="../charts/chart1340.xml"/></Relationships>
</file>

<file path=ppt/slides/_rels/slide671.xml.rels><?xml version='1.0' encoding='UTF-8' standalone='yes'?>
<Relationships xmlns="http://schemas.openxmlformats.org/package/2006/relationships"><Relationship Id="rId1" Type="http://schemas.openxmlformats.org/officeDocument/2006/relationships/tags" Target="../tags/tag6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1.xml"/><Relationship Id="rId6" Type="http://schemas.openxmlformats.org/officeDocument/2006/relationships/chart" Target="../charts/chart1342.xml"/></Relationships>
</file>

<file path=ppt/slides/_rels/slide676.xml.rels><?xml version='1.0' encoding='UTF-8' standalone='yes'?>
<Relationships xmlns="http://schemas.openxmlformats.org/package/2006/relationships"><Relationship Id="rId1" Type="http://schemas.openxmlformats.org/officeDocument/2006/relationships/tags" Target="../tags/tag7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1.xml"/><Relationship Id="rId6" Type="http://schemas.openxmlformats.org/officeDocument/2006/relationships/chart" Target="../charts/chart1352.xml"/></Relationships>
</file>

<file path=ppt/slides/_rels/slide677.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3.xml"/><Relationship Id="rId6" Type="http://schemas.openxmlformats.org/officeDocument/2006/relationships/chart" Target="../charts/chart1354.xml"/></Relationships>
</file>

<file path=ppt/slides/_rels/slide678.xml.rels><?xml version='1.0' encoding='UTF-8' standalone='yes'?>
<Relationships xmlns="http://schemas.openxmlformats.org/package/2006/relationships"><Relationship Id="rId1" Type="http://schemas.openxmlformats.org/officeDocument/2006/relationships/tags" Target="../tags/tag7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5.xml"/><Relationship Id="rId6" Type="http://schemas.openxmlformats.org/officeDocument/2006/relationships/chart" Target="../charts/chart1356.xml"/></Relationships>
</file>

<file path=ppt/slides/_rels/slide685.xml.rels><?xml version='1.0' encoding='UTF-8' standalone='yes'?>
<Relationships xmlns="http://schemas.openxmlformats.org/package/2006/relationships"><Relationship Id="rId1" Type="http://schemas.openxmlformats.org/officeDocument/2006/relationships/tags" Target="../tags/tag7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9.xml"/><Relationship Id="rId6" Type="http://schemas.openxmlformats.org/officeDocument/2006/relationships/chart" Target="../charts/chart1370.xml"/></Relationships>
</file>

<file path=ppt/slides/_rels/slide692.xml.rels><?xml version='1.0' encoding='UTF-8' standalone='yes'?>
<Relationships xmlns="http://schemas.openxmlformats.org/package/2006/relationships"><Relationship Id="rId1" Type="http://schemas.openxmlformats.org/officeDocument/2006/relationships/tags" Target="../tags/tag7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3.xml"/><Relationship Id="rId6" Type="http://schemas.openxmlformats.org/officeDocument/2006/relationships/chart" Target="../charts/chart1384.xml"/></Relationships>
</file>

<file path=ppt/slides/_rels/slide693.xml.rels><?xml version='1.0' encoding='UTF-8' standalone='yes'?>
<Relationships xmlns="http://schemas.openxmlformats.org/package/2006/relationships"><Relationship Id="rId1" Type="http://schemas.openxmlformats.org/officeDocument/2006/relationships/tags" Target="../tags/tag7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5.xml"/><Relationship Id="rId6" Type="http://schemas.openxmlformats.org/officeDocument/2006/relationships/chart" Target="../charts/chart1386.xml"/></Relationships>
</file>

<file path=ppt/slides/_rels/slide701.xml.rels><?xml version='1.0' encoding='UTF-8' standalone='yes'?>
<Relationships xmlns="http://schemas.openxmlformats.org/package/2006/relationships"><Relationship Id="rId1" Type="http://schemas.openxmlformats.org/officeDocument/2006/relationships/tags" Target="../tags/tag7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1.xml"/><Relationship Id="rId6" Type="http://schemas.openxmlformats.org/officeDocument/2006/relationships/chart" Target="../charts/chart1402.xml"/></Relationships>
</file>

<file path=ppt/slides/_rels/slide702.xml.rels><?xml version='1.0' encoding='UTF-8' standalone='yes'?>
<Relationships xmlns="http://schemas.openxmlformats.org/package/2006/relationships"><Relationship Id="rId1" Type="http://schemas.openxmlformats.org/officeDocument/2006/relationships/tags" Target="../tags/tag7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3.xml"/><Relationship Id="rId6" Type="http://schemas.openxmlformats.org/officeDocument/2006/relationships/chart" Target="../charts/chart1404.xml"/></Relationships>
</file>

<file path=ppt/slides/_rels/slide703.xml.rels><?xml version='1.0' encoding='UTF-8' standalone='yes'?>
<Relationships xmlns="http://schemas.openxmlformats.org/package/2006/relationships"><Relationship Id="rId1" Type="http://schemas.openxmlformats.org/officeDocument/2006/relationships/tags" Target="../tags/tag7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5.xml"/><Relationship Id="rId6" Type="http://schemas.openxmlformats.org/officeDocument/2006/relationships/chart" Target="../charts/chart1406.xml"/></Relationships>
</file>

<file path=ppt/slides/_rels/slide708.xml.rels><?xml version='1.0' encoding='UTF-8' standalone='yes'?>
<Relationships xmlns="http://schemas.openxmlformats.org/package/2006/relationships"><Relationship Id="rId1" Type="http://schemas.openxmlformats.org/officeDocument/2006/relationships/tags" Target="../tags/tag7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5.xml"/><Relationship Id="rId6" Type="http://schemas.openxmlformats.org/officeDocument/2006/relationships/chart" Target="../charts/chart1416.xml"/></Relationships>
</file>

<file path=ppt/slides/_rels/slide709.xml.rels><?xml version='1.0' encoding='UTF-8' standalone='yes'?>
<Relationships xmlns="http://schemas.openxmlformats.org/package/2006/relationships"><Relationship Id="rId1" Type="http://schemas.openxmlformats.org/officeDocument/2006/relationships/tags" Target="../tags/tag7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7.xml"/><Relationship Id="rId6" Type="http://schemas.openxmlformats.org/officeDocument/2006/relationships/chart" Target="../charts/chart1418.xml"/></Relationships>
</file>

<file path=ppt/slides/_rels/slide716.xml.rels><?xml version='1.0' encoding='UTF-8' standalone='yes'?>
<Relationships xmlns="http://schemas.openxmlformats.org/package/2006/relationships"><Relationship Id="rId1" Type="http://schemas.openxmlformats.org/officeDocument/2006/relationships/tags" Target="../tags/tag7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1.xml"/><Relationship Id="rId6" Type="http://schemas.openxmlformats.org/officeDocument/2006/relationships/chart" Target="../charts/chart1432.xml"/></Relationships>
</file>

<file path=ppt/slides/_rels/slide723.xml.rels><?xml version='1.0' encoding='UTF-8' standalone='yes'?>
<Relationships xmlns="http://schemas.openxmlformats.org/package/2006/relationships"><Relationship Id="rId1" Type="http://schemas.openxmlformats.org/officeDocument/2006/relationships/tags" Target="../tags/tag7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5.xml"/><Relationship Id="rId6" Type="http://schemas.openxmlformats.org/officeDocument/2006/relationships/chart" Target="../charts/chart1446.xml"/></Relationships>
</file>

<file path=ppt/slides/_rels/slide724.xml.rels><?xml version='1.0' encoding='UTF-8' standalone='yes'?>
<Relationships xmlns="http://schemas.openxmlformats.org/package/2006/relationships"><Relationship Id="rId1" Type="http://schemas.openxmlformats.org/officeDocument/2006/relationships/tags" Target="../tags/tag7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7.xml"/><Relationship Id="rId6" Type="http://schemas.openxmlformats.org/officeDocument/2006/relationships/chart" Target="../charts/chart1448.xml"/></Relationships>
</file>

<file path=ppt/slides/_rels/slide725.xml.rels><?xml version='1.0' encoding='UTF-8' standalone='yes'?>
<Relationships xmlns="http://schemas.openxmlformats.org/package/2006/relationships"><Relationship Id="rId1" Type="http://schemas.openxmlformats.org/officeDocument/2006/relationships/tags" Target="../tags/tag7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9.xml"/><Relationship Id="rId6" Type="http://schemas.openxmlformats.org/officeDocument/2006/relationships/chart" Target="../charts/chart1450.xml"/></Relationships>
</file>

<file path=ppt/slides/_rels/slide730.xml.rels><?xml version='1.0' encoding='UTF-8' standalone='yes'?>
<Relationships xmlns="http://schemas.openxmlformats.org/package/2006/relationships"><Relationship Id="rId1" Type="http://schemas.openxmlformats.org/officeDocument/2006/relationships/tags" Target="../tags/tag7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9.xml"/><Relationship Id="rId6" Type="http://schemas.openxmlformats.org/officeDocument/2006/relationships/chart" Target="../charts/chart1460.xml"/></Relationships>
</file>

<file path=ppt/slides/_rels/slide731.xml.rels><?xml version='1.0' encoding='UTF-8' standalone='yes'?>
<Relationships xmlns="http://schemas.openxmlformats.org/package/2006/relationships"><Relationship Id="rId1" Type="http://schemas.openxmlformats.org/officeDocument/2006/relationships/tags" Target="../tags/tag7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1.xml"/><Relationship Id="rId6" Type="http://schemas.openxmlformats.org/officeDocument/2006/relationships/chart" Target="../charts/chart1462.xml"/></Relationships>
</file>

<file path=ppt/slides/_rels/slide737.xml.rels><?xml version='1.0' encoding='UTF-8' standalone='yes'?>
<Relationships xmlns="http://schemas.openxmlformats.org/package/2006/relationships"><Relationship Id="rId1" Type="http://schemas.openxmlformats.org/officeDocument/2006/relationships/tags" Target="../tags/tag7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3.xml"/><Relationship Id="rId6" Type="http://schemas.openxmlformats.org/officeDocument/2006/relationships/chart" Target="../charts/chart1474.xml"/></Relationships>
</file>

<file path=ppt/slides/_rels/slide738.xml.rels><?xml version='1.0' encoding='UTF-8' standalone='yes'?>
<Relationships xmlns="http://schemas.openxmlformats.org/package/2006/relationships"><Relationship Id="rId1" Type="http://schemas.openxmlformats.org/officeDocument/2006/relationships/tags" Target="../tags/tag7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5.xml"/><Relationship Id="rId6" Type="http://schemas.openxmlformats.org/officeDocument/2006/relationships/chart" Target="../charts/chart1476.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 Id="rId6" Type="http://schemas.openxmlformats.org/officeDocument/2006/relationships/chart" Target="../charts/chart150.xml"/></Relationships>
</file>

<file path=ppt/slides/_rels/slide752.xml.rels><?xml version='1.0' encoding='UTF-8' standalone='yes'?>
<Relationships xmlns="http://schemas.openxmlformats.org/package/2006/relationships"><Relationship Id="rId1" Type="http://schemas.openxmlformats.org/officeDocument/2006/relationships/tags" Target="../tags/tag7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3.xml"/><Relationship Id="rId6" Type="http://schemas.openxmlformats.org/officeDocument/2006/relationships/chart" Target="../charts/chart1504.xml"/></Relationships>
</file>

<file path=ppt/slides/_rels/slide753.xml.rels><?xml version='1.0' encoding='UTF-8' standalone='yes'?>
<Relationships xmlns="http://schemas.openxmlformats.org/package/2006/relationships"><Relationship Id="rId1" Type="http://schemas.openxmlformats.org/officeDocument/2006/relationships/tags" Target="../tags/tag7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5.xml"/><Relationship Id="rId6" Type="http://schemas.openxmlformats.org/officeDocument/2006/relationships/chart" Target="../charts/chart1506.xml"/></Relationships>
</file>

<file path=ppt/slides/_rels/slide759.xml.rels><?xml version='1.0' encoding='UTF-8' standalone='yes'?>
<Relationships xmlns="http://schemas.openxmlformats.org/package/2006/relationships"><Relationship Id="rId1" Type="http://schemas.openxmlformats.org/officeDocument/2006/relationships/tags" Target="../tags/tag7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7.xml"/><Relationship Id="rId6" Type="http://schemas.openxmlformats.org/officeDocument/2006/relationships/chart" Target="../charts/chart1518.xml"/></Relationships>
</file>

<file path=ppt/slides/_rels/slide760.xml.rels><?xml version='1.0' encoding='UTF-8' standalone='yes'?>
<Relationships xmlns="http://schemas.openxmlformats.org/package/2006/relationships"><Relationship Id="rId1" Type="http://schemas.openxmlformats.org/officeDocument/2006/relationships/tags" Target="../tags/tag7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9.xml"/><Relationship Id="rId6" Type="http://schemas.openxmlformats.org/officeDocument/2006/relationships/chart" Target="../charts/chart1520.xml"/></Relationships>
</file>

<file path=ppt/slides/_rels/slide766.xml.rels><?xml version='1.0' encoding='UTF-8' standalone='yes'?>
<Relationships xmlns="http://schemas.openxmlformats.org/package/2006/relationships"><Relationship Id="rId1" Type="http://schemas.openxmlformats.org/officeDocument/2006/relationships/tags" Target="../tags/tag7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1.xml"/><Relationship Id="rId6" Type="http://schemas.openxmlformats.org/officeDocument/2006/relationships/chart" Target="../charts/chart1532.xml"/></Relationships>
</file>

<file path=ppt/slides/_rels/slide767.xml.rels><?xml version='1.0' encoding='UTF-8' standalone='yes'?>
<Relationships xmlns="http://schemas.openxmlformats.org/package/2006/relationships"><Relationship Id="rId1" Type="http://schemas.openxmlformats.org/officeDocument/2006/relationships/tags" Target="../tags/tag7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3.xml"/><Relationship Id="rId6" Type="http://schemas.openxmlformats.org/officeDocument/2006/relationships/chart" Target="../charts/chart1534.xml"/></Relationships>
</file>

<file path=ppt/slides/_rels/slide774.xml.rels><?xml version='1.0' encoding='UTF-8' standalone='yes'?>
<Relationships xmlns="http://schemas.openxmlformats.org/package/2006/relationships"><Relationship Id="rId1" Type="http://schemas.openxmlformats.org/officeDocument/2006/relationships/tags" Target="../tags/tag8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7.xml"/><Relationship Id="rId6" Type="http://schemas.openxmlformats.org/officeDocument/2006/relationships/chart" Target="../charts/chart1548.xml"/></Relationships>
</file>

<file path=ppt/slides/_rels/slide775.xml.rels><?xml version='1.0' encoding='UTF-8' standalone='yes'?>
<Relationships xmlns="http://schemas.openxmlformats.org/package/2006/relationships"><Relationship Id="rId1" Type="http://schemas.openxmlformats.org/officeDocument/2006/relationships/tags" Target="../tags/tag8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9.xml"/><Relationship Id="rId6" Type="http://schemas.openxmlformats.org/officeDocument/2006/relationships/chart" Target="../charts/chart1550.xml"/></Relationships>
</file>

<file path=ppt/slides/_rels/slide781.xml.rels><?xml version='1.0' encoding='UTF-8' standalone='yes'?>
<Relationships xmlns="http://schemas.openxmlformats.org/package/2006/relationships"><Relationship Id="rId1" Type="http://schemas.openxmlformats.org/officeDocument/2006/relationships/tags" Target="../tags/tag8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1.xml"/><Relationship Id="rId6" Type="http://schemas.openxmlformats.org/officeDocument/2006/relationships/chart" Target="../charts/chart1562.xml"/></Relationships>
</file>

<file path=ppt/slides/_rels/slide782.xml.rels><?xml version='1.0' encoding='UTF-8' standalone='yes'?>
<Relationships xmlns="http://schemas.openxmlformats.org/package/2006/relationships"><Relationship Id="rId1" Type="http://schemas.openxmlformats.org/officeDocument/2006/relationships/tags" Target="../tags/tag8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3.xml"/><Relationship Id="rId6" Type="http://schemas.openxmlformats.org/officeDocument/2006/relationships/chart" Target="../charts/chart1564.xml"/></Relationships>
</file>

<file path=ppt/slides/_rels/slide788.xml.rels><?xml version='1.0' encoding='UTF-8' standalone='yes'?>
<Relationships xmlns="http://schemas.openxmlformats.org/package/2006/relationships"><Relationship Id="rId1" Type="http://schemas.openxmlformats.org/officeDocument/2006/relationships/tags" Target="../tags/tag8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5.xml"/><Relationship Id="rId6" Type="http://schemas.openxmlformats.org/officeDocument/2006/relationships/chart" Target="../charts/chart1576.xml"/></Relationships>
</file>

<file path=ppt/slides/_rels/slide789.xml.rels><?xml version='1.0' encoding='UTF-8' standalone='yes'?>
<Relationships xmlns="http://schemas.openxmlformats.org/package/2006/relationships"><Relationship Id="rId1" Type="http://schemas.openxmlformats.org/officeDocument/2006/relationships/tags" Target="../tags/tag8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7.xml"/><Relationship Id="rId6" Type="http://schemas.openxmlformats.org/officeDocument/2006/relationships/chart" Target="../charts/chart1578.xml"/></Relationships>
</file>

<file path=ppt/slides/_rels/slide797.xml.rels><?xml version='1.0' encoding='UTF-8' standalone='yes'?>
<Relationships xmlns="http://schemas.openxmlformats.org/package/2006/relationships"><Relationship Id="rId1" Type="http://schemas.openxmlformats.org/officeDocument/2006/relationships/tags" Target="../tags/tag8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3.xml"/><Relationship Id="rId6" Type="http://schemas.openxmlformats.org/officeDocument/2006/relationships/chart" Target="../charts/chart1594.xml"/></Relationships>
</file>

<file path=ppt/slides/_rels/slide798.xml.rels><?xml version='1.0' encoding='UTF-8' standalone='yes'?>
<Relationships xmlns="http://schemas.openxmlformats.org/package/2006/relationships"><Relationship Id="rId1" Type="http://schemas.openxmlformats.org/officeDocument/2006/relationships/tags" Target="../tags/tag8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5.xml"/><Relationship Id="rId6" Type="http://schemas.openxmlformats.org/officeDocument/2006/relationships/chart" Target="../charts/chart1596.xml"/></Relationships>
</file>

<file path=ppt/slides/_rels/slide813.xml.rels><?xml version='1.0' encoding='UTF-8' standalone='yes'?>
<Relationships xmlns="http://schemas.openxmlformats.org/package/2006/relationships"><Relationship Id="rId1" Type="http://schemas.openxmlformats.org/officeDocument/2006/relationships/tags" Target="../tags/tag8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5.xml"/><Relationship Id="rId6" Type="http://schemas.openxmlformats.org/officeDocument/2006/relationships/chart" Target="../charts/chart1626.xml"/></Relationships>
</file>

<file path=ppt/slides/_rels/slide814.xml.rels><?xml version='1.0' encoding='UTF-8' standalone='yes'?>
<Relationships xmlns="http://schemas.openxmlformats.org/package/2006/relationships"><Relationship Id="rId1" Type="http://schemas.openxmlformats.org/officeDocument/2006/relationships/tags" Target="../tags/tag8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7.xml"/><Relationship Id="rId6" Type="http://schemas.openxmlformats.org/officeDocument/2006/relationships/chart" Target="../charts/chart1628.xml"/></Relationships>
</file>

<file path=ppt/slides/_rels/slide819.xml.rels><?xml version='1.0' encoding='UTF-8' standalone='yes'?>
<Relationships xmlns="http://schemas.openxmlformats.org/package/2006/relationships"><Relationship Id="rId1" Type="http://schemas.openxmlformats.org/officeDocument/2006/relationships/tags" Target="../tags/tag8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7.xml"/><Relationship Id="rId6" Type="http://schemas.openxmlformats.org/officeDocument/2006/relationships/chart" Target="../charts/chart1638.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 Id="rId6" Type="http://schemas.openxmlformats.org/officeDocument/2006/relationships/chart" Target="../charts/chart164.xml"/></Relationships>
</file>

<file path=ppt/slides/_rels/slide820.xml.rels><?xml version='1.0' encoding='UTF-8' standalone='yes'?>
<Relationships xmlns="http://schemas.openxmlformats.org/package/2006/relationships"><Relationship Id="rId1" Type="http://schemas.openxmlformats.org/officeDocument/2006/relationships/tags" Target="../tags/tag8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9.xml"/><Relationship Id="rId6" Type="http://schemas.openxmlformats.org/officeDocument/2006/relationships/chart" Target="../charts/chart1640.xml"/></Relationships>
</file>

<file path=ppt/slides/_rels/slide826.xml.rels><?xml version='1.0' encoding='UTF-8' standalone='yes'?>
<Relationships xmlns="http://schemas.openxmlformats.org/package/2006/relationships"><Relationship Id="rId1" Type="http://schemas.openxmlformats.org/officeDocument/2006/relationships/tags" Target="../tags/tag8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1.xml"/><Relationship Id="rId6" Type="http://schemas.openxmlformats.org/officeDocument/2006/relationships/chart" Target="../charts/chart1652.xml"/></Relationships>
</file>

<file path=ppt/slides/_rels/slide827.xml.rels><?xml version='1.0' encoding='UTF-8' standalone='yes'?>
<Relationships xmlns="http://schemas.openxmlformats.org/package/2006/relationships"><Relationship Id="rId1" Type="http://schemas.openxmlformats.org/officeDocument/2006/relationships/tags" Target="../tags/tag8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3.xml"/><Relationship Id="rId6" Type="http://schemas.openxmlformats.org/officeDocument/2006/relationships/chart" Target="../charts/chart1654.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 Id="rId6" Type="http://schemas.openxmlformats.org/officeDocument/2006/relationships/chart" Target="../charts/chart166.xml"/></Relationships>
</file>

<file path=ppt/slides/_rels/slide835.xml.rels><?xml version='1.0' encoding='UTF-8' standalone='yes'?>
<Relationships xmlns="http://schemas.openxmlformats.org/package/2006/relationships"><Relationship Id="rId1" Type="http://schemas.openxmlformats.org/officeDocument/2006/relationships/tags" Target="../tags/tag8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9.xml"/><Relationship Id="rId6" Type="http://schemas.openxmlformats.org/officeDocument/2006/relationships/chart" Target="../charts/chart1670.xml"/></Relationships>
</file>

<file path=ppt/slides/_rels/slide841.xml.rels><?xml version='1.0' encoding='UTF-8' standalone='yes'?>
<Relationships xmlns="http://schemas.openxmlformats.org/package/2006/relationships"><Relationship Id="rId1" Type="http://schemas.openxmlformats.org/officeDocument/2006/relationships/tags" Target="../tags/tag8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1.xml"/><Relationship Id="rId6" Type="http://schemas.openxmlformats.org/officeDocument/2006/relationships/chart" Target="../charts/chart1682.xml"/></Relationships>
</file>

<file path=ppt/slides/_rels/slide842.xml.rels><?xml version='1.0' encoding='UTF-8' standalone='yes'?>
<Relationships xmlns="http://schemas.openxmlformats.org/package/2006/relationships"><Relationship Id="rId1" Type="http://schemas.openxmlformats.org/officeDocument/2006/relationships/tags" Target="../tags/tag8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3.xml"/><Relationship Id="rId6" Type="http://schemas.openxmlformats.org/officeDocument/2006/relationships/chart" Target="../charts/chart1684.xml"/></Relationships>
</file>

<file path=ppt/slides/_rels/slide843.xml.rels><?xml version='1.0' encoding='UTF-8' standalone='yes'?>
<Relationships xmlns="http://schemas.openxmlformats.org/package/2006/relationships"><Relationship Id="rId1" Type="http://schemas.openxmlformats.org/officeDocument/2006/relationships/tags" Target="../tags/tag8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5.xml"/><Relationship Id="rId6" Type="http://schemas.openxmlformats.org/officeDocument/2006/relationships/chart" Target="../charts/chart1686.xml"/></Relationships>
</file>

<file path=ppt/slides/_rels/slide848.xml.rels><?xml version='1.0' encoding='UTF-8' standalone='yes'?>
<Relationships xmlns="http://schemas.openxmlformats.org/package/2006/relationships"><Relationship Id="rId1" Type="http://schemas.openxmlformats.org/officeDocument/2006/relationships/tags" Target="../tags/tag8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5.xml"/><Relationship Id="rId6" Type="http://schemas.openxmlformats.org/officeDocument/2006/relationships/chart" Target="../charts/chart1696.xml"/></Relationships>
</file>

<file path=ppt/slides/_rels/slide849.xml.rels><?xml version='1.0' encoding='UTF-8' standalone='yes'?>
<Relationships xmlns="http://schemas.openxmlformats.org/package/2006/relationships"><Relationship Id="rId1" Type="http://schemas.openxmlformats.org/officeDocument/2006/relationships/tags" Target="../tags/tag8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7.xml"/><Relationship Id="rId6" Type="http://schemas.openxmlformats.org/officeDocument/2006/relationships/chart" Target="../charts/chart1698.xml"/></Relationships>
</file>

<file path=ppt/slides/_rels/slide856.xml.rels><?xml version='1.0' encoding='UTF-8' standalone='yes'?>
<Relationships xmlns="http://schemas.openxmlformats.org/package/2006/relationships"><Relationship Id="rId1" Type="http://schemas.openxmlformats.org/officeDocument/2006/relationships/tags" Target="../tags/tag8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11.xml"/><Relationship Id="rId6" Type="http://schemas.openxmlformats.org/officeDocument/2006/relationships/chart" Target="../charts/chart1712.xml"/></Relationships>
</file>

<file path=ppt/slides/_rels/slide863.xml.rels><?xml version='1.0' encoding='UTF-8' standalone='yes'?>
<Relationships xmlns="http://schemas.openxmlformats.org/package/2006/relationships"><Relationship Id="rId1" Type="http://schemas.openxmlformats.org/officeDocument/2006/relationships/tags" Target="../tags/tag8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5.xml"/><Relationship Id="rId6" Type="http://schemas.openxmlformats.org/officeDocument/2006/relationships/chart" Target="../charts/chart1726.xml"/></Relationships>
</file>

<file path=ppt/slides/_rels/slide864.xml.rels><?xml version='1.0' encoding='UTF-8' standalone='yes'?>
<Relationships xmlns="http://schemas.openxmlformats.org/package/2006/relationships"><Relationship Id="rId1" Type="http://schemas.openxmlformats.org/officeDocument/2006/relationships/tags" Target="../tags/tag8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7.xml"/><Relationship Id="rId6" Type="http://schemas.openxmlformats.org/officeDocument/2006/relationships/chart" Target="../charts/chart1728.xml"/></Relationships>
</file>

<file path=ppt/slides/_rels/slide865.xml.rels><?xml version='1.0' encoding='UTF-8' standalone='yes'?>
<Relationships xmlns="http://schemas.openxmlformats.org/package/2006/relationships"><Relationship Id="rId1" Type="http://schemas.openxmlformats.org/officeDocument/2006/relationships/tags" Target="../tags/tag8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9.xml"/><Relationship Id="rId6" Type="http://schemas.openxmlformats.org/officeDocument/2006/relationships/chart" Target="../charts/chart1730.xml"/></Relationships>
</file>

<file path=ppt/slides/_rels/slide870.xml.rels><?xml version='1.0' encoding='UTF-8' standalone='yes'?>
<Relationships xmlns="http://schemas.openxmlformats.org/package/2006/relationships"><Relationship Id="rId1" Type="http://schemas.openxmlformats.org/officeDocument/2006/relationships/tags" Target="../tags/tag8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9.xml"/><Relationship Id="rId6" Type="http://schemas.openxmlformats.org/officeDocument/2006/relationships/chart" Target="../charts/chart1740.xml"/></Relationships>
</file>

<file path=ppt/slides/_rels/slide871.xml.rels><?xml version='1.0' encoding='UTF-8' standalone='yes'?>
<Relationships xmlns="http://schemas.openxmlformats.org/package/2006/relationships"><Relationship Id="rId1" Type="http://schemas.openxmlformats.org/officeDocument/2006/relationships/tags" Target="../tags/tag8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41.xml"/><Relationship Id="rId6" Type="http://schemas.openxmlformats.org/officeDocument/2006/relationships/chart" Target="../charts/chart1742.xml"/></Relationships>
</file>

<file path=ppt/slides/_rels/slide877.xml.rels><?xml version='1.0' encoding='UTF-8' standalone='yes'?>
<Relationships xmlns="http://schemas.openxmlformats.org/package/2006/relationships"><Relationship Id="rId1" Type="http://schemas.openxmlformats.org/officeDocument/2006/relationships/tags" Target="../tags/tag9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3.xml"/><Relationship Id="rId6" Type="http://schemas.openxmlformats.org/officeDocument/2006/relationships/chart" Target="../charts/chart1754.xml"/></Relationships>
</file>

<file path=ppt/slides/_rels/slide878.xml.rels><?xml version='1.0' encoding='UTF-8' standalone='yes'?>
<Relationships xmlns="http://schemas.openxmlformats.org/package/2006/relationships"><Relationship Id="rId1" Type="http://schemas.openxmlformats.org/officeDocument/2006/relationships/tags" Target="../tags/tag9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5.xml"/><Relationship Id="rId6" Type="http://schemas.openxmlformats.org/officeDocument/2006/relationships/chart" Target="../charts/chart1756.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 Id="rId6" Type="http://schemas.openxmlformats.org/officeDocument/2006/relationships/chart" Target="../charts/chart176.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 Id="rId6" Type="http://schemas.openxmlformats.org/officeDocument/2006/relationships/chart" Target="../charts/chart178.xml"/></Relationships>
</file>

<file path=ppt/slides/_rels/slide892.xml.rels><?xml version='1.0' encoding='UTF-8' standalone='yes'?>
<Relationships xmlns="http://schemas.openxmlformats.org/package/2006/relationships"><Relationship Id="rId1" Type="http://schemas.openxmlformats.org/officeDocument/2006/relationships/tags" Target="../tags/tag9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3.xml"/><Relationship Id="rId6" Type="http://schemas.openxmlformats.org/officeDocument/2006/relationships/chart" Target="../charts/chart1784.xml"/></Relationships>
</file>

<file path=ppt/slides/_rels/slide893.xml.rels><?xml version='1.0' encoding='UTF-8' standalone='yes'?>
<Relationships xmlns="http://schemas.openxmlformats.org/package/2006/relationships"><Relationship Id="rId1" Type="http://schemas.openxmlformats.org/officeDocument/2006/relationships/tags" Target="../tags/tag9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5.xml"/><Relationship Id="rId6" Type="http://schemas.openxmlformats.org/officeDocument/2006/relationships/chart" Target="../charts/chart178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 Id="rId6" Type="http://schemas.openxmlformats.org/officeDocument/2006/relationships/chart" Target="../charts/chart18.xml"/></Relationships>
</file>

<file path=ppt/slides/_rels/slide902.xml.rels><?xml version='1.0' encoding='UTF-8' standalone='yes'?>
<Relationships xmlns="http://schemas.openxmlformats.org/package/2006/relationships"><Relationship Id="rId1" Type="http://schemas.openxmlformats.org/officeDocument/2006/relationships/tags" Target="../tags/tag9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3.xml"/><Relationship Id="rId6" Type="http://schemas.openxmlformats.org/officeDocument/2006/relationships/chart" Target="../charts/chart1804.xml"/></Relationships>
</file>

<file path=ppt/slides/_rels/slide903.xml.rels><?xml version='1.0' encoding='UTF-8' standalone='yes'?>
<Relationships xmlns="http://schemas.openxmlformats.org/package/2006/relationships"><Relationship Id="rId1" Type="http://schemas.openxmlformats.org/officeDocument/2006/relationships/tags" Target="../tags/tag9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5.xml"/><Relationship Id="rId6" Type="http://schemas.openxmlformats.org/officeDocument/2006/relationships/chart" Target="../charts/chart1806.xml"/></Relationships>
</file>

<file path=ppt/slides/_rels/slide908.xml.rels><?xml version='1.0' encoding='UTF-8' standalone='yes'?>
<Relationships xmlns="http://schemas.openxmlformats.org/package/2006/relationships"><Relationship Id="rId1" Type="http://schemas.openxmlformats.org/officeDocument/2006/relationships/tags" Target="../tags/tag9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5.xml"/><Relationship Id="rId6" Type="http://schemas.openxmlformats.org/officeDocument/2006/relationships/chart" Target="../charts/chart1816.xml"/></Relationships>
</file>

<file path=ppt/slides/_rels/slide909.xml.rels><?xml version='1.0' encoding='UTF-8' standalone='yes'?>
<Relationships xmlns="http://schemas.openxmlformats.org/package/2006/relationships"><Relationship Id="rId1" Type="http://schemas.openxmlformats.org/officeDocument/2006/relationships/tags" Target="../tags/tag9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7.xml"/><Relationship Id="rId6" Type="http://schemas.openxmlformats.org/officeDocument/2006/relationships/chart" Target="../charts/chart1818.xml"/></Relationships>
</file>

<file path=ppt/slides/_rels/slide910.xml.rels><?xml version='1.0' encoding='UTF-8' standalone='yes'?>
<Relationships xmlns="http://schemas.openxmlformats.org/package/2006/relationships"><Relationship Id="rId1" Type="http://schemas.openxmlformats.org/officeDocument/2006/relationships/tags" Target="../tags/tag9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9.xml"/><Relationship Id="rId6" Type="http://schemas.openxmlformats.org/officeDocument/2006/relationships/chart" Target="../charts/chart1820.xml"/></Relationships>
</file>

<file path=ppt/slides/_rels/slide916.xml.rels><?xml version='1.0' encoding='UTF-8' standalone='yes'?>
<Relationships xmlns="http://schemas.openxmlformats.org/package/2006/relationships"><Relationship Id="rId1" Type="http://schemas.openxmlformats.org/officeDocument/2006/relationships/tags" Target="../tags/tag9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31.xml"/><Relationship Id="rId6" Type="http://schemas.openxmlformats.org/officeDocument/2006/relationships/chart" Target="../charts/chart1832.xml"/></Relationships>
</file>

<file path=ppt/slides/_rels/slide924.xml.rels><?xml version='1.0' encoding='UTF-8' standalone='yes'?>
<Relationships xmlns="http://schemas.openxmlformats.org/package/2006/relationships"><Relationship Id="rId1" Type="http://schemas.openxmlformats.org/officeDocument/2006/relationships/tags" Target="../tags/tag9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7.xml"/><Relationship Id="rId6" Type="http://schemas.openxmlformats.org/officeDocument/2006/relationships/chart" Target="../charts/chart1848.xml"/></Relationships>
</file>

<file path=ppt/slides/_rels/slide925.xml.rels><?xml version='1.0' encoding='UTF-8' standalone='yes'?>
<Relationships xmlns="http://schemas.openxmlformats.org/package/2006/relationships"><Relationship Id="rId1" Type="http://schemas.openxmlformats.org/officeDocument/2006/relationships/tags" Target="../tags/tag9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9.xml"/><Relationship Id="rId6" Type="http://schemas.openxmlformats.org/officeDocument/2006/relationships/chart" Target="../charts/chart1850.xml"/></Relationships>
</file>

<file path=ppt/slides/_rels/slide9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chart" Target="../charts/chart1859.xml"/><Relationship Id="rId4" Type="http://schemas.openxmlformats.org/officeDocument/2006/relationships/chart" Target="../charts/chart1860.xml"/></Relationships>
</file>

<file path=ppt/slides/_rels/slide9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chart" Target="../charts/chart1861.xml"/><Relationship Id="rId4" Type="http://schemas.openxmlformats.org/officeDocument/2006/relationships/chart" Target="../charts/chart1862.xml"/></Relationships>
</file>

<file path=ppt/slides/_rels/slide9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chart" Target="../charts/chart1863.xml"/><Relationship Id="rId4" Type="http://schemas.openxmlformats.org/officeDocument/2006/relationships/chart" Target="../charts/chart1864.xml"/></Relationships>
</file>

<file path=ppt/slides/_rels/slide9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chart" Target="../charts/chart1873.xml"/><Relationship Id="rId4" Type="http://schemas.openxmlformats.org/officeDocument/2006/relationships/chart" Target="../charts/chart1874.xml"/></Relationships>
</file>

<file path=ppt/slides/_rels/slide9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1875.xml"/><Relationship Id="rId4" Type="http://schemas.openxmlformats.org/officeDocument/2006/relationships/chart" Target="../charts/chart1876.xml"/></Relationships>
</file>

<file path=ppt/slides/_rels/slide9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chart" Target="../charts/chart1905.xml"/><Relationship Id="rId4" Type="http://schemas.openxmlformats.org/officeDocument/2006/relationships/chart" Target="../charts/chart1906.xml"/></Relationships>
</file>

<file path=ppt/slides/_rels/slide9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1907.xml"/><Relationship Id="rId4" Type="http://schemas.openxmlformats.org/officeDocument/2006/relationships/chart" Target="../charts/chart1908.xml"/></Relationships>
</file>

<file path=ppt/slides/_rels/slide9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 Id="rId3" Type="http://schemas.openxmlformats.org/officeDocument/2006/relationships/chart" Target="../charts/chart1917.xml"/><Relationship Id="rId4" Type="http://schemas.openxmlformats.org/officeDocument/2006/relationships/chart" Target="../charts/chart1918.xml"/></Relationships>
</file>

<file path=ppt/slides/_rels/slide9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chart" Target="../charts/chart1919.xml"/><Relationship Id="rId4" Type="http://schemas.openxmlformats.org/officeDocument/2006/relationships/chart" Target="../charts/chart1920.xml"/></Relationships>
</file>

<file path=ppt/slides/_rels/slide9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chart" Target="../charts/chart1931.xml"/><Relationship Id="rId4" Type="http://schemas.openxmlformats.org/officeDocument/2006/relationships/chart" Target="../charts/chart1932.xml"/></Relationships>
</file>

<file path=ppt/slides/_rels/slide9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xml"/><Relationship Id="rId3" Type="http://schemas.openxmlformats.org/officeDocument/2006/relationships/chart" Target="../charts/chart1933.xml"/><Relationship Id="rId4" Type="http://schemas.openxmlformats.org/officeDocument/2006/relationships/chart" Target="../charts/chart1934.xml"/></Relationships>
</file>

<file path=ppt/slides/_rels/slide9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xml"/><Relationship Id="rId3" Type="http://schemas.openxmlformats.org/officeDocument/2006/relationships/chart" Target="../charts/chart1949.xml"/><Relationship Id="rId4" Type="http://schemas.openxmlformats.org/officeDocument/2006/relationships/chart" Target="../charts/chart1950.xml"/></Relationships>
</file>

<file path=ppt/slides/_rels/slide9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xml"/><Relationship Id="rId3" Type="http://schemas.openxmlformats.org/officeDocument/2006/relationships/chart" Target="../charts/chart1961.xml"/><Relationship Id="rId4" Type="http://schemas.openxmlformats.org/officeDocument/2006/relationships/chart" Target="../charts/chart1962.xml"/></Relationships>
</file>

<file path=ppt/slides/_rels/slide9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xml"/><Relationship Id="rId3" Type="http://schemas.openxmlformats.org/officeDocument/2006/relationships/chart" Target="../charts/chart1963.xml"/><Relationship Id="rId4" Type="http://schemas.openxmlformats.org/officeDocument/2006/relationships/chart" Target="../charts/chart1964.xml"/></Relationships>
</file>

<file path=ppt/slides/_rels/slide9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xml"/><Relationship Id="rId3" Type="http://schemas.openxmlformats.org/officeDocument/2006/relationships/chart" Target="../charts/chart1965.xml"/><Relationship Id="rId4" Type="http://schemas.openxmlformats.org/officeDocument/2006/relationships/chart" Target="../charts/chart1966.xml"/></Relationships>
</file>

<file path=ppt/slides/_rels/slide9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xml"/><Relationship Id="rId3" Type="http://schemas.openxmlformats.org/officeDocument/2006/relationships/chart" Target="../charts/chart1975.xml"/><Relationship Id="rId4" Type="http://schemas.openxmlformats.org/officeDocument/2006/relationships/chart" Target="../charts/chart1976.xml"/></Relationships>
</file>

<file path=ppt/slides/_rels/slide9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xml"/><Relationship Id="rId3" Type="http://schemas.openxmlformats.org/officeDocument/2006/relationships/chart" Target="../charts/chart1977.xml"/><Relationship Id="rId4" Type="http://schemas.openxmlformats.org/officeDocument/2006/relationships/chart" Target="../charts/chart1978.xml"/></Relationships>
</file>

<file path=ppt/slides/_rels/slide9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xml"/><Relationship Id="rId3" Type="http://schemas.openxmlformats.org/officeDocument/2006/relationships/chart" Target="../charts/chart1995.xml"/><Relationship Id="rId4" Type="http://schemas.openxmlformats.org/officeDocument/2006/relationships/chart" Target="../charts/chart1996.xml"/></Relationships>
</file>

<file path=ppt/slides/_rels/slide9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xml"/><Relationship Id="rId3" Type="http://schemas.openxmlformats.org/officeDocument/2006/relationships/chart" Target="../charts/chart1997.xml"/><Relationship Id="rId4" Type="http://schemas.openxmlformats.org/officeDocument/2006/relationships/chart" Target="../charts/chart1998.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80577464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315376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010418645"/>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993569613"/>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263661071"/>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157784409"/>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736409573"/>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670037779"/>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538897538"/>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28504757"/>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347152329"/>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881240052"/>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739156009"/>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031239912"/>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857691658"/>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400586509"/>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94037927"/>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650871496"/>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2068323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686317845"/>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183920094"/>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46144798"/>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70513341"/>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47768538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4045072626"/>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353588218"/>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152110993"/>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42282701"/>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469371818"/>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683275151"/>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404574070"/>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11696119"/>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053218435"/>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225175032"/>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720628866"/>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073931581"/>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856609743"/>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156070396"/>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541222762"/>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299380190"/>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468336520"/>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339354039"/>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022164128"/>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618288067"/>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805009959"/>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626054865"/>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974941262"/>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112532690"/>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987319640"/>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788398771"/>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332223157"/>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354577607"/>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277652743"/>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253546789"/>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92301075"/>
      </p:ext>
    </p:extLst>
  </p:cSld>
  <p:clrMapOvr>
    <a:masterClrMapping/>
  </p:clrMapOvr>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48241966"/>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396397679"/>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79235376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66775886"/>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320805827"/>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366118118"/>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133033484"/>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2943424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71504256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908540709"/>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93042167"/>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002222536"/>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582352663"/>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352526772"/>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244995264"/>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462283301"/>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903949682"/>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348367459"/>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257029165"/>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820048048"/>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527387799"/>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52258420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237539234"/>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930298232"/>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76334009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01309937"/>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969291354"/>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858412893"/>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621676223"/>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742476792"/>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618975063"/>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602713737"/>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123213095"/>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692997310"/>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932861262"/>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58095858"/>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587242404"/>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232861405"/>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639193204"/>
      </p:ext>
    </p:extLst>
  </p:cSld>
  <p:clrMapOvr>
    <a:masterClrMapping/>
  </p:clrMapOvr>
</p:sld>
</file>

<file path=ppt/slides/slide1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65337126"/>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27986070"/>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57792397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273956970"/>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10440043"/>
      </p:ext>
    </p:extLst>
  </p:cSld>
  <p:clrMapOvr>
    <a:masterClrMapping/>
  </p:clrMapOvr>
</p:sld>
</file>

<file path=ppt/slides/slide1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185850648"/>
      </p:ext>
    </p:extLst>
  </p:cSld>
  <p:clrMapOvr>
    <a:masterClrMapping/>
  </p:clrMapOvr>
</p:sld>
</file>

<file path=ppt/slides/slide1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037180730"/>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43789374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4064049942"/>
      </p:ext>
    </p:extLst>
  </p:cSld>
  <p:clrMapOvr>
    <a:masterClrMapping/>
  </p:clrMapOvr>
</p:sld>
</file>

<file path=ppt/slides/slide1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114410972"/>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273667473"/>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82494756"/>
      </p:ext>
    </p:extLst>
  </p:cSld>
  <p:clrMapOvr>
    <a:masterClrMapping/>
  </p:clrMapOvr>
</p:sld>
</file>

<file path=ppt/slides/slide1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89058679"/>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120206069"/>
      </p:ext>
    </p:extLst>
  </p:cSld>
  <p:clrMapOvr>
    <a:masterClrMapping/>
  </p:clrMapOvr>
</p:sld>
</file>

<file path=ppt/slides/slide1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906281804"/>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903066447"/>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010776194"/>
      </p:ext>
    </p:extLst>
  </p:cSld>
  <p:clrMapOvr>
    <a:masterClrMapping/>
  </p:clrMapOvr>
</p:sld>
</file>

<file path=ppt/slides/slide1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536912172"/>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889809143"/>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045464188"/>
      </p:ext>
    </p:extLst>
  </p:cSld>
  <p:clrMapOvr>
    <a:masterClrMapping/>
  </p:clrMapOvr>
</p:sld>
</file>

<file path=ppt/slides/slide1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331532661"/>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726352128"/>
      </p:ext>
    </p:extLst>
  </p:cSld>
  <p:clrMapOvr>
    <a:masterClrMapping/>
  </p:clrMapOvr>
</p:sld>
</file>

<file path=ppt/slides/slide1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60512556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63019063"/>
      </p:ext>
    </p:extLst>
  </p:cSld>
  <p:clrMapOvr>
    <a:masterClrMapping/>
  </p:clrMapOvr>
</p:sld>
</file>

<file path=ppt/slides/slide1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150184440"/>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933078492"/>
      </p:ext>
    </p:extLst>
  </p:cSld>
  <p:clrMapOvr>
    <a:masterClrMapping/>
  </p:clrMapOvr>
</p:sld>
</file>

<file path=ppt/slides/slide1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35396138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810113963"/>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40778214"/>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902555126"/>
      </p:ext>
    </p:extLst>
  </p:cSld>
  <p:clrMapOvr>
    <a:masterClrMapping/>
  </p:clrMapOvr>
</p:sld>
</file>

<file path=ppt/slides/slide1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419856709"/>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287068440"/>
      </p:ext>
    </p:extLst>
  </p:cSld>
  <p:clrMapOvr>
    <a:masterClrMapping/>
  </p:clrMapOvr>
</p:sld>
</file>

<file path=ppt/slides/slide1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958081534"/>
      </p:ext>
    </p:extLst>
  </p:cSld>
  <p:clrMapOvr>
    <a:masterClrMapping/>
  </p:clrMapOvr>
</p:sld>
</file>

<file path=ppt/slides/slide1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677878089"/>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641082493"/>
      </p:ext>
    </p:extLst>
  </p:cSld>
  <p:clrMapOvr>
    <a:masterClrMapping/>
  </p:clrMapOvr>
</p:sld>
</file>

<file path=ppt/slides/slide1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673016889"/>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877583725"/>
      </p:ext>
    </p:extLst>
  </p:cSld>
  <p:clrMapOvr>
    <a:masterClrMapping/>
  </p:clrMapOvr>
</p:sld>
</file>

<file path=ppt/slides/slide1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0705542"/>
      </p:ext>
    </p:extLst>
  </p:cSld>
  <p:clrMapOvr>
    <a:masterClrMapping/>
  </p:clrMapOvr>
</p:sld>
</file>

<file path=ppt/slides/slide1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13823890"/>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6997912"/>
      </p:ext>
    </p:extLst>
  </p:cSld>
  <p:clrMapOvr>
    <a:masterClrMapping/>
  </p:clrMapOvr>
</p:sld>
</file>

<file path=ppt/slides/slide1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HA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374811425"/>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227270105"/>
      </p:ext>
    </p:extLst>
  </p:cSld>
  <p:clrMapOvr>
    <a:masterClrMapping/>
  </p:clrMapOvr>
</p:sld>
</file>

<file path=ppt/slides/slide1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31294409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288538051"/>
      </p:ext>
    </p:extLst>
  </p:cSld>
  <p:clrMapOvr>
    <a:masterClrMapping/>
  </p:clrMapOvr>
</p:sld>
</file>

<file path=ppt/slides/slide1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904878333"/>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252278582"/>
      </p:ext>
    </p:extLst>
  </p:cSld>
  <p:clrMapOvr>
    <a:masterClrMapping/>
  </p:clrMapOvr>
</p:sld>
</file>

<file path=ppt/slides/slide1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29046883"/>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075390398"/>
      </p:ext>
    </p:extLst>
  </p:cSld>
  <p:clrMapOvr>
    <a:masterClrMapping/>
  </p:clrMapOvr>
</p:sld>
</file>

<file path=ppt/slides/slide1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19197318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843310150"/>
      </p:ext>
    </p:extLst>
  </p:cSld>
  <p:clrMapOvr>
    <a:masterClrMapping/>
  </p:clrMapOvr>
</p:sld>
</file>

<file path=ppt/slides/slide1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367991478"/>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211590603"/>
      </p:ext>
    </p:extLst>
  </p:cSld>
  <p:clrMapOvr>
    <a:masterClrMapping/>
  </p:clrMapOvr>
</p:sld>
</file>

<file path=ppt/slides/slide1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212444374"/>
      </p:ext>
    </p:extLst>
  </p:cSld>
  <p:clrMapOvr>
    <a:masterClrMapping/>
  </p:clrMapOvr>
</p:sld>
</file>

<file path=ppt/slides/slide1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94100883"/>
      </p:ext>
    </p:extLst>
  </p:cSld>
  <p:clrMapOvr>
    <a:masterClrMapping/>
  </p:clrMapOvr>
</p:sld>
</file>

<file path=ppt/slides/slide1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956519926"/>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500024531"/>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334255915"/>
      </p:ext>
    </p:extLst>
  </p:cSld>
  <p:clrMapOvr>
    <a:masterClrMapping/>
  </p:clrMapOvr>
</p:sld>
</file>

<file path=ppt/slides/slide1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703579691"/>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632946303"/>
      </p:ext>
    </p:extLst>
  </p:cSld>
  <p:clrMapOvr>
    <a:masterClrMapping/>
  </p:clrMapOvr>
</p:sld>
</file>

<file path=ppt/slides/slide1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292194399"/>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790081926"/>
      </p:ext>
    </p:extLst>
  </p:cSld>
  <p:clrMapOvr>
    <a:masterClrMapping/>
  </p:clrMapOvr>
</p:sld>
</file>

<file path=ppt/slides/slide1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589343298"/>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45134633"/>
      </p:ext>
    </p:extLst>
  </p:cSld>
  <p:clrMapOvr>
    <a:masterClrMapping/>
  </p:clrMapOvr>
</p:sld>
</file>

<file path=ppt/slides/slide1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58888264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26576240"/>
      </p:ext>
    </p:extLst>
  </p:cSld>
  <p:clrMapOvr>
    <a:masterClrMapping/>
  </p:clrMapOvr>
</p:sld>
</file>

<file path=ppt/slides/slide1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108453"/>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34166986"/>
      </p:ext>
    </p:extLst>
  </p:cSld>
  <p:clrMapOvr>
    <a:masterClrMapping/>
  </p:clrMapOvr>
</p:sld>
</file>

<file path=ppt/slides/slide1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43931378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795058502"/>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997080037"/>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902026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906472385"/>
      </p:ext>
    </p:extLst>
  </p:cSld>
  <p:clrMapOvr>
    <a:masterClrMapping/>
  </p:clrMapOvr>
</p:sld>
</file>

<file path=ppt/slides/slide1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87725473"/>
      </p:ext>
    </p:extLst>
  </p:cSld>
  <p:clrMapOvr>
    <a:masterClrMapping/>
  </p:clrMapOvr>
</p:sld>
</file>

<file path=ppt/slides/slide1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126375566"/>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985530194"/>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006341234"/>
      </p:ext>
    </p:extLst>
  </p:cSld>
  <p:clrMapOvr>
    <a:masterClrMapping/>
  </p:clrMapOvr>
</p:sld>
</file>

<file path=ppt/slides/slide1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607670574"/>
      </p:ext>
    </p:extLst>
  </p:cSld>
  <p:clrMapOvr>
    <a:masterClrMapping/>
  </p:clrMapOvr>
</p:sld>
</file>

<file path=ppt/slides/slide1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18250571"/>
      </p:ext>
    </p:extLst>
  </p:cSld>
  <p:clrMapOvr>
    <a:masterClrMapping/>
  </p:clrMapOvr>
</p:sld>
</file>

<file path=ppt/slides/slide1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606108807"/>
      </p:ext>
    </p:extLst>
  </p:cSld>
  <p:clrMapOvr>
    <a:masterClrMapping/>
  </p:clrMapOvr>
</p:sld>
</file>

<file path=ppt/slides/slide1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924716029"/>
      </p:ext>
    </p:extLst>
  </p:cSld>
  <p:clrMapOvr>
    <a:masterClrMapping/>
  </p:clrMapOvr>
</p:sld>
</file>

<file path=ppt/slides/slide1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16360305"/>
      </p:ext>
    </p:extLst>
  </p:cSld>
  <p:clrMapOvr>
    <a:masterClrMapping/>
  </p:clrMapOvr>
</p:sld>
</file>

<file path=ppt/slides/slide1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621840572"/>
      </p:ext>
    </p:extLst>
  </p:cSld>
  <p:clrMapOvr>
    <a:masterClrMapping/>
  </p:clrMapOvr>
</p:sld>
</file>

<file path=ppt/slides/slide1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728707454"/>
      </p:ext>
    </p:extLst>
  </p:cSld>
  <p:clrMapOvr>
    <a:masterClrMapping/>
  </p:clrMapOvr>
</p:sld>
</file>

<file path=ppt/slides/slide1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602271729"/>
      </p:ext>
    </p:extLst>
  </p:cSld>
  <p:clrMapOvr>
    <a:masterClrMapping/>
  </p:clrMapOvr>
</p:sld>
</file>

<file path=ppt/slides/slide1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609706060"/>
      </p:ext>
    </p:extLst>
  </p:cSld>
  <p:clrMapOvr>
    <a:masterClrMapping/>
  </p:clrMapOvr>
</p:sld>
</file>

<file path=ppt/slides/slide1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427340810"/>
      </p:ext>
    </p:extLst>
  </p:cSld>
  <p:clrMapOvr>
    <a:masterClrMapping/>
  </p:clrMapOvr>
</p:sld>
</file>

<file path=ppt/slides/slide1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61723596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688255112"/>
      </p:ext>
    </p:extLst>
  </p:cSld>
  <p:clrMapOvr>
    <a:masterClrMapping/>
  </p:clrMapOvr>
</p:sld>
</file>

<file path=ppt/slides/slide1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738784458"/>
      </p:ext>
    </p:extLst>
  </p:cSld>
  <p:clrMapOvr>
    <a:masterClrMapping/>
  </p:clrMapOvr>
</p:sld>
</file>

<file path=ppt/slides/slide1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429905724"/>
      </p:ext>
    </p:extLst>
  </p:cSld>
  <p:clrMapOvr>
    <a:masterClrMapping/>
  </p:clrMapOvr>
</p:sld>
</file>

<file path=ppt/slides/slide1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046001730"/>
      </p:ext>
    </p:extLst>
  </p:cSld>
  <p:clrMapOvr>
    <a:masterClrMapping/>
  </p:clrMapOvr>
</p:sld>
</file>

<file path=ppt/slides/slide1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791603227"/>
      </p:ext>
    </p:extLst>
  </p:cSld>
  <p:clrMapOvr>
    <a:masterClrMapping/>
  </p:clrMapOvr>
</p:sld>
</file>

<file path=ppt/slides/slide1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86825922"/>
      </p:ext>
    </p:extLst>
  </p:cSld>
  <p:clrMapOvr>
    <a:masterClrMapping/>
  </p:clrMapOvr>
</p:sld>
</file>

<file path=ppt/slides/slide1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489271855"/>
      </p:ext>
    </p:extLst>
  </p:cSld>
  <p:clrMapOvr>
    <a:masterClrMapping/>
  </p:clrMapOvr>
</p:sld>
</file>

<file path=ppt/slides/slide1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868373486"/>
      </p:ext>
    </p:extLst>
  </p:cSld>
  <p:clrMapOvr>
    <a:masterClrMapping/>
  </p:clrMapOvr>
</p:sld>
</file>

<file path=ppt/slides/slide1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347293733"/>
      </p:ext>
    </p:extLst>
  </p:cSld>
  <p:clrMapOvr>
    <a:masterClrMapping/>
  </p:clrMapOvr>
</p:sld>
</file>

<file path=ppt/slides/slide1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559311216"/>
      </p:ext>
    </p:extLst>
  </p:cSld>
  <p:clrMapOvr>
    <a:masterClrMapping/>
  </p:clrMapOvr>
</p:sld>
</file>

<file path=ppt/slides/slide1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027638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571361881"/>
      </p:ext>
    </p:extLst>
  </p:cSld>
  <p:clrMapOvr>
    <a:masterClrMapping/>
  </p:clrMapOvr>
</p:sld>
</file>

<file path=ppt/slides/slide1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559432748"/>
      </p:ext>
    </p:extLst>
  </p:cSld>
  <p:clrMapOvr>
    <a:masterClrMapping/>
  </p:clrMapOvr>
</p:sld>
</file>

<file path=ppt/slides/slide1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198992795"/>
      </p:ext>
    </p:extLst>
  </p:cSld>
  <p:clrMapOvr>
    <a:masterClrMapping/>
  </p:clrMapOvr>
</p:sld>
</file>

<file path=ppt/slides/slide1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621636612"/>
      </p:ext>
    </p:extLst>
  </p:cSld>
  <p:clrMapOvr>
    <a:masterClrMapping/>
  </p:clrMapOvr>
</p:sld>
</file>

<file path=ppt/slides/slide1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264296884"/>
      </p:ext>
    </p:extLst>
  </p:cSld>
  <p:clrMapOvr>
    <a:masterClrMapping/>
  </p:clrMapOvr>
</p:sld>
</file>

<file path=ppt/slides/slide1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265147691"/>
      </p:ext>
    </p:extLst>
  </p:cSld>
  <p:clrMapOvr>
    <a:masterClrMapping/>
  </p:clrMapOvr>
</p:sld>
</file>

<file path=ppt/slides/slide1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454633414"/>
      </p:ext>
    </p:extLst>
  </p:cSld>
  <p:clrMapOvr>
    <a:masterClrMapping/>
  </p:clrMapOvr>
</p:sld>
</file>

<file path=ppt/slides/slide1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18467206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631070626"/>
      </p:ext>
    </p:extLst>
  </p:cSld>
  <p:clrMapOvr>
    <a:masterClrMapping/>
  </p:clrMapOvr>
</p:sld>
</file>

<file path=ppt/slides/slide1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474035108"/>
      </p:ext>
    </p:extLst>
  </p:cSld>
  <p:clrMapOvr>
    <a:masterClrMapping/>
  </p:clrMapOvr>
</p:sld>
</file>

<file path=ppt/slides/slide1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420808577"/>
      </p:ext>
    </p:extLst>
  </p:cSld>
  <p:clrMapOvr>
    <a:masterClrMapping/>
  </p:clrMapOvr>
</p:sld>
</file>

<file path=ppt/slides/slide1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95557968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301336009"/>
      </p:ext>
    </p:extLst>
  </p:cSld>
  <p:clrMapOvr>
    <a:masterClrMapping/>
  </p:clrMapOvr>
</p:sld>
</file>

<file path=ppt/slides/slide1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990687396"/>
      </p:ext>
    </p:extLst>
  </p:cSld>
  <p:clrMapOvr>
    <a:masterClrMapping/>
  </p:clrMapOvr>
</p:sld>
</file>

<file path=ppt/slides/slide1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687500677"/>
      </p:ext>
    </p:extLst>
  </p:cSld>
  <p:clrMapOvr>
    <a:masterClrMapping/>
  </p:clrMapOvr>
</p:sld>
</file>

<file path=ppt/slides/slide1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401696974"/>
      </p:ext>
    </p:extLst>
  </p:cSld>
  <p:clrMapOvr>
    <a:masterClrMapping/>
  </p:clrMapOvr>
</p:sld>
</file>

<file path=ppt/slides/slide1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588745457"/>
      </p:ext>
    </p:extLst>
  </p:cSld>
  <p:clrMapOvr>
    <a:masterClrMapping/>
  </p:clrMapOvr>
</p:sld>
</file>

<file path=ppt/slides/slide1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HA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867075643"/>
      </p:ext>
    </p:extLst>
  </p:cSld>
  <p:clrMapOvr>
    <a:masterClrMapping/>
  </p:clrMapOvr>
</p:sld>
</file>

<file path=ppt/slides/slide1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681012544"/>
      </p:ext>
    </p:extLst>
  </p:cSld>
  <p:clrMapOvr>
    <a:masterClrMapping/>
  </p:clrMapOvr>
</p:sld>
</file>

<file path=ppt/slides/slide1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830734703"/>
      </p:ext>
    </p:extLst>
  </p:cSld>
  <p:clrMapOvr>
    <a:masterClrMapping/>
  </p:clrMapOvr>
</p:sld>
</file>

<file path=ppt/slides/slide1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11880982"/>
      </p:ext>
    </p:extLst>
  </p:cSld>
  <p:clrMapOvr>
    <a:masterClrMapping/>
  </p:clrMapOvr>
</p:sld>
</file>

<file path=ppt/slides/slide1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936560028"/>
      </p:ext>
    </p:extLst>
  </p:cSld>
  <p:clrMapOvr>
    <a:masterClrMapping/>
  </p:clrMapOvr>
</p:sld>
</file>

<file path=ppt/slides/slide1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401907978"/>
      </p:ext>
    </p:extLst>
  </p:cSld>
  <p:clrMapOvr>
    <a:masterClrMapping/>
  </p:clrMapOvr>
</p:sld>
</file>

<file path=ppt/slides/slide1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029790018"/>
      </p:ext>
    </p:extLst>
  </p:cSld>
  <p:clrMapOvr>
    <a:masterClrMapping/>
  </p:clrMapOvr>
</p:sld>
</file>

<file path=ppt/slides/slide1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HA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027258710"/>
      </p:ext>
    </p:extLst>
  </p:cSld>
  <p:clrMapOvr>
    <a:masterClrMapping/>
  </p:clrMapOvr>
</p:sld>
</file>

<file path=ppt/slides/slide1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056623749"/>
      </p:ext>
    </p:extLst>
  </p:cSld>
  <p:clrMapOvr>
    <a:masterClrMapping/>
  </p:clrMapOvr>
</p:sld>
</file>

<file path=ppt/slides/slide1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985869906"/>
      </p:ext>
    </p:extLst>
  </p:cSld>
  <p:clrMapOvr>
    <a:masterClrMapping/>
  </p:clrMapOvr>
</p:sld>
</file>

<file path=ppt/slides/slide1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81447918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805879077"/>
      </p:ext>
    </p:extLst>
  </p:cSld>
  <p:clrMapOvr>
    <a:masterClrMapping/>
  </p:clrMapOvr>
</p:sld>
</file>

<file path=ppt/slides/slide1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026442808"/>
      </p:ext>
    </p:extLst>
  </p:cSld>
  <p:clrMapOvr>
    <a:masterClrMapping/>
  </p:clrMapOvr>
</p:sld>
</file>

<file path=ppt/slides/slide1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109098813"/>
      </p:ext>
    </p:extLst>
  </p:cSld>
  <p:clrMapOvr>
    <a:masterClrMapping/>
  </p:clrMapOvr>
</p:sld>
</file>

<file path=ppt/slides/slide1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55727227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549668223"/>
      </p:ext>
    </p:extLst>
  </p:cSld>
  <p:clrMapOvr>
    <a:masterClrMapping/>
  </p:clrMapOvr>
</p:sld>
</file>

<file path=ppt/slides/slide1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348899129"/>
      </p:ext>
    </p:extLst>
  </p:cSld>
  <p:clrMapOvr>
    <a:masterClrMapping/>
  </p:clrMapOvr>
</p:sld>
</file>

<file path=ppt/slides/slide1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837657046"/>
      </p:ext>
    </p:extLst>
  </p:cSld>
  <p:clrMapOvr>
    <a:masterClrMapping/>
  </p:clrMapOvr>
</p:sld>
</file>

<file path=ppt/slides/slide1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403934427"/>
      </p:ext>
    </p:extLst>
  </p:cSld>
  <p:clrMapOvr>
    <a:masterClrMapping/>
  </p:clrMapOvr>
</p:sld>
</file>

<file path=ppt/slides/slide1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831755689"/>
      </p:ext>
    </p:extLst>
  </p:cSld>
  <p:clrMapOvr>
    <a:masterClrMapping/>
  </p:clrMapOvr>
</p:sld>
</file>

<file path=ppt/slides/slide1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262734217"/>
      </p:ext>
    </p:extLst>
  </p:cSld>
  <p:clrMapOvr>
    <a:masterClrMapping/>
  </p:clrMapOvr>
</p:sld>
</file>

<file path=ppt/slides/slide1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145421075"/>
      </p:ext>
    </p:extLst>
  </p:cSld>
  <p:clrMapOvr>
    <a:masterClrMapping/>
  </p:clrMapOvr>
</p:sld>
</file>

<file path=ppt/slides/slide18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9322836"/>
      </p:ext>
    </p:extLst>
  </p:cSld>
  <p:clrMapOvr>
    <a:masterClrMapping/>
  </p:clrMapOvr>
</p:sld>
</file>

<file path=ppt/slides/slide1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256634339"/>
      </p:ext>
    </p:extLst>
  </p:cSld>
  <p:clrMapOvr>
    <a:masterClrMapping/>
  </p:clrMapOvr>
</p:sld>
</file>

<file path=ppt/slides/slide1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456553946"/>
      </p:ext>
    </p:extLst>
  </p:cSld>
  <p:clrMapOvr>
    <a:masterClrMapping/>
  </p:clrMapOvr>
</p:sld>
</file>

<file path=ppt/slides/slide1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202361127"/>
      </p:ext>
    </p:extLst>
  </p:cSld>
  <p:clrMapOvr>
    <a:masterClrMapping/>
  </p:clrMapOvr>
</p:sld>
</file>

<file path=ppt/slides/slide1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017253823"/>
      </p:ext>
    </p:extLst>
  </p:cSld>
  <p:clrMapOvr>
    <a:masterClrMapping/>
  </p:clrMapOvr>
</p:sld>
</file>

<file path=ppt/slides/slide1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365521321"/>
      </p:ext>
    </p:extLst>
  </p:cSld>
  <p:clrMapOvr>
    <a:masterClrMapping/>
  </p:clrMapOvr>
</p:sld>
</file>

<file path=ppt/slides/slide1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HMSM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0%</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1947218742"/>
      </p:ext>
    </p:extLst>
  </p:cSld>
  <p:clrMapOvr>
    <a:masterClrMapping/>
  </p:clrMapOvr>
</p:sld>
</file>

<file path=ppt/slides/slide1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HMSM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0%</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51493417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76668763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511412544"/>
      </p:ext>
    </p:extLst>
  </p:cSld>
  <p:clrMapOvr>
    <a:masterClrMapping/>
  </p:clrMapOvr>
</p:sld>
</file>

<file path=ppt/slides/slide1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R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1581569123"/>
      </p:ext>
    </p:extLst>
  </p:cSld>
  <p:clrMapOvr>
    <a:masterClrMapping/>
  </p:clrMapOvr>
</p:sld>
</file>

<file path=ppt/slides/slide1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CCQ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1935591062"/>
      </p:ext>
    </p:extLst>
  </p:cSld>
  <p:clrMapOvr>
    <a:masterClrMapping/>
  </p:clrMapOvr>
</p:sld>
</file>

<file path=ppt/slides/slide1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PA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74722643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802385686"/>
      </p:ext>
    </p:extLst>
  </p:cSld>
  <p:clrMapOvr>
    <a:masterClrMapping/>
  </p:clrMapOvr>
</p:sld>
</file>

<file path=ppt/slides/slide1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PA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163129191"/>
      </p:ext>
    </p:extLst>
  </p:cSld>
  <p:clrMapOvr>
    <a:masterClrMapping/>
  </p:clrMapOvr>
</p:sld>
</file>

<file path=ppt/slides/slide1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ES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494632410"/>
      </p:ext>
    </p:extLst>
  </p:cSld>
  <p:clrMapOvr>
    <a:masterClrMapping/>
  </p:clrMapOvr>
</p:sld>
</file>

<file path=ppt/slides/slide1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OC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1%</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740142691"/>
      </p:ext>
    </p:extLst>
  </p:cSld>
  <p:clrMapOvr>
    <a:masterClrMapping/>
  </p:clrMapOvr>
</p:sld>
</file>

<file path=ppt/slides/slide1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BR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6%</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564592398"/>
      </p:ext>
    </p:extLst>
  </p:cSld>
  <p:clrMapOvr>
    <a:masterClrMapping/>
  </p:clrMapOvr>
</p:sld>
</file>

<file path=ppt/slides/slide1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LOI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1164455052"/>
      </p:ext>
    </p:extLst>
  </p:cSld>
  <p:clrMapOvr>
    <a:masterClrMapping/>
  </p:clrMapOvr>
</p:sld>
</file>

<file path=ppt/slides/slide1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LOI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4190600323"/>
      </p:ext>
    </p:extLst>
  </p:cSld>
  <p:clrMapOvr>
    <a:masterClrMapping/>
  </p:clrMapOvr>
</p:sld>
</file>

<file path=ppt/slides/slide1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CA B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614936655"/>
      </p:ext>
    </p:extLst>
  </p:cSld>
  <p:clrMapOvr>
    <a:masterClrMapping/>
  </p:clrMapOvr>
</p:sld>
</file>

<file path=ppt/slides/slide1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CA 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1194241215"/>
      </p:ext>
    </p:extLst>
  </p:cSld>
  <p:clrMapOvr>
    <a:masterClrMapping/>
  </p:clrMapOvr>
</p:sld>
</file>

<file path=ppt/slides/slide1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CA 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4%</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709094981"/>
      </p:ext>
    </p:extLst>
  </p:cSld>
  <p:clrMapOvr>
    <a:masterClrMapping/>
  </p:clrMapOvr>
</p:sld>
</file>

<file path=ppt/slides/slide1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928813835"/>
                    </a:ext>
                  </a:extLst>
                </a:gridCol>
                <a:gridCol w="392710">
                  <a:extLst>
                    <a:ext uri="{9D8B030D-6E8A-4147-A177-3AD203B41FA5}">
                      <a16:colId xmlns:a16="http://schemas.microsoft.com/office/drawing/2014/main" val="3374165474"/>
                    </a:ext>
                  </a:extLst>
                </a:gridCol>
                <a:gridCol w="392710">
                  <a:extLst>
                    <a:ext uri="{9D8B030D-6E8A-4147-A177-3AD203B41FA5}">
                      <a16:colId xmlns:a16="http://schemas.microsoft.com/office/drawing/2014/main" val="99928969"/>
                    </a:ext>
                  </a:extLst>
                </a:gridCol>
                <a:gridCol w="392710">
                  <a:extLst>
                    <a:ext uri="{9D8B030D-6E8A-4147-A177-3AD203B41FA5}">
                      <a16:colId xmlns:a16="http://schemas.microsoft.com/office/drawing/2014/main" val="127408809"/>
                    </a:ext>
                  </a:extLst>
                </a:gridCol>
                <a:gridCol w="392710">
                  <a:extLst>
                    <a:ext uri="{9D8B030D-6E8A-4147-A177-3AD203B41FA5}">
                      <a16:colId xmlns:a16="http://schemas.microsoft.com/office/drawing/2014/main" val="3994312964"/>
                    </a:ext>
                  </a:extLst>
                </a:gridCol>
                <a:gridCol w="392710">
                  <a:extLst>
                    <a:ext uri="{9D8B030D-6E8A-4147-A177-3AD203B41FA5}">
                      <a16:colId xmlns:a16="http://schemas.microsoft.com/office/drawing/2014/main" val="384709931"/>
                    </a:ext>
                  </a:extLst>
                </a:gridCol>
                <a:gridCol w="392710">
                  <a:extLst>
                    <a:ext uri="{9D8B030D-6E8A-4147-A177-3AD203B41FA5}">
                      <a16:colId xmlns:a16="http://schemas.microsoft.com/office/drawing/2014/main" val="217012177"/>
                    </a:ext>
                  </a:extLst>
                </a:gridCol>
                <a:gridCol w="392710">
                  <a:extLst>
                    <a:ext uri="{9D8B030D-6E8A-4147-A177-3AD203B41FA5}">
                      <a16:colId xmlns:a16="http://schemas.microsoft.com/office/drawing/2014/main" val="2084146792"/>
                    </a:ext>
                  </a:extLst>
                </a:gridCol>
                <a:gridCol w="392710">
                  <a:extLst>
                    <a:ext uri="{9D8B030D-6E8A-4147-A177-3AD203B41FA5}">
                      <a16:colId xmlns:a16="http://schemas.microsoft.com/office/drawing/2014/main" val="586326706"/>
                    </a:ext>
                  </a:extLst>
                </a:gridCol>
                <a:gridCol w="392710">
                  <a:extLst>
                    <a:ext uri="{9D8B030D-6E8A-4147-A177-3AD203B41FA5}">
                      <a16:colId xmlns:a16="http://schemas.microsoft.com/office/drawing/2014/main" val="786404783"/>
                    </a:ext>
                  </a:extLst>
                </a:gridCol>
                <a:gridCol w="392710">
                  <a:extLst>
                    <a:ext uri="{9D8B030D-6E8A-4147-A177-3AD203B41FA5}">
                      <a16:colId xmlns:a16="http://schemas.microsoft.com/office/drawing/2014/main" val="2712606379"/>
                    </a:ext>
                  </a:extLst>
                </a:gridCol>
                <a:gridCol w="392710">
                  <a:extLst>
                    <a:ext uri="{9D8B030D-6E8A-4147-A177-3AD203B41FA5}">
                      <a16:colId xmlns:a16="http://schemas.microsoft.com/office/drawing/2014/main" val="2334528175"/>
                    </a:ext>
                  </a:extLst>
                </a:gridCol>
                <a:gridCol w="392710">
                  <a:extLst>
                    <a:ext uri="{9D8B030D-6E8A-4147-A177-3AD203B41FA5}">
                      <a16:colId xmlns:a16="http://schemas.microsoft.com/office/drawing/2014/main" val="3835393650"/>
                    </a:ext>
                  </a:extLst>
                </a:gridCol>
                <a:gridCol w="392710">
                  <a:extLst>
                    <a:ext uri="{9D8B030D-6E8A-4147-A177-3AD203B41FA5}">
                      <a16:colId xmlns:a16="http://schemas.microsoft.com/office/drawing/2014/main" val="3705822644"/>
                    </a:ext>
                  </a:extLst>
                </a:gridCol>
                <a:gridCol w="392710">
                  <a:extLst>
                    <a:ext uri="{9D8B030D-6E8A-4147-A177-3AD203B41FA5}">
                      <a16:colId xmlns:a16="http://schemas.microsoft.com/office/drawing/2014/main" val="184560546"/>
                    </a:ext>
                  </a:extLst>
                </a:gridCol>
                <a:gridCol w="392710">
                  <a:extLst>
                    <a:ext uri="{9D8B030D-6E8A-4147-A177-3AD203B41FA5}">
                      <a16:colId xmlns:a16="http://schemas.microsoft.com/office/drawing/2014/main" val="712457864"/>
                    </a:ext>
                  </a:extLst>
                </a:gridCol>
                <a:gridCol w="392710">
                  <a:extLst>
                    <a:ext uri="{9D8B030D-6E8A-4147-A177-3AD203B41FA5}">
                      <a16:colId xmlns:a16="http://schemas.microsoft.com/office/drawing/2014/main" val="2719112317"/>
                    </a:ext>
                  </a:extLst>
                </a:gridCol>
                <a:gridCol w="392710">
                  <a:extLst>
                    <a:ext uri="{9D8B030D-6E8A-4147-A177-3AD203B41FA5}">
                      <a16:colId xmlns:a16="http://schemas.microsoft.com/office/drawing/2014/main" val="1610204172"/>
                    </a:ext>
                  </a:extLst>
                </a:gridCol>
                <a:gridCol w="392710">
                  <a:extLst>
                    <a:ext uri="{9D8B030D-6E8A-4147-A177-3AD203B41FA5}">
                      <a16:colId xmlns:a16="http://schemas.microsoft.com/office/drawing/2014/main" val="4106856681"/>
                    </a:ext>
                  </a:extLst>
                </a:gridCol>
                <a:gridCol w="39271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887583439"/>
      </p:ext>
    </p:extLst>
  </p:cSld>
  <p:clrMapOvr>
    <a:masterClrMapping/>
  </p:clrMapOvr>
</p:sld>
</file>

<file path=ppt/slides/slide19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928813835"/>
                    </a:ext>
                  </a:extLst>
                </a:gridCol>
                <a:gridCol w="392710">
                  <a:extLst>
                    <a:ext uri="{9D8B030D-6E8A-4147-A177-3AD203B41FA5}">
                      <a16:colId xmlns:a16="http://schemas.microsoft.com/office/drawing/2014/main" val="3374165474"/>
                    </a:ext>
                  </a:extLst>
                </a:gridCol>
                <a:gridCol w="392710">
                  <a:extLst>
                    <a:ext uri="{9D8B030D-6E8A-4147-A177-3AD203B41FA5}">
                      <a16:colId xmlns:a16="http://schemas.microsoft.com/office/drawing/2014/main" val="99928969"/>
                    </a:ext>
                  </a:extLst>
                </a:gridCol>
                <a:gridCol w="392710">
                  <a:extLst>
                    <a:ext uri="{9D8B030D-6E8A-4147-A177-3AD203B41FA5}">
                      <a16:colId xmlns:a16="http://schemas.microsoft.com/office/drawing/2014/main" val="127408809"/>
                    </a:ext>
                  </a:extLst>
                </a:gridCol>
                <a:gridCol w="392710">
                  <a:extLst>
                    <a:ext uri="{9D8B030D-6E8A-4147-A177-3AD203B41FA5}">
                      <a16:colId xmlns:a16="http://schemas.microsoft.com/office/drawing/2014/main" val="3994312964"/>
                    </a:ext>
                  </a:extLst>
                </a:gridCol>
                <a:gridCol w="392710">
                  <a:extLst>
                    <a:ext uri="{9D8B030D-6E8A-4147-A177-3AD203B41FA5}">
                      <a16:colId xmlns:a16="http://schemas.microsoft.com/office/drawing/2014/main" val="384709931"/>
                    </a:ext>
                  </a:extLst>
                </a:gridCol>
                <a:gridCol w="392710">
                  <a:extLst>
                    <a:ext uri="{9D8B030D-6E8A-4147-A177-3AD203B41FA5}">
                      <a16:colId xmlns:a16="http://schemas.microsoft.com/office/drawing/2014/main" val="217012177"/>
                    </a:ext>
                  </a:extLst>
                </a:gridCol>
                <a:gridCol w="392710">
                  <a:extLst>
                    <a:ext uri="{9D8B030D-6E8A-4147-A177-3AD203B41FA5}">
                      <a16:colId xmlns:a16="http://schemas.microsoft.com/office/drawing/2014/main" val="2084146792"/>
                    </a:ext>
                  </a:extLst>
                </a:gridCol>
                <a:gridCol w="392710">
                  <a:extLst>
                    <a:ext uri="{9D8B030D-6E8A-4147-A177-3AD203B41FA5}">
                      <a16:colId xmlns:a16="http://schemas.microsoft.com/office/drawing/2014/main" val="586326706"/>
                    </a:ext>
                  </a:extLst>
                </a:gridCol>
                <a:gridCol w="392710">
                  <a:extLst>
                    <a:ext uri="{9D8B030D-6E8A-4147-A177-3AD203B41FA5}">
                      <a16:colId xmlns:a16="http://schemas.microsoft.com/office/drawing/2014/main" val="786404783"/>
                    </a:ext>
                  </a:extLst>
                </a:gridCol>
                <a:gridCol w="392710">
                  <a:extLst>
                    <a:ext uri="{9D8B030D-6E8A-4147-A177-3AD203B41FA5}">
                      <a16:colId xmlns:a16="http://schemas.microsoft.com/office/drawing/2014/main" val="2712606379"/>
                    </a:ext>
                  </a:extLst>
                </a:gridCol>
                <a:gridCol w="392710">
                  <a:extLst>
                    <a:ext uri="{9D8B030D-6E8A-4147-A177-3AD203B41FA5}">
                      <a16:colId xmlns:a16="http://schemas.microsoft.com/office/drawing/2014/main" val="2334528175"/>
                    </a:ext>
                  </a:extLst>
                </a:gridCol>
                <a:gridCol w="392710">
                  <a:extLst>
                    <a:ext uri="{9D8B030D-6E8A-4147-A177-3AD203B41FA5}">
                      <a16:colId xmlns:a16="http://schemas.microsoft.com/office/drawing/2014/main" val="3835393650"/>
                    </a:ext>
                  </a:extLst>
                </a:gridCol>
                <a:gridCol w="392710">
                  <a:extLst>
                    <a:ext uri="{9D8B030D-6E8A-4147-A177-3AD203B41FA5}">
                      <a16:colId xmlns:a16="http://schemas.microsoft.com/office/drawing/2014/main" val="3705822644"/>
                    </a:ext>
                  </a:extLst>
                </a:gridCol>
                <a:gridCol w="392710">
                  <a:extLst>
                    <a:ext uri="{9D8B030D-6E8A-4147-A177-3AD203B41FA5}">
                      <a16:colId xmlns:a16="http://schemas.microsoft.com/office/drawing/2014/main" val="184560546"/>
                    </a:ext>
                  </a:extLst>
                </a:gridCol>
                <a:gridCol w="392710">
                  <a:extLst>
                    <a:ext uri="{9D8B030D-6E8A-4147-A177-3AD203B41FA5}">
                      <a16:colId xmlns:a16="http://schemas.microsoft.com/office/drawing/2014/main" val="712457864"/>
                    </a:ext>
                  </a:extLst>
                </a:gridCol>
                <a:gridCol w="392710">
                  <a:extLst>
                    <a:ext uri="{9D8B030D-6E8A-4147-A177-3AD203B41FA5}">
                      <a16:colId xmlns:a16="http://schemas.microsoft.com/office/drawing/2014/main" val="2719112317"/>
                    </a:ext>
                  </a:extLst>
                </a:gridCol>
                <a:gridCol w="392710">
                  <a:extLst>
                    <a:ext uri="{9D8B030D-6E8A-4147-A177-3AD203B41FA5}">
                      <a16:colId xmlns:a16="http://schemas.microsoft.com/office/drawing/2014/main" val="1610204172"/>
                    </a:ext>
                  </a:extLst>
                </a:gridCol>
                <a:gridCol w="392710">
                  <a:extLst>
                    <a:ext uri="{9D8B030D-6E8A-4147-A177-3AD203B41FA5}">
                      <a16:colId xmlns:a16="http://schemas.microsoft.com/office/drawing/2014/main" val="4106856681"/>
                    </a:ext>
                  </a:extLst>
                </a:gridCol>
                <a:gridCol w="39271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137877639"/>
      </p:ext>
    </p:extLst>
  </p:cSld>
  <p:clrMapOvr>
    <a:masterClrMapping/>
  </p:clrMapOvr>
</p:sld>
</file>

<file path=ppt/slides/slide1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QC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0%</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0%</a:t>
                      </a:r>
                      <a:r>
                        <a:rPr sz="700">
                          <a:solidFill>
                            <a:srgbClr val="575555"/>
                          </a:solidFill>
                          <a:latin typeface="Nexa Book"/>
                        </a:rPr>
                        <a:t> | </a:t>
                      </a:r>
                      <a:r>
                        <a:rPr sz="700">
                          <a:solidFill>
                            <a:srgbClr val="C00000"/>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00A097"/>
                          </a:solidFill>
                          <a:latin typeface="Nexa Book"/>
                        </a:rP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530106813"/>
      </p:ext>
    </p:extLst>
  </p:cSld>
  <p:clrMapOvr>
    <a:masterClrMapping/>
  </p:clrMapOvr>
</p:sld>
</file>

<file path=ppt/slides/slide19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QC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0%</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0%</a:t>
                      </a:r>
                      <a:r>
                        <a:rPr sz="700">
                          <a:solidFill>
                            <a:srgbClr val="575555"/>
                          </a:solidFill>
                          <a:latin typeface="Nexa Book"/>
                        </a:rPr>
                        <a:t> | </a:t>
                      </a:r>
                      <a:r>
                        <a:rPr sz="700">
                          <a:solidFill>
                            <a:srgbClr val="C00000"/>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00A097"/>
                          </a:solidFill>
                          <a:latin typeface="Nexa Book"/>
                        </a:rP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1154190421"/>
      </p:ext>
    </p:extLst>
  </p:cSld>
  <p:clrMapOvr>
    <a:masterClrMapping/>
  </p:clrMapOvr>
</p:sld>
</file>

<file path=ppt/slides/slide19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CC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27408809"/>
                    </a:ext>
                  </a:extLst>
                </a:gridCol>
                <a:gridCol w="466344">
                  <a:extLst>
                    <a:ext uri="{9D8B030D-6E8A-4147-A177-3AD203B41FA5}">
                      <a16:colId xmlns:a16="http://schemas.microsoft.com/office/drawing/2014/main" val="3994312964"/>
                    </a:ext>
                  </a:extLst>
                </a:gridCol>
                <a:gridCol w="466344">
                  <a:extLst>
                    <a:ext uri="{9D8B030D-6E8A-4147-A177-3AD203B41FA5}">
                      <a16:colId xmlns:a16="http://schemas.microsoft.com/office/drawing/2014/main" val="384709931"/>
                    </a:ext>
                  </a:extLst>
                </a:gridCol>
                <a:gridCol w="466344">
                  <a:extLst>
                    <a:ext uri="{9D8B030D-6E8A-4147-A177-3AD203B41FA5}">
                      <a16:colId xmlns:a16="http://schemas.microsoft.com/office/drawing/2014/main" val="217012177"/>
                    </a:ext>
                  </a:extLst>
                </a:gridCol>
                <a:gridCol w="466344">
                  <a:extLst>
                    <a:ext uri="{9D8B030D-6E8A-4147-A177-3AD203B41FA5}">
                      <a16:colId xmlns:a16="http://schemas.microsoft.com/office/drawing/2014/main" val="2084146792"/>
                    </a:ext>
                  </a:extLst>
                </a:gridCol>
                <a:gridCol w="466344">
                  <a:extLst>
                    <a:ext uri="{9D8B030D-6E8A-4147-A177-3AD203B41FA5}">
                      <a16:colId xmlns:a16="http://schemas.microsoft.com/office/drawing/2014/main" val="586326706"/>
                    </a:ext>
                  </a:extLst>
                </a:gridCol>
                <a:gridCol w="466344">
                  <a:extLst>
                    <a:ext uri="{9D8B030D-6E8A-4147-A177-3AD203B41FA5}">
                      <a16:colId xmlns:a16="http://schemas.microsoft.com/office/drawing/2014/main" val="786404783"/>
                    </a:ext>
                  </a:extLst>
                </a:gridCol>
                <a:gridCol w="466344">
                  <a:extLst>
                    <a:ext uri="{9D8B030D-6E8A-4147-A177-3AD203B41FA5}">
                      <a16:colId xmlns:a16="http://schemas.microsoft.com/office/drawing/2014/main" val="2712606379"/>
                    </a:ext>
                  </a:extLst>
                </a:gridCol>
                <a:gridCol w="466344">
                  <a:extLst>
                    <a:ext uri="{9D8B030D-6E8A-4147-A177-3AD203B41FA5}">
                      <a16:colId xmlns:a16="http://schemas.microsoft.com/office/drawing/2014/main" val="2334528175"/>
                    </a:ext>
                  </a:extLst>
                </a:gridCol>
                <a:gridCol w="466344">
                  <a:extLst>
                    <a:ext uri="{9D8B030D-6E8A-4147-A177-3AD203B41FA5}">
                      <a16:colId xmlns:a16="http://schemas.microsoft.com/office/drawing/2014/main" val="3835393650"/>
                    </a:ext>
                  </a:extLst>
                </a:gridCol>
                <a:gridCol w="466344">
                  <a:extLst>
                    <a:ext uri="{9D8B030D-6E8A-4147-A177-3AD203B41FA5}">
                      <a16:colId xmlns:a16="http://schemas.microsoft.com/office/drawing/2014/main" val="3705822644"/>
                    </a:ext>
                  </a:extLst>
                </a:gridCol>
                <a:gridCol w="466344">
                  <a:extLst>
                    <a:ext uri="{9D8B030D-6E8A-4147-A177-3AD203B41FA5}">
                      <a16:colId xmlns:a16="http://schemas.microsoft.com/office/drawing/2014/main" val="184560546"/>
                    </a:ext>
                  </a:extLst>
                </a:gridCol>
                <a:gridCol w="466344">
                  <a:extLst>
                    <a:ext uri="{9D8B030D-6E8A-4147-A177-3AD203B41FA5}">
                      <a16:colId xmlns:a16="http://schemas.microsoft.com/office/drawing/2014/main" val="712457864"/>
                    </a:ext>
                  </a:extLst>
                </a:gridCol>
                <a:gridCol w="466344">
                  <a:extLst>
                    <a:ext uri="{9D8B030D-6E8A-4147-A177-3AD203B41FA5}">
                      <a16:colId xmlns:a16="http://schemas.microsoft.com/office/drawing/2014/main" val="2719112317"/>
                    </a:ext>
                  </a:extLst>
                </a:gridCol>
                <a:gridCol w="466344">
                  <a:extLst>
                    <a:ext uri="{9D8B030D-6E8A-4147-A177-3AD203B41FA5}">
                      <a16:colId xmlns:a16="http://schemas.microsoft.com/office/drawing/2014/main" val="1610204172"/>
                    </a:ext>
                  </a:extLst>
                </a:gridCol>
                <a:gridCol w="466344">
                  <a:extLst>
                    <a:ext uri="{9D8B030D-6E8A-4147-A177-3AD203B41FA5}">
                      <a16:colId xmlns:a16="http://schemas.microsoft.com/office/drawing/2014/main" val="4106856681"/>
                    </a:ext>
                  </a:extLst>
                </a:gridCol>
                <a:gridCol w="46634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a:t>
                      </a:r>
                      <a:r>
                        <a:rPr sz="700">
                          <a:solidFill>
                            <a:srgbClr val="575555"/>
                          </a:solidFill>
                          <a:latin typeface="Nexa Book"/>
                        </a:rPr>
                        <a:t> | </a:t>
                      </a:r>
                      <a:r>
                        <a:rPr sz="700">
                          <a:solidFill>
                            <a:srgbClr val="00A097"/>
                          </a:solidFill>
                          <a:latin typeface="Nexa Book"/>
                        </a:rP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841130162"/>
      </p:ext>
    </p:extLst>
  </p:cSld>
  <p:clrMapOvr>
    <a:masterClrMapping/>
  </p:clrMapOvr>
</p:sld>
</file>

<file path=ppt/slides/slide1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CC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27408809"/>
                    </a:ext>
                  </a:extLst>
                </a:gridCol>
                <a:gridCol w="466344">
                  <a:extLst>
                    <a:ext uri="{9D8B030D-6E8A-4147-A177-3AD203B41FA5}">
                      <a16:colId xmlns:a16="http://schemas.microsoft.com/office/drawing/2014/main" val="3994312964"/>
                    </a:ext>
                  </a:extLst>
                </a:gridCol>
                <a:gridCol w="466344">
                  <a:extLst>
                    <a:ext uri="{9D8B030D-6E8A-4147-A177-3AD203B41FA5}">
                      <a16:colId xmlns:a16="http://schemas.microsoft.com/office/drawing/2014/main" val="384709931"/>
                    </a:ext>
                  </a:extLst>
                </a:gridCol>
                <a:gridCol w="466344">
                  <a:extLst>
                    <a:ext uri="{9D8B030D-6E8A-4147-A177-3AD203B41FA5}">
                      <a16:colId xmlns:a16="http://schemas.microsoft.com/office/drawing/2014/main" val="217012177"/>
                    </a:ext>
                  </a:extLst>
                </a:gridCol>
                <a:gridCol w="466344">
                  <a:extLst>
                    <a:ext uri="{9D8B030D-6E8A-4147-A177-3AD203B41FA5}">
                      <a16:colId xmlns:a16="http://schemas.microsoft.com/office/drawing/2014/main" val="2084146792"/>
                    </a:ext>
                  </a:extLst>
                </a:gridCol>
                <a:gridCol w="466344">
                  <a:extLst>
                    <a:ext uri="{9D8B030D-6E8A-4147-A177-3AD203B41FA5}">
                      <a16:colId xmlns:a16="http://schemas.microsoft.com/office/drawing/2014/main" val="586326706"/>
                    </a:ext>
                  </a:extLst>
                </a:gridCol>
                <a:gridCol w="466344">
                  <a:extLst>
                    <a:ext uri="{9D8B030D-6E8A-4147-A177-3AD203B41FA5}">
                      <a16:colId xmlns:a16="http://schemas.microsoft.com/office/drawing/2014/main" val="786404783"/>
                    </a:ext>
                  </a:extLst>
                </a:gridCol>
                <a:gridCol w="466344">
                  <a:extLst>
                    <a:ext uri="{9D8B030D-6E8A-4147-A177-3AD203B41FA5}">
                      <a16:colId xmlns:a16="http://schemas.microsoft.com/office/drawing/2014/main" val="2712606379"/>
                    </a:ext>
                  </a:extLst>
                </a:gridCol>
                <a:gridCol w="466344">
                  <a:extLst>
                    <a:ext uri="{9D8B030D-6E8A-4147-A177-3AD203B41FA5}">
                      <a16:colId xmlns:a16="http://schemas.microsoft.com/office/drawing/2014/main" val="2334528175"/>
                    </a:ext>
                  </a:extLst>
                </a:gridCol>
                <a:gridCol w="466344">
                  <a:extLst>
                    <a:ext uri="{9D8B030D-6E8A-4147-A177-3AD203B41FA5}">
                      <a16:colId xmlns:a16="http://schemas.microsoft.com/office/drawing/2014/main" val="3835393650"/>
                    </a:ext>
                  </a:extLst>
                </a:gridCol>
                <a:gridCol w="466344">
                  <a:extLst>
                    <a:ext uri="{9D8B030D-6E8A-4147-A177-3AD203B41FA5}">
                      <a16:colId xmlns:a16="http://schemas.microsoft.com/office/drawing/2014/main" val="3705822644"/>
                    </a:ext>
                  </a:extLst>
                </a:gridCol>
                <a:gridCol w="466344">
                  <a:extLst>
                    <a:ext uri="{9D8B030D-6E8A-4147-A177-3AD203B41FA5}">
                      <a16:colId xmlns:a16="http://schemas.microsoft.com/office/drawing/2014/main" val="184560546"/>
                    </a:ext>
                  </a:extLst>
                </a:gridCol>
                <a:gridCol w="466344">
                  <a:extLst>
                    <a:ext uri="{9D8B030D-6E8A-4147-A177-3AD203B41FA5}">
                      <a16:colId xmlns:a16="http://schemas.microsoft.com/office/drawing/2014/main" val="712457864"/>
                    </a:ext>
                  </a:extLst>
                </a:gridCol>
                <a:gridCol w="466344">
                  <a:extLst>
                    <a:ext uri="{9D8B030D-6E8A-4147-A177-3AD203B41FA5}">
                      <a16:colId xmlns:a16="http://schemas.microsoft.com/office/drawing/2014/main" val="2719112317"/>
                    </a:ext>
                  </a:extLst>
                </a:gridCol>
                <a:gridCol w="466344">
                  <a:extLst>
                    <a:ext uri="{9D8B030D-6E8A-4147-A177-3AD203B41FA5}">
                      <a16:colId xmlns:a16="http://schemas.microsoft.com/office/drawing/2014/main" val="1610204172"/>
                    </a:ext>
                  </a:extLst>
                </a:gridCol>
                <a:gridCol w="466344">
                  <a:extLst>
                    <a:ext uri="{9D8B030D-6E8A-4147-A177-3AD203B41FA5}">
                      <a16:colId xmlns:a16="http://schemas.microsoft.com/office/drawing/2014/main" val="4106856681"/>
                    </a:ext>
                  </a:extLst>
                </a:gridCol>
                <a:gridCol w="46634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a:t>
                      </a:r>
                      <a:r>
                        <a:rPr sz="700">
                          <a:solidFill>
                            <a:srgbClr val="575555"/>
                          </a:solidFill>
                          <a:latin typeface="Nexa Book"/>
                        </a:rPr>
                        <a:t> | </a:t>
                      </a:r>
                      <a:r>
                        <a:rPr sz="700">
                          <a:solidFill>
                            <a:srgbClr val="00A097"/>
                          </a:solidFill>
                          <a:latin typeface="Nexa Book"/>
                        </a:rP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948564823"/>
      </p:ext>
    </p:extLst>
  </p:cSld>
  <p:clrMapOvr>
    <a:masterClrMapping/>
  </p:clrMapOvr>
</p:sld>
</file>

<file path=ppt/slides/slide19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RHO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7%</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1%</a:t>
                      </a:r>
                      <a:r>
                        <a:rPr sz="700">
                          <a:solidFill>
                            <a:srgbClr val="575555"/>
                          </a:solidFill>
                          <a:latin typeface="Nexa Book"/>
                        </a:rPr>
                        <a:t> | </a:t>
                      </a:r>
                      <a:r>
                        <a:rPr sz="700">
                          <a:solidFill>
                            <a:srgbClr val="C00000"/>
                          </a:solidFill>
                          <a:latin typeface="Nexa Book"/>
                        </a:rP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5%</a:t>
                      </a:r>
                      <a:r>
                        <a:rPr sz="700">
                          <a:solidFill>
                            <a:srgbClr val="575555"/>
                          </a:solidFill>
                          <a:latin typeface="Nexa Book"/>
                        </a:rPr>
                        <a:t> | </a:t>
                      </a:r>
                      <a:r>
                        <a:rPr sz="700">
                          <a:solidFill>
                            <a:srgbClr val="00A097"/>
                          </a:solidFill>
                          <a:latin typeface="Nexa Book"/>
                        </a:rP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673991472"/>
      </p:ext>
    </p:extLst>
  </p:cSld>
  <p:clrMapOvr>
    <a:masterClrMapping/>
  </p:clrMapOvr>
</p:sld>
</file>

<file path=ppt/slides/slide1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RHO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7%</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1%</a:t>
                      </a:r>
                      <a:r>
                        <a:rPr sz="700">
                          <a:solidFill>
                            <a:srgbClr val="575555"/>
                          </a:solidFill>
                          <a:latin typeface="Nexa Book"/>
                        </a:rPr>
                        <a:t> | </a:t>
                      </a:r>
                      <a:r>
                        <a:rPr sz="700">
                          <a:solidFill>
                            <a:srgbClr val="C00000"/>
                          </a:solidFill>
                          <a:latin typeface="Nexa Book"/>
                        </a:rP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5%</a:t>
                      </a:r>
                      <a:r>
                        <a:rPr sz="700">
                          <a:solidFill>
                            <a:srgbClr val="575555"/>
                          </a:solidFill>
                          <a:latin typeface="Nexa Book"/>
                        </a:rPr>
                        <a:t> | </a:t>
                      </a:r>
                      <a:r>
                        <a:rPr sz="700">
                          <a:solidFill>
                            <a:srgbClr val="00A097"/>
                          </a:solidFill>
                          <a:latin typeface="Nexa Book"/>
                        </a:rP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204654972"/>
      </p:ext>
    </p:extLst>
  </p:cSld>
  <p:clrMapOvr>
    <a:masterClrMapping/>
  </p:clrMapOvr>
</p:sld>
</file>

<file path=ppt/slides/slide1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OC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0%</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4%</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3%</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0%</a:t>
                      </a:r>
                      <a:r>
                        <a:rPr sz="700">
                          <a:solidFill>
                            <a:srgbClr val="575555"/>
                          </a:solidFill>
                          <a:latin typeface="Nexa Book"/>
                        </a:rPr>
                        <a:t> | </a:t>
                      </a:r>
                      <a:r>
                        <a:rPr sz="700">
                          <a:solidFill>
                            <a:srgbClr val="C00000"/>
                          </a:solidFill>
                          <a:latin typeface="Nexa Book"/>
                        </a:rP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0%</a:t>
                      </a:r>
                      <a:r>
                        <a:rPr sz="700">
                          <a:solidFill>
                            <a:srgbClr val="575555"/>
                          </a:solidFill>
                          <a:latin typeface="Nexa Book"/>
                        </a:rPr>
                        <a:t> | </a:t>
                      </a:r>
                      <a:r>
                        <a:rPr sz="700">
                          <a:solidFill>
                            <a:srgbClr val="00A097"/>
                          </a:solidFill>
                          <a:latin typeface="Nexa Book"/>
                        </a:rP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1895436726"/>
      </p:ext>
    </p:extLst>
  </p:cSld>
  <p:clrMapOvr>
    <a:masterClrMapping/>
  </p:clrMapOvr>
</p:sld>
</file>

<file path=ppt/slides/slide19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HAU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6%</a:t>
                      </a:r>
                      <a:r>
                        <a:rPr sz="700">
                          <a:solidFill>
                            <a:srgbClr val="575555"/>
                          </a:solidFill>
                          <a:latin typeface="Nexa Book"/>
                        </a:rPr>
                        <a:t> | </a:t>
                      </a:r>
                      <a:r>
                        <a:rPr sz="700">
                          <a:solidFill>
                            <a:srgbClr val="00A097"/>
                          </a:solidFill>
                          <a:latin typeface="Nexa Book"/>
                        </a:rP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3%</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5%</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7%</a:t>
                      </a:r>
                      <a:r>
                        <a:rPr sz="700">
                          <a:solidFill>
                            <a:srgbClr val="575555"/>
                          </a:solidFill>
                          <a:latin typeface="Nexa Book"/>
                        </a:rPr>
                        <a:t> | </a:t>
                      </a:r>
                      <a:r>
                        <a:rPr sz="700">
                          <a:solidFill>
                            <a:srgbClr val="C00000"/>
                          </a:solidFill>
                          <a:latin typeface="Nexa Book"/>
                        </a:rP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1%</a:t>
                      </a:r>
                      <a:r>
                        <a:rPr sz="700">
                          <a:solidFill>
                            <a:srgbClr val="575555"/>
                          </a:solidFill>
                          <a:latin typeface="Nexa Book"/>
                        </a:rPr>
                        <a:t> | </a:t>
                      </a:r>
                      <a:r>
                        <a:rPr sz="700">
                          <a:solidFill>
                            <a:srgbClr val="00A097"/>
                          </a:solidFill>
                          <a:latin typeface="Nexa Book"/>
                        </a:rP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77163253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665023617"/>
      </p:ext>
    </p:extLst>
  </p:cSld>
  <p:clrMapOvr>
    <a:masterClrMapping/>
  </p:clrMapOvr>
</p:sld>
</file>

<file path=ppt/slides/slide1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CE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27408809"/>
                    </a:ext>
                  </a:extLst>
                </a:gridCol>
                <a:gridCol w="466344">
                  <a:extLst>
                    <a:ext uri="{9D8B030D-6E8A-4147-A177-3AD203B41FA5}">
                      <a16:colId xmlns:a16="http://schemas.microsoft.com/office/drawing/2014/main" val="3994312964"/>
                    </a:ext>
                  </a:extLst>
                </a:gridCol>
                <a:gridCol w="466344">
                  <a:extLst>
                    <a:ext uri="{9D8B030D-6E8A-4147-A177-3AD203B41FA5}">
                      <a16:colId xmlns:a16="http://schemas.microsoft.com/office/drawing/2014/main" val="384709931"/>
                    </a:ext>
                  </a:extLst>
                </a:gridCol>
                <a:gridCol w="466344">
                  <a:extLst>
                    <a:ext uri="{9D8B030D-6E8A-4147-A177-3AD203B41FA5}">
                      <a16:colId xmlns:a16="http://schemas.microsoft.com/office/drawing/2014/main" val="217012177"/>
                    </a:ext>
                  </a:extLst>
                </a:gridCol>
                <a:gridCol w="466344">
                  <a:extLst>
                    <a:ext uri="{9D8B030D-6E8A-4147-A177-3AD203B41FA5}">
                      <a16:colId xmlns:a16="http://schemas.microsoft.com/office/drawing/2014/main" val="2084146792"/>
                    </a:ext>
                  </a:extLst>
                </a:gridCol>
                <a:gridCol w="466344">
                  <a:extLst>
                    <a:ext uri="{9D8B030D-6E8A-4147-A177-3AD203B41FA5}">
                      <a16:colId xmlns:a16="http://schemas.microsoft.com/office/drawing/2014/main" val="586326706"/>
                    </a:ext>
                  </a:extLst>
                </a:gridCol>
                <a:gridCol w="466344">
                  <a:extLst>
                    <a:ext uri="{9D8B030D-6E8A-4147-A177-3AD203B41FA5}">
                      <a16:colId xmlns:a16="http://schemas.microsoft.com/office/drawing/2014/main" val="786404783"/>
                    </a:ext>
                  </a:extLst>
                </a:gridCol>
                <a:gridCol w="466344">
                  <a:extLst>
                    <a:ext uri="{9D8B030D-6E8A-4147-A177-3AD203B41FA5}">
                      <a16:colId xmlns:a16="http://schemas.microsoft.com/office/drawing/2014/main" val="2712606379"/>
                    </a:ext>
                  </a:extLst>
                </a:gridCol>
                <a:gridCol w="466344">
                  <a:extLst>
                    <a:ext uri="{9D8B030D-6E8A-4147-A177-3AD203B41FA5}">
                      <a16:colId xmlns:a16="http://schemas.microsoft.com/office/drawing/2014/main" val="2334528175"/>
                    </a:ext>
                  </a:extLst>
                </a:gridCol>
                <a:gridCol w="466344">
                  <a:extLst>
                    <a:ext uri="{9D8B030D-6E8A-4147-A177-3AD203B41FA5}">
                      <a16:colId xmlns:a16="http://schemas.microsoft.com/office/drawing/2014/main" val="3835393650"/>
                    </a:ext>
                  </a:extLst>
                </a:gridCol>
                <a:gridCol w="466344">
                  <a:extLst>
                    <a:ext uri="{9D8B030D-6E8A-4147-A177-3AD203B41FA5}">
                      <a16:colId xmlns:a16="http://schemas.microsoft.com/office/drawing/2014/main" val="3705822644"/>
                    </a:ext>
                  </a:extLst>
                </a:gridCol>
                <a:gridCol w="466344">
                  <a:extLst>
                    <a:ext uri="{9D8B030D-6E8A-4147-A177-3AD203B41FA5}">
                      <a16:colId xmlns:a16="http://schemas.microsoft.com/office/drawing/2014/main" val="184560546"/>
                    </a:ext>
                  </a:extLst>
                </a:gridCol>
                <a:gridCol w="466344">
                  <a:extLst>
                    <a:ext uri="{9D8B030D-6E8A-4147-A177-3AD203B41FA5}">
                      <a16:colId xmlns:a16="http://schemas.microsoft.com/office/drawing/2014/main" val="712457864"/>
                    </a:ext>
                  </a:extLst>
                </a:gridCol>
                <a:gridCol w="466344">
                  <a:extLst>
                    <a:ext uri="{9D8B030D-6E8A-4147-A177-3AD203B41FA5}">
                      <a16:colId xmlns:a16="http://schemas.microsoft.com/office/drawing/2014/main" val="2719112317"/>
                    </a:ext>
                  </a:extLst>
                </a:gridCol>
                <a:gridCol w="466344">
                  <a:extLst>
                    <a:ext uri="{9D8B030D-6E8A-4147-A177-3AD203B41FA5}">
                      <a16:colId xmlns:a16="http://schemas.microsoft.com/office/drawing/2014/main" val="1610204172"/>
                    </a:ext>
                  </a:extLst>
                </a:gridCol>
                <a:gridCol w="466344">
                  <a:extLst>
                    <a:ext uri="{9D8B030D-6E8A-4147-A177-3AD203B41FA5}">
                      <a16:colId xmlns:a16="http://schemas.microsoft.com/office/drawing/2014/main" val="4106856681"/>
                    </a:ext>
                  </a:extLst>
                </a:gridCol>
                <a:gridCol w="46634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0%</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8%</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C00000"/>
                          </a:solidFill>
                          <a:latin typeface="Nexa Book"/>
                        </a:rP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0%</a:t>
                      </a:r>
                      <a:r>
                        <a:rPr sz="700">
                          <a:solidFill>
                            <a:srgbClr val="575555"/>
                          </a:solidFill>
                          <a:latin typeface="Nexa Book"/>
                        </a:rPr>
                        <a:t> | </a:t>
                      </a:r>
                      <a:r>
                        <a:rPr sz="700">
                          <a:solidFill>
                            <a:srgbClr val="00A097"/>
                          </a:solidFill>
                          <a:latin typeface="Nexa Book"/>
                        </a:rPr>
                        <a:t>+2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61999139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CE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783696960"/>
      </p:ext>
    </p:extLst>
  </p:cSld>
  <p:clrMapOvr>
    <a:masterClrMapping/>
  </p:clrMapOvr>
</p:sld>
</file>

<file path=ppt/slides/slide1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CA B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3%</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1%</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00A097"/>
                          </a:solidFill>
                          <a:latin typeface="Nexa Book"/>
                        </a:rP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1400445798"/>
      </p:ext>
    </p:extLst>
  </p:cSld>
  <p:clrMapOvr>
    <a:masterClrMapping/>
  </p:clrMapOvr>
</p:sld>
</file>

<file path=ppt/slides/slide19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CA B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3%</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1%</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00A097"/>
                          </a:solidFill>
                          <a:latin typeface="Nexa Book"/>
                        </a:rP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484613287"/>
      </p:ext>
    </p:extLst>
  </p:cSld>
  <p:clrMapOvr>
    <a:masterClrMapping/>
  </p:clrMapOvr>
</p:sld>
</file>

<file path=ppt/slides/slide19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CA 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2%</a:t>
                      </a:r>
                      <a:r>
                        <a:rPr sz="700">
                          <a:solidFill>
                            <a:srgbClr val="575555"/>
                          </a:solidFill>
                          <a:latin typeface="Nexa Book"/>
                        </a:rPr>
                        <a:t> | </a:t>
                      </a:r>
                      <a:r>
                        <a:rPr sz="700">
                          <a:solidFill>
                            <a:srgbClr val="00A097"/>
                          </a:solidFill>
                          <a:latin typeface="Nexa Book"/>
                        </a:rP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3%</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9%</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310284239"/>
      </p:ext>
    </p:extLst>
  </p:cSld>
  <p:clrMapOvr>
    <a:masterClrMapping/>
  </p:clrMapOvr>
</p:sld>
</file>

<file path=ppt/slides/slide1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Effervescent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5%</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4%</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80322315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230126529"/>
      </p:ext>
    </p:extLst>
  </p:cSld>
  <p:clrMapOvr>
    <a:masterClrMapping/>
  </p:clrMapOvr>
</p:sld>
</file>

<file path=ppt/slides/slide19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Brut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025776879"/>
      </p:ext>
    </p:extLst>
  </p:cSld>
  <p:clrMapOvr>
    <a:masterClrMapping/>
  </p:clrMapOvr>
</p:sld>
</file>

<file path=ppt/slides/slide1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Champagne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86404783"/>
                    </a:ext>
                  </a:extLst>
                </a:gridCol>
                <a:gridCol w="746150">
                  <a:extLst>
                    <a:ext uri="{9D8B030D-6E8A-4147-A177-3AD203B41FA5}">
                      <a16:colId xmlns:a16="http://schemas.microsoft.com/office/drawing/2014/main" val="2712606379"/>
                    </a:ext>
                  </a:extLst>
                </a:gridCol>
                <a:gridCol w="746150">
                  <a:extLst>
                    <a:ext uri="{9D8B030D-6E8A-4147-A177-3AD203B41FA5}">
                      <a16:colId xmlns:a16="http://schemas.microsoft.com/office/drawing/2014/main" val="2334528175"/>
                    </a:ext>
                  </a:extLst>
                </a:gridCol>
                <a:gridCol w="746150">
                  <a:extLst>
                    <a:ext uri="{9D8B030D-6E8A-4147-A177-3AD203B41FA5}">
                      <a16:colId xmlns:a16="http://schemas.microsoft.com/office/drawing/2014/main" val="3835393650"/>
                    </a:ext>
                  </a:extLst>
                </a:gridCol>
                <a:gridCol w="746150">
                  <a:extLst>
                    <a:ext uri="{9D8B030D-6E8A-4147-A177-3AD203B41FA5}">
                      <a16:colId xmlns:a16="http://schemas.microsoft.com/office/drawing/2014/main" val="3705822644"/>
                    </a:ext>
                  </a:extLst>
                </a:gridCol>
                <a:gridCol w="746150">
                  <a:extLst>
                    <a:ext uri="{9D8B030D-6E8A-4147-A177-3AD203B41FA5}">
                      <a16:colId xmlns:a16="http://schemas.microsoft.com/office/drawing/2014/main" val="184560546"/>
                    </a:ext>
                  </a:extLst>
                </a:gridCol>
                <a:gridCol w="746150">
                  <a:extLst>
                    <a:ext uri="{9D8B030D-6E8A-4147-A177-3AD203B41FA5}">
                      <a16:colId xmlns:a16="http://schemas.microsoft.com/office/drawing/2014/main" val="712457864"/>
                    </a:ext>
                  </a:extLst>
                </a:gridCol>
                <a:gridCol w="746150">
                  <a:extLst>
                    <a:ext uri="{9D8B030D-6E8A-4147-A177-3AD203B41FA5}">
                      <a16:colId xmlns:a16="http://schemas.microsoft.com/office/drawing/2014/main" val="2719112317"/>
                    </a:ext>
                  </a:extLst>
                </a:gridCol>
                <a:gridCol w="746150">
                  <a:extLst>
                    <a:ext uri="{9D8B030D-6E8A-4147-A177-3AD203B41FA5}">
                      <a16:colId xmlns:a16="http://schemas.microsoft.com/office/drawing/2014/main" val="1610204172"/>
                    </a:ext>
                  </a:extLst>
                </a:gridCol>
                <a:gridCol w="746150">
                  <a:extLst>
                    <a:ext uri="{9D8B030D-6E8A-4147-A177-3AD203B41FA5}">
                      <a16:colId xmlns:a16="http://schemas.microsoft.com/office/drawing/2014/main" val="4106856681"/>
                    </a:ext>
                  </a:extLst>
                </a:gridCol>
                <a:gridCol w="74615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3%</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6%</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6%</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173384519"/>
      </p:ext>
    </p:extLst>
  </p:cSld>
  <p:clrMapOvr>
    <a:masterClrMapping/>
  </p:clrMapOvr>
</p:sld>
</file>

<file path=ppt/slides/slide1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Champagne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86404783"/>
                    </a:ext>
                  </a:extLst>
                </a:gridCol>
                <a:gridCol w="746150">
                  <a:extLst>
                    <a:ext uri="{9D8B030D-6E8A-4147-A177-3AD203B41FA5}">
                      <a16:colId xmlns:a16="http://schemas.microsoft.com/office/drawing/2014/main" val="2712606379"/>
                    </a:ext>
                  </a:extLst>
                </a:gridCol>
                <a:gridCol w="746150">
                  <a:extLst>
                    <a:ext uri="{9D8B030D-6E8A-4147-A177-3AD203B41FA5}">
                      <a16:colId xmlns:a16="http://schemas.microsoft.com/office/drawing/2014/main" val="2334528175"/>
                    </a:ext>
                  </a:extLst>
                </a:gridCol>
                <a:gridCol w="746150">
                  <a:extLst>
                    <a:ext uri="{9D8B030D-6E8A-4147-A177-3AD203B41FA5}">
                      <a16:colId xmlns:a16="http://schemas.microsoft.com/office/drawing/2014/main" val="3835393650"/>
                    </a:ext>
                  </a:extLst>
                </a:gridCol>
                <a:gridCol w="746150">
                  <a:extLst>
                    <a:ext uri="{9D8B030D-6E8A-4147-A177-3AD203B41FA5}">
                      <a16:colId xmlns:a16="http://schemas.microsoft.com/office/drawing/2014/main" val="3705822644"/>
                    </a:ext>
                  </a:extLst>
                </a:gridCol>
                <a:gridCol w="746150">
                  <a:extLst>
                    <a:ext uri="{9D8B030D-6E8A-4147-A177-3AD203B41FA5}">
                      <a16:colId xmlns:a16="http://schemas.microsoft.com/office/drawing/2014/main" val="184560546"/>
                    </a:ext>
                  </a:extLst>
                </a:gridCol>
                <a:gridCol w="746150">
                  <a:extLst>
                    <a:ext uri="{9D8B030D-6E8A-4147-A177-3AD203B41FA5}">
                      <a16:colId xmlns:a16="http://schemas.microsoft.com/office/drawing/2014/main" val="712457864"/>
                    </a:ext>
                  </a:extLst>
                </a:gridCol>
                <a:gridCol w="746150">
                  <a:extLst>
                    <a:ext uri="{9D8B030D-6E8A-4147-A177-3AD203B41FA5}">
                      <a16:colId xmlns:a16="http://schemas.microsoft.com/office/drawing/2014/main" val="2719112317"/>
                    </a:ext>
                  </a:extLst>
                </a:gridCol>
                <a:gridCol w="746150">
                  <a:extLst>
                    <a:ext uri="{9D8B030D-6E8A-4147-A177-3AD203B41FA5}">
                      <a16:colId xmlns:a16="http://schemas.microsoft.com/office/drawing/2014/main" val="1610204172"/>
                    </a:ext>
                  </a:extLst>
                </a:gridCol>
                <a:gridCol w="746150">
                  <a:extLst>
                    <a:ext uri="{9D8B030D-6E8A-4147-A177-3AD203B41FA5}">
                      <a16:colId xmlns:a16="http://schemas.microsoft.com/office/drawing/2014/main" val="4106856681"/>
                    </a:ext>
                  </a:extLst>
                </a:gridCol>
                <a:gridCol w="74615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3%</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6%</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6%</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077266703"/>
      </p:ext>
    </p:extLst>
  </p:cSld>
  <p:clrMapOvr>
    <a:masterClrMapping/>
  </p:clrMapOvr>
</p:sld>
</file>

<file path=ppt/slides/slide19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Blanc De Blanc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86404783"/>
                    </a:ext>
                  </a:extLst>
                </a:gridCol>
                <a:gridCol w="746150">
                  <a:extLst>
                    <a:ext uri="{9D8B030D-6E8A-4147-A177-3AD203B41FA5}">
                      <a16:colId xmlns:a16="http://schemas.microsoft.com/office/drawing/2014/main" val="2712606379"/>
                    </a:ext>
                  </a:extLst>
                </a:gridCol>
                <a:gridCol w="746150">
                  <a:extLst>
                    <a:ext uri="{9D8B030D-6E8A-4147-A177-3AD203B41FA5}">
                      <a16:colId xmlns:a16="http://schemas.microsoft.com/office/drawing/2014/main" val="2334528175"/>
                    </a:ext>
                  </a:extLst>
                </a:gridCol>
                <a:gridCol w="746150">
                  <a:extLst>
                    <a:ext uri="{9D8B030D-6E8A-4147-A177-3AD203B41FA5}">
                      <a16:colId xmlns:a16="http://schemas.microsoft.com/office/drawing/2014/main" val="3835393650"/>
                    </a:ext>
                  </a:extLst>
                </a:gridCol>
                <a:gridCol w="746150">
                  <a:extLst>
                    <a:ext uri="{9D8B030D-6E8A-4147-A177-3AD203B41FA5}">
                      <a16:colId xmlns:a16="http://schemas.microsoft.com/office/drawing/2014/main" val="3705822644"/>
                    </a:ext>
                  </a:extLst>
                </a:gridCol>
                <a:gridCol w="746150">
                  <a:extLst>
                    <a:ext uri="{9D8B030D-6E8A-4147-A177-3AD203B41FA5}">
                      <a16:colId xmlns:a16="http://schemas.microsoft.com/office/drawing/2014/main" val="184560546"/>
                    </a:ext>
                  </a:extLst>
                </a:gridCol>
                <a:gridCol w="746150">
                  <a:extLst>
                    <a:ext uri="{9D8B030D-6E8A-4147-A177-3AD203B41FA5}">
                      <a16:colId xmlns:a16="http://schemas.microsoft.com/office/drawing/2014/main" val="712457864"/>
                    </a:ext>
                  </a:extLst>
                </a:gridCol>
                <a:gridCol w="746150">
                  <a:extLst>
                    <a:ext uri="{9D8B030D-6E8A-4147-A177-3AD203B41FA5}">
                      <a16:colId xmlns:a16="http://schemas.microsoft.com/office/drawing/2014/main" val="2719112317"/>
                    </a:ext>
                  </a:extLst>
                </a:gridCol>
                <a:gridCol w="746150">
                  <a:extLst>
                    <a:ext uri="{9D8B030D-6E8A-4147-A177-3AD203B41FA5}">
                      <a16:colId xmlns:a16="http://schemas.microsoft.com/office/drawing/2014/main" val="1610204172"/>
                    </a:ext>
                  </a:extLst>
                </a:gridCol>
                <a:gridCol w="746150">
                  <a:extLst>
                    <a:ext uri="{9D8B030D-6E8A-4147-A177-3AD203B41FA5}">
                      <a16:colId xmlns:a16="http://schemas.microsoft.com/office/drawing/2014/main" val="4106856681"/>
                    </a:ext>
                  </a:extLst>
                </a:gridCol>
                <a:gridCol w="74615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9%</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0%</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5%</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C00000"/>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190177155"/>
      </p:ext>
    </p:extLst>
  </p:cSld>
  <p:clrMapOvr>
    <a:masterClrMapping/>
  </p:clrMapOvr>
</p:sld>
</file>

<file path=ppt/slides/slide1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Cru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86404783"/>
                    </a:ext>
                  </a:extLst>
                </a:gridCol>
                <a:gridCol w="746150">
                  <a:extLst>
                    <a:ext uri="{9D8B030D-6E8A-4147-A177-3AD203B41FA5}">
                      <a16:colId xmlns:a16="http://schemas.microsoft.com/office/drawing/2014/main" val="2712606379"/>
                    </a:ext>
                  </a:extLst>
                </a:gridCol>
                <a:gridCol w="746150">
                  <a:extLst>
                    <a:ext uri="{9D8B030D-6E8A-4147-A177-3AD203B41FA5}">
                      <a16:colId xmlns:a16="http://schemas.microsoft.com/office/drawing/2014/main" val="2334528175"/>
                    </a:ext>
                  </a:extLst>
                </a:gridCol>
                <a:gridCol w="746150">
                  <a:extLst>
                    <a:ext uri="{9D8B030D-6E8A-4147-A177-3AD203B41FA5}">
                      <a16:colId xmlns:a16="http://schemas.microsoft.com/office/drawing/2014/main" val="3835393650"/>
                    </a:ext>
                  </a:extLst>
                </a:gridCol>
                <a:gridCol w="746150">
                  <a:extLst>
                    <a:ext uri="{9D8B030D-6E8A-4147-A177-3AD203B41FA5}">
                      <a16:colId xmlns:a16="http://schemas.microsoft.com/office/drawing/2014/main" val="3705822644"/>
                    </a:ext>
                  </a:extLst>
                </a:gridCol>
                <a:gridCol w="746150">
                  <a:extLst>
                    <a:ext uri="{9D8B030D-6E8A-4147-A177-3AD203B41FA5}">
                      <a16:colId xmlns:a16="http://schemas.microsoft.com/office/drawing/2014/main" val="184560546"/>
                    </a:ext>
                  </a:extLst>
                </a:gridCol>
                <a:gridCol w="746150">
                  <a:extLst>
                    <a:ext uri="{9D8B030D-6E8A-4147-A177-3AD203B41FA5}">
                      <a16:colId xmlns:a16="http://schemas.microsoft.com/office/drawing/2014/main" val="712457864"/>
                    </a:ext>
                  </a:extLst>
                </a:gridCol>
                <a:gridCol w="746150">
                  <a:extLst>
                    <a:ext uri="{9D8B030D-6E8A-4147-A177-3AD203B41FA5}">
                      <a16:colId xmlns:a16="http://schemas.microsoft.com/office/drawing/2014/main" val="2719112317"/>
                    </a:ext>
                  </a:extLst>
                </a:gridCol>
                <a:gridCol w="746150">
                  <a:extLst>
                    <a:ext uri="{9D8B030D-6E8A-4147-A177-3AD203B41FA5}">
                      <a16:colId xmlns:a16="http://schemas.microsoft.com/office/drawing/2014/main" val="1610204172"/>
                    </a:ext>
                  </a:extLst>
                </a:gridCol>
                <a:gridCol w="746150">
                  <a:extLst>
                    <a:ext uri="{9D8B030D-6E8A-4147-A177-3AD203B41FA5}">
                      <a16:colId xmlns:a16="http://schemas.microsoft.com/office/drawing/2014/main" val="4106856681"/>
                    </a:ext>
                  </a:extLst>
                </a:gridCol>
                <a:gridCol w="74615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0%</a:t>
                      </a:r>
                      <a:r>
                        <a:rPr sz="700">
                          <a:solidFill>
                            <a:srgbClr val="575555"/>
                          </a:solidFill>
                          <a:latin typeface="Nexa Book"/>
                        </a:rPr>
                        <a:t> | </a:t>
                      </a:r>
                      <a:r>
                        <a:rPr sz="700">
                          <a:solidFill>
                            <a:srgbClr val="C00000"/>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C00000"/>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a:t>
                      </a:r>
                      <a:r>
                        <a:rPr sz="700">
                          <a:solidFill>
                            <a:srgbClr val="575555"/>
                          </a:solidFill>
                          <a:latin typeface="Nexa Book"/>
                        </a:rPr>
                        <a:t> | </a:t>
                      </a:r>
                      <a:r>
                        <a:rPr sz="700">
                          <a:solidFill>
                            <a:srgbClr val="C00000"/>
                          </a:solidFill>
                          <a:latin typeface="Nexa Book"/>
                        </a:rP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4%</a:t>
                      </a:r>
                      <a:r>
                        <a:rPr sz="700">
                          <a:solidFill>
                            <a:srgbClr val="575555"/>
                          </a:solidFill>
                          <a:latin typeface="Nexa Book"/>
                        </a:rPr>
                        <a:t> | </a:t>
                      </a:r>
                      <a:r>
                        <a:rPr sz="700">
                          <a:solidFill>
                            <a:srgbClr val="C00000"/>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a:t>
                      </a:r>
                      <a:r>
                        <a:rPr sz="700">
                          <a:solidFill>
                            <a:srgbClr val="575555"/>
                          </a:solidFill>
                          <a:latin typeface="Nexa Book"/>
                        </a:rPr>
                        <a:t> | </a:t>
                      </a:r>
                      <a:r>
                        <a:rPr sz="700">
                          <a:solidFill>
                            <a:srgbClr val="C00000"/>
                          </a:solidFill>
                          <a:latin typeface="Nexa Book"/>
                        </a:rP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3.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406118748"/>
      </p:ext>
    </p:extLst>
  </p:cSld>
  <p:clrMapOvr>
    <a:masterClrMapping/>
  </p:clrMapOvr>
</p:sld>
</file>

<file path=ppt/slides/slide19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Rosé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86404783"/>
                    </a:ext>
                  </a:extLst>
                </a:gridCol>
                <a:gridCol w="746150">
                  <a:extLst>
                    <a:ext uri="{9D8B030D-6E8A-4147-A177-3AD203B41FA5}">
                      <a16:colId xmlns:a16="http://schemas.microsoft.com/office/drawing/2014/main" val="2712606379"/>
                    </a:ext>
                  </a:extLst>
                </a:gridCol>
                <a:gridCol w="746150">
                  <a:extLst>
                    <a:ext uri="{9D8B030D-6E8A-4147-A177-3AD203B41FA5}">
                      <a16:colId xmlns:a16="http://schemas.microsoft.com/office/drawing/2014/main" val="2334528175"/>
                    </a:ext>
                  </a:extLst>
                </a:gridCol>
                <a:gridCol w="746150">
                  <a:extLst>
                    <a:ext uri="{9D8B030D-6E8A-4147-A177-3AD203B41FA5}">
                      <a16:colId xmlns:a16="http://schemas.microsoft.com/office/drawing/2014/main" val="3835393650"/>
                    </a:ext>
                  </a:extLst>
                </a:gridCol>
                <a:gridCol w="746150">
                  <a:extLst>
                    <a:ext uri="{9D8B030D-6E8A-4147-A177-3AD203B41FA5}">
                      <a16:colId xmlns:a16="http://schemas.microsoft.com/office/drawing/2014/main" val="3705822644"/>
                    </a:ext>
                  </a:extLst>
                </a:gridCol>
                <a:gridCol w="746150">
                  <a:extLst>
                    <a:ext uri="{9D8B030D-6E8A-4147-A177-3AD203B41FA5}">
                      <a16:colId xmlns:a16="http://schemas.microsoft.com/office/drawing/2014/main" val="184560546"/>
                    </a:ext>
                  </a:extLst>
                </a:gridCol>
                <a:gridCol w="746150">
                  <a:extLst>
                    <a:ext uri="{9D8B030D-6E8A-4147-A177-3AD203B41FA5}">
                      <a16:colId xmlns:a16="http://schemas.microsoft.com/office/drawing/2014/main" val="712457864"/>
                    </a:ext>
                  </a:extLst>
                </a:gridCol>
                <a:gridCol w="746150">
                  <a:extLst>
                    <a:ext uri="{9D8B030D-6E8A-4147-A177-3AD203B41FA5}">
                      <a16:colId xmlns:a16="http://schemas.microsoft.com/office/drawing/2014/main" val="2719112317"/>
                    </a:ext>
                  </a:extLst>
                </a:gridCol>
                <a:gridCol w="746150">
                  <a:extLst>
                    <a:ext uri="{9D8B030D-6E8A-4147-A177-3AD203B41FA5}">
                      <a16:colId xmlns:a16="http://schemas.microsoft.com/office/drawing/2014/main" val="1610204172"/>
                    </a:ext>
                  </a:extLst>
                </a:gridCol>
                <a:gridCol w="746150">
                  <a:extLst>
                    <a:ext uri="{9D8B030D-6E8A-4147-A177-3AD203B41FA5}">
                      <a16:colId xmlns:a16="http://schemas.microsoft.com/office/drawing/2014/main" val="4106856681"/>
                    </a:ext>
                  </a:extLst>
                </a:gridCol>
                <a:gridCol w="74615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4%</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7%</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9%</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C00000"/>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9%</a:t>
                      </a:r>
                      <a:r>
                        <a:rPr sz="700">
                          <a:solidFill>
                            <a:srgbClr val="575555"/>
                          </a:solidFill>
                          <a:latin typeface="Nexa Book"/>
                        </a:rPr>
                        <a:t> | </a:t>
                      </a:r>
                      <a:r>
                        <a:rPr sz="700">
                          <a:solidFill>
                            <a:srgbClr val="C00000"/>
                          </a:solidFill>
                          <a:latin typeface="Nexa Book"/>
                        </a:rP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C00000"/>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215022923"/>
      </p:ext>
    </p:extLst>
  </p:cSld>
  <p:clrMapOvr>
    <a:masterClrMapping/>
  </p:clrMapOvr>
</p:sld>
</file>

<file path=ppt/slides/slide1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gion Value Sales &amp; Avg Price Per Kg | Champagne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gion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5"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17012177"/>
                    </a:ext>
                  </a:extLst>
                </a:gridCol>
                <a:gridCol w="573961">
                  <a:extLst>
                    <a:ext uri="{9D8B030D-6E8A-4147-A177-3AD203B41FA5}">
                      <a16:colId xmlns:a16="http://schemas.microsoft.com/office/drawing/2014/main" val="2084146792"/>
                    </a:ext>
                  </a:extLst>
                </a:gridCol>
                <a:gridCol w="573961">
                  <a:extLst>
                    <a:ext uri="{9D8B030D-6E8A-4147-A177-3AD203B41FA5}">
                      <a16:colId xmlns:a16="http://schemas.microsoft.com/office/drawing/2014/main" val="586326706"/>
                    </a:ext>
                  </a:extLst>
                </a:gridCol>
                <a:gridCol w="573961">
                  <a:extLst>
                    <a:ext uri="{9D8B030D-6E8A-4147-A177-3AD203B41FA5}">
                      <a16:colId xmlns:a16="http://schemas.microsoft.com/office/drawing/2014/main" val="786404783"/>
                    </a:ext>
                  </a:extLst>
                </a:gridCol>
                <a:gridCol w="573961">
                  <a:extLst>
                    <a:ext uri="{9D8B030D-6E8A-4147-A177-3AD203B41FA5}">
                      <a16:colId xmlns:a16="http://schemas.microsoft.com/office/drawing/2014/main" val="2712606379"/>
                    </a:ext>
                  </a:extLst>
                </a:gridCol>
                <a:gridCol w="573961">
                  <a:extLst>
                    <a:ext uri="{9D8B030D-6E8A-4147-A177-3AD203B41FA5}">
                      <a16:colId xmlns:a16="http://schemas.microsoft.com/office/drawing/2014/main" val="2334528175"/>
                    </a:ext>
                  </a:extLst>
                </a:gridCol>
                <a:gridCol w="573961">
                  <a:extLst>
                    <a:ext uri="{9D8B030D-6E8A-4147-A177-3AD203B41FA5}">
                      <a16:colId xmlns:a16="http://schemas.microsoft.com/office/drawing/2014/main" val="3835393650"/>
                    </a:ext>
                  </a:extLst>
                </a:gridCol>
                <a:gridCol w="573961">
                  <a:extLst>
                    <a:ext uri="{9D8B030D-6E8A-4147-A177-3AD203B41FA5}">
                      <a16:colId xmlns:a16="http://schemas.microsoft.com/office/drawing/2014/main" val="3705822644"/>
                    </a:ext>
                  </a:extLst>
                </a:gridCol>
                <a:gridCol w="573961">
                  <a:extLst>
                    <a:ext uri="{9D8B030D-6E8A-4147-A177-3AD203B41FA5}">
                      <a16:colId xmlns:a16="http://schemas.microsoft.com/office/drawing/2014/main" val="184560546"/>
                    </a:ext>
                  </a:extLst>
                </a:gridCol>
                <a:gridCol w="573961">
                  <a:extLst>
                    <a:ext uri="{9D8B030D-6E8A-4147-A177-3AD203B41FA5}">
                      <a16:colId xmlns:a16="http://schemas.microsoft.com/office/drawing/2014/main" val="712457864"/>
                    </a:ext>
                  </a:extLst>
                </a:gridCol>
                <a:gridCol w="573961">
                  <a:extLst>
                    <a:ext uri="{9D8B030D-6E8A-4147-A177-3AD203B41FA5}">
                      <a16:colId xmlns:a16="http://schemas.microsoft.com/office/drawing/2014/main" val="2719112317"/>
                    </a:ext>
                  </a:extLst>
                </a:gridCol>
                <a:gridCol w="573961">
                  <a:extLst>
                    <a:ext uri="{9D8B030D-6E8A-4147-A177-3AD203B41FA5}">
                      <a16:colId xmlns:a16="http://schemas.microsoft.com/office/drawing/2014/main" val="1610204172"/>
                    </a:ext>
                  </a:extLst>
                </a:gridCol>
                <a:gridCol w="573961">
                  <a:extLst>
                    <a:ext uri="{9D8B030D-6E8A-4147-A177-3AD203B41FA5}">
                      <a16:colId xmlns:a16="http://schemas.microsoft.com/office/drawing/2014/main" val="4106856681"/>
                    </a:ext>
                  </a:extLst>
                </a:gridCol>
                <a:gridCol w="573961">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6%</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9%</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7%</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1%</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3%</a:t>
                      </a:r>
                      <a:r>
                        <a:rPr sz="700">
                          <a:solidFill>
                            <a:srgbClr val="575555"/>
                          </a:solidFill>
                          <a:latin typeface="Nexa Book"/>
                        </a:rPr>
                        <a:t> | </a:t>
                      </a:r>
                      <a:r>
                        <a:rPr sz="700">
                          <a:solidFill>
                            <a:srgbClr val="00A097"/>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9%</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6%</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4%</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3%</a:t>
                      </a:r>
                      <a:r>
                        <a:rPr sz="700">
                          <a:solidFill>
                            <a:srgbClr val="575555"/>
                          </a:solidFill>
                          <a:latin typeface="Nexa Book"/>
                        </a:rPr>
                        <a:t> | </a:t>
                      </a:r>
                      <a:r>
                        <a:rPr sz="700">
                          <a:solidFill>
                            <a:srgbClr val="00A097"/>
                          </a:solidFill>
                          <a:latin typeface="Nexa Book"/>
                        </a:rP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001693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699826152"/>
      </p:ext>
    </p:extLst>
  </p:cSld>
  <p:clrMapOvr>
    <a:masterClrMapping/>
  </p:clrMapOvr>
</p:sld>
</file>

<file path=ppt/slides/slide2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gion Value Sales &amp; Avg Price Per Kg | Rosé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gion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5"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17012177"/>
                    </a:ext>
                  </a:extLst>
                </a:gridCol>
                <a:gridCol w="573961">
                  <a:extLst>
                    <a:ext uri="{9D8B030D-6E8A-4147-A177-3AD203B41FA5}">
                      <a16:colId xmlns:a16="http://schemas.microsoft.com/office/drawing/2014/main" val="2084146792"/>
                    </a:ext>
                  </a:extLst>
                </a:gridCol>
                <a:gridCol w="573961">
                  <a:extLst>
                    <a:ext uri="{9D8B030D-6E8A-4147-A177-3AD203B41FA5}">
                      <a16:colId xmlns:a16="http://schemas.microsoft.com/office/drawing/2014/main" val="586326706"/>
                    </a:ext>
                  </a:extLst>
                </a:gridCol>
                <a:gridCol w="573961">
                  <a:extLst>
                    <a:ext uri="{9D8B030D-6E8A-4147-A177-3AD203B41FA5}">
                      <a16:colId xmlns:a16="http://schemas.microsoft.com/office/drawing/2014/main" val="786404783"/>
                    </a:ext>
                  </a:extLst>
                </a:gridCol>
                <a:gridCol w="573961">
                  <a:extLst>
                    <a:ext uri="{9D8B030D-6E8A-4147-A177-3AD203B41FA5}">
                      <a16:colId xmlns:a16="http://schemas.microsoft.com/office/drawing/2014/main" val="2712606379"/>
                    </a:ext>
                  </a:extLst>
                </a:gridCol>
                <a:gridCol w="573961">
                  <a:extLst>
                    <a:ext uri="{9D8B030D-6E8A-4147-A177-3AD203B41FA5}">
                      <a16:colId xmlns:a16="http://schemas.microsoft.com/office/drawing/2014/main" val="2334528175"/>
                    </a:ext>
                  </a:extLst>
                </a:gridCol>
                <a:gridCol w="573961">
                  <a:extLst>
                    <a:ext uri="{9D8B030D-6E8A-4147-A177-3AD203B41FA5}">
                      <a16:colId xmlns:a16="http://schemas.microsoft.com/office/drawing/2014/main" val="3835393650"/>
                    </a:ext>
                  </a:extLst>
                </a:gridCol>
                <a:gridCol w="573961">
                  <a:extLst>
                    <a:ext uri="{9D8B030D-6E8A-4147-A177-3AD203B41FA5}">
                      <a16:colId xmlns:a16="http://schemas.microsoft.com/office/drawing/2014/main" val="3705822644"/>
                    </a:ext>
                  </a:extLst>
                </a:gridCol>
                <a:gridCol w="573961">
                  <a:extLst>
                    <a:ext uri="{9D8B030D-6E8A-4147-A177-3AD203B41FA5}">
                      <a16:colId xmlns:a16="http://schemas.microsoft.com/office/drawing/2014/main" val="184560546"/>
                    </a:ext>
                  </a:extLst>
                </a:gridCol>
                <a:gridCol w="573961">
                  <a:extLst>
                    <a:ext uri="{9D8B030D-6E8A-4147-A177-3AD203B41FA5}">
                      <a16:colId xmlns:a16="http://schemas.microsoft.com/office/drawing/2014/main" val="712457864"/>
                    </a:ext>
                  </a:extLst>
                </a:gridCol>
                <a:gridCol w="573961">
                  <a:extLst>
                    <a:ext uri="{9D8B030D-6E8A-4147-A177-3AD203B41FA5}">
                      <a16:colId xmlns:a16="http://schemas.microsoft.com/office/drawing/2014/main" val="2719112317"/>
                    </a:ext>
                  </a:extLst>
                </a:gridCol>
                <a:gridCol w="573961">
                  <a:extLst>
                    <a:ext uri="{9D8B030D-6E8A-4147-A177-3AD203B41FA5}">
                      <a16:colId xmlns:a16="http://schemas.microsoft.com/office/drawing/2014/main" val="1610204172"/>
                    </a:ext>
                  </a:extLst>
                </a:gridCol>
                <a:gridCol w="573961">
                  <a:extLst>
                    <a:ext uri="{9D8B030D-6E8A-4147-A177-3AD203B41FA5}">
                      <a16:colId xmlns:a16="http://schemas.microsoft.com/office/drawing/2014/main" val="4106856681"/>
                    </a:ext>
                  </a:extLst>
                </a:gridCol>
                <a:gridCol w="573961">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0%</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C00000"/>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6%</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7%</a:t>
                      </a:r>
                      <a:r>
                        <a:rPr sz="700">
                          <a:solidFill>
                            <a:srgbClr val="575555"/>
                          </a:solidFill>
                          <a:latin typeface="Nexa Book"/>
                        </a:rPr>
                        <a:t> | </a:t>
                      </a:r>
                      <a:r>
                        <a:rPr sz="700">
                          <a:solidFill>
                            <a:srgbClr val="00A097"/>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4%</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3%</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6%</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8%</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4%</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975407758"/>
      </p:ext>
    </p:extLst>
  </p:cSld>
  <p:clrMapOvr>
    <a:masterClrMapping/>
  </p:clrMapOvr>
</p:sld>
</file>

<file path=ppt/slides/slide2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Effervescent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3%</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7%</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4%</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7%</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2603427600"/>
      </p:ext>
    </p:extLst>
  </p:cSld>
  <p:clrMapOvr>
    <a:masterClrMapping/>
  </p:clrMapOvr>
</p:sld>
</file>

<file path=ppt/slides/slide2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Blanc De Blanc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1%</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6%</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3%</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1%</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697060777"/>
      </p:ext>
    </p:extLst>
  </p:cSld>
  <p:clrMapOvr>
    <a:masterClrMapping/>
  </p:clrMapOvr>
</p:sld>
</file>

<file path=ppt/slides/slide2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Brut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5%</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2%</a:t>
                      </a:r>
                      <a:r>
                        <a:rPr sz="700">
                          <a:solidFill>
                            <a:srgbClr val="575555"/>
                          </a:solidFill>
                          <a:latin typeface="Nexa Book"/>
                        </a:rPr>
                        <a:t> | </a:t>
                      </a:r>
                      <a:r>
                        <a:rPr sz="700">
                          <a:solidFill>
                            <a:srgbClr val="00A097"/>
                          </a:solidFill>
                          <a:latin typeface="Nexa Book"/>
                        </a:rP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3%</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213865307"/>
      </p:ext>
    </p:extLst>
  </p:cSld>
  <p:clrMapOvr>
    <a:masterClrMapping/>
  </p:clrMapOvr>
</p:sld>
</file>

<file path=ppt/slides/slide2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Brut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5%</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2%</a:t>
                      </a:r>
                      <a:r>
                        <a:rPr sz="700">
                          <a:solidFill>
                            <a:srgbClr val="575555"/>
                          </a:solidFill>
                          <a:latin typeface="Nexa Book"/>
                        </a:rPr>
                        <a:t> | </a:t>
                      </a:r>
                      <a:r>
                        <a:rPr sz="700">
                          <a:solidFill>
                            <a:srgbClr val="00A097"/>
                          </a:solidFill>
                          <a:latin typeface="Nexa Book"/>
                        </a:rP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3%</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2025</a:t>
            </a:fld>
            <a:endParaRPr lang="en-US"/>
          </a:p>
        </p:txBody>
      </p:sp>
    </p:spTree>
    <p:extLst>
      <p:ext uri="{BB962C8B-B14F-4D97-AF65-F5344CB8AC3E}">
        <p14:creationId xmlns:p14="http://schemas.microsoft.com/office/powerpoint/2010/main" val="37897189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04997305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18522148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81058230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44482665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80300233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49353113"/>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50936927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03616065"/>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6866119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08188608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404496970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25817289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50557576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3633054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426947560"/>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37071376"/>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156671757"/>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08560548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02283399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221586901"/>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86988417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35556424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554678619"/>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82241761"/>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29408247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207854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6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0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74065512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896355185"/>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60683768"/>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O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339416524"/>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6315418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8814711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1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094927862"/>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931680500"/>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639605657"/>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241771708"/>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201999920"/>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77393540"/>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O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74109057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00251041"/>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396862741"/>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870253020"/>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603283922"/>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208661487"/>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402640785"/>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884074851"/>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7166762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797458712"/>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497659414"/>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5639849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597149347"/>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799867937"/>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706611946"/>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822968655"/>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1612113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339009158"/>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280526585"/>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416951813"/>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780879789"/>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57470067"/>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894925073"/>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4256610901"/>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565072338"/>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108486955"/>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383494521"/>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404901522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279035373"/>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0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751976318"/>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295979766"/>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341429272"/>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503221645"/>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898929508"/>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976649440"/>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5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208443713"/>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208291333"/>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578189331"/>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164567319"/>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308827929"/>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040653963"/>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424438518"/>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53584356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921359864"/>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632125762"/>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975115100"/>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188520977"/>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887480192"/>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666494717"/>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563278706"/>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3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6552215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161378142"/>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691713122"/>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95712323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441323750"/>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577593686"/>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4413667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823745918"/>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038423425"/>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318641689"/>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865704803"/>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313648425"/>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628962233"/>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413014742"/>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673648297"/>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741603795"/>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847199156"/>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393842973"/>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83249121"/>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638505390"/>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2120978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930921127"/>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O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029619384"/>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6046674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2741730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681247718"/>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274489439"/>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73019633"/>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78634810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952387025"/>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14454510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427214019"/>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891407838"/>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16404439"/>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464786829"/>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561378905"/>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337993679"/>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2183385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127707119"/>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174722848"/>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6083429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795927816"/>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453350403"/>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229295467"/>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838016916"/>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346299989"/>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862455070"/>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93051482"/>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62105438"/>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095215786"/>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767149813"/>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99671127"/>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4208167885"/>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800494718"/>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072165662"/>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710754871"/>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093639702"/>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51500484"/>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731148529"/>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4270199246"/>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453690681"/>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354838967"/>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82153112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058278532"/>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109284686"/>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183674935"/>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231127963"/>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143233351"/>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299627661"/>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958001963"/>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334891165"/>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CE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360018699"/>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577006876"/>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184678795"/>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63866707"/>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30405389"/>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498975579"/>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832408816"/>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4208334378"/>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143443141"/>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7465089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386522412"/>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302794694"/>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046876085"/>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27043024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758831657"/>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282699506"/>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413692574"/>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856555243"/>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724225926"/>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714836472"/>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011949411"/>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596758957"/>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484416401"/>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117013996"/>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CA B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333032374"/>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7880771"/>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6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0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461933077"/>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873258951"/>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80408145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36843618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267827833"/>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99446780"/>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904886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023264594"/>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914310162"/>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484979735"/>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246779328"/>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893974075"/>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314650309"/>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666352748"/>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2085369682"/>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2025</a:t>
            </a:fld>
            <a:endParaRPr lang="en-US"/>
          </a:p>
        </p:txBody>
      </p:sp>
    </p:spTree>
    <p:extLst>
      <p:ext uri="{BB962C8B-B14F-4D97-AF65-F5344CB8AC3E}">
        <p14:creationId xmlns:p14="http://schemas.microsoft.com/office/powerpoint/2010/main" val="1272564636"/>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405365525"/>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145285383"/>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577764017"/>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709394807"/>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016598814"/>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069365189"/>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76879368"/>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33347352"/>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673755475"/>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842061558"/>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778344139"/>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206371228"/>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583303117"/>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2510714134"/>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833444725"/>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910345008"/>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697415729"/>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4233102882"/>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2025</a:t>
            </a:fld>
            <a:endParaRPr lang="en-US"/>
          </a:p>
        </p:txBody>
      </p:sp>
    </p:spTree>
    <p:extLst>
      <p:ext uri="{BB962C8B-B14F-4D97-AF65-F5344CB8AC3E}">
        <p14:creationId xmlns:p14="http://schemas.microsoft.com/office/powerpoint/2010/main" val="11454744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1</cp:revision>
  <dcterms:created xsi:type="dcterms:W3CDTF">2024-07-05T07:54:38Z</dcterms:created>
  <dcterms:modified xsi:type="dcterms:W3CDTF">2025-09-02T12:40:20Z</dcterms:modified>
</cp:coreProperties>
</file>